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9.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4"/>
    <p:sldMasterId id="2147483707" r:id="rId5"/>
    <p:sldMasterId id="2147483721" r:id="rId6"/>
    <p:sldMasterId id="2147483801" r:id="rId7"/>
    <p:sldMasterId id="2147483830" r:id="rId8"/>
    <p:sldMasterId id="2147483857" r:id="rId9"/>
    <p:sldMasterId id="2147483878" r:id="rId10"/>
    <p:sldMasterId id="2147483904" r:id="rId11"/>
    <p:sldMasterId id="2147483926" r:id="rId12"/>
    <p:sldMasterId id="2147483941" r:id="rId13"/>
  </p:sldMasterIdLst>
  <p:notesMasterIdLst>
    <p:notesMasterId r:id="rId34"/>
  </p:notesMasterIdLst>
  <p:sldIdLst>
    <p:sldId id="256" r:id="rId14"/>
    <p:sldId id="1098" r:id="rId15"/>
    <p:sldId id="1053" r:id="rId16"/>
    <p:sldId id="1076" r:id="rId17"/>
    <p:sldId id="1090" r:id="rId18"/>
    <p:sldId id="1077" r:id="rId19"/>
    <p:sldId id="261" r:id="rId20"/>
    <p:sldId id="393" r:id="rId21"/>
    <p:sldId id="437" r:id="rId22"/>
    <p:sldId id="1080" r:id="rId23"/>
    <p:sldId id="1082" r:id="rId24"/>
    <p:sldId id="1091" r:id="rId25"/>
    <p:sldId id="1081" r:id="rId26"/>
    <p:sldId id="1084" r:id="rId27"/>
    <p:sldId id="1079" r:id="rId28"/>
    <p:sldId id="1094" r:id="rId29"/>
    <p:sldId id="1093" r:id="rId30"/>
    <p:sldId id="2076137420" r:id="rId31"/>
    <p:sldId id="2076137421" r:id="rId32"/>
    <p:sldId id="1083" r:id="rId33"/>
  </p:sldIdLst>
  <p:sldSz cx="12192000" cy="6858000"/>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p Koso" initials="KK" lastIdx="12" clrIdx="0">
    <p:extLst>
      <p:ext uri="{19B8F6BF-5375-455C-9EA6-DF929625EA0E}">
        <p15:presenceInfo xmlns:p15="http://schemas.microsoft.com/office/powerpoint/2012/main" userId="S-1-5-21-78709032-890256816-1182547822-53523" providerId="AD"/>
      </p:ext>
    </p:extLst>
  </p:cmAuthor>
  <p:cmAuthor id="2" name="Michelle Hawkins" initials="MH" lastIdx="7" clrIdx="1">
    <p:extLst>
      <p:ext uri="{19B8F6BF-5375-455C-9EA6-DF929625EA0E}">
        <p15:presenceInfo xmlns:p15="http://schemas.microsoft.com/office/powerpoint/2012/main" userId="S-1-5-21-78709032-890256816-1182547822-30259" providerId="AD"/>
      </p:ext>
    </p:extLst>
  </p:cmAuthor>
  <p:cmAuthor id="3" name="Fred Roselli" initials="FR" lastIdx="9" clrIdx="2">
    <p:extLst>
      <p:ext uri="{19B8F6BF-5375-455C-9EA6-DF929625EA0E}">
        <p15:presenceInfo xmlns:p15="http://schemas.microsoft.com/office/powerpoint/2012/main" userId="S-1-5-21-78709032-890256816-1182547822-29899" providerId="AD"/>
      </p:ext>
    </p:extLst>
  </p:cmAuthor>
  <p:cmAuthor id="4" name="Microsoft Office User" initials="MOU" lastIdx="13" clrIdx="3"/>
  <p:cmAuthor id="5" name="Tony McWhorter" initials="TM" lastIdx="1" clrIdx="4">
    <p:extLst>
      <p:ext uri="{19B8F6BF-5375-455C-9EA6-DF929625EA0E}">
        <p15:presenceInfo xmlns:p15="http://schemas.microsoft.com/office/powerpoint/2012/main" userId="S::tmcwhorter@bgca.org::39331914-2d05-4085-8e08-59a1ce1cb0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A130A1-4FE7-4AB9-833F-835A53ABC55C}" v="3" dt="2023-02-28T14:50:14.4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17" d="100"/>
          <a:sy n="117" d="100"/>
        </p:scale>
        <p:origin x="808" y="16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bleStyles" Target="tableStyles.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7311"/>
          </a:xfrm>
          <a:prstGeom prst="rect">
            <a:avLst/>
          </a:prstGeom>
        </p:spPr>
        <p:txBody>
          <a:bodyPr vert="horz" lIns="93360" tIns="46680" rIns="93360" bIns="46680" rtlCol="0"/>
          <a:lstStyle>
            <a:lvl1pPr algn="l">
              <a:defRPr sz="1200"/>
            </a:lvl1pPr>
          </a:lstStyle>
          <a:p>
            <a:endParaRPr lang="en-US"/>
          </a:p>
        </p:txBody>
      </p:sp>
      <p:sp>
        <p:nvSpPr>
          <p:cNvPr id="3" name="Date Placeholder 2"/>
          <p:cNvSpPr>
            <a:spLocks noGrp="1"/>
          </p:cNvSpPr>
          <p:nvPr>
            <p:ph type="dt" idx="1"/>
          </p:nvPr>
        </p:nvSpPr>
        <p:spPr>
          <a:xfrm>
            <a:off x="3884614" y="0"/>
            <a:ext cx="2971800" cy="467311"/>
          </a:xfrm>
          <a:prstGeom prst="rect">
            <a:avLst/>
          </a:prstGeom>
        </p:spPr>
        <p:txBody>
          <a:bodyPr vert="horz" lIns="93360" tIns="46680" rIns="93360" bIns="46680" rtlCol="0"/>
          <a:lstStyle>
            <a:lvl1pPr algn="r">
              <a:defRPr sz="1200"/>
            </a:lvl1pPr>
          </a:lstStyle>
          <a:p>
            <a:fld id="{96855296-CEFC-4E7B-A954-AE51DF139567}" type="datetimeFigureOut">
              <a:rPr lang="en-US" smtClean="0"/>
              <a:t>3/1/23</a:t>
            </a:fld>
            <a:endParaRPr lang="en-US"/>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3360" tIns="46680" rIns="93360" bIns="46680" rtlCol="0" anchor="ctr"/>
          <a:lstStyle/>
          <a:p>
            <a:endParaRPr lang="en-US"/>
          </a:p>
        </p:txBody>
      </p:sp>
      <p:sp>
        <p:nvSpPr>
          <p:cNvPr id="5" name="Notes Placeholder 4"/>
          <p:cNvSpPr>
            <a:spLocks noGrp="1"/>
          </p:cNvSpPr>
          <p:nvPr>
            <p:ph type="body" sz="quarter" idx="3"/>
          </p:nvPr>
        </p:nvSpPr>
        <p:spPr>
          <a:xfrm>
            <a:off x="685800" y="4482296"/>
            <a:ext cx="5486400" cy="3667333"/>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6554"/>
            <a:ext cx="2971800" cy="467310"/>
          </a:xfrm>
          <a:prstGeom prst="rect">
            <a:avLst/>
          </a:prstGeom>
        </p:spPr>
        <p:txBody>
          <a:bodyPr vert="horz" lIns="93360" tIns="46680" rIns="93360" bIns="46680"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846554"/>
            <a:ext cx="2971800" cy="467310"/>
          </a:xfrm>
          <a:prstGeom prst="rect">
            <a:avLst/>
          </a:prstGeom>
        </p:spPr>
        <p:txBody>
          <a:bodyPr vert="horz" lIns="93360" tIns="46680" rIns="93360" bIns="46680" rtlCol="0" anchor="b"/>
          <a:lstStyle>
            <a:lvl1pPr algn="r">
              <a:defRPr sz="1200"/>
            </a:lvl1pPr>
          </a:lstStyle>
          <a:p>
            <a:fld id="{6D6E8B87-CC57-4413-8742-169B51CA1858}" type="slidenum">
              <a:rPr lang="en-US" smtClean="0"/>
              <a:t>‹#›</a:t>
            </a:fld>
            <a:endParaRPr lang="en-US"/>
          </a:p>
        </p:txBody>
      </p:sp>
    </p:spTree>
    <p:extLst>
      <p:ext uri="{BB962C8B-B14F-4D97-AF65-F5344CB8AC3E}">
        <p14:creationId xmlns:p14="http://schemas.microsoft.com/office/powerpoint/2010/main" val="16513735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bgcaboards.org/"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www.bgca.net/" TargetMode="External"/><Relationship Id="rId4" Type="http://schemas.openxmlformats.org/officeDocument/2006/relationships/hyperlink" Target="https://www.linkedin.com/groups/14086385/"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a:t>Welcome to the Area Council Liaison Orientation.  (INTRODUCE YOURSELF). I personally want to thank each of you for what you do every day for Clubs, kids and the communities you serve.</a:t>
            </a:r>
          </a:p>
          <a:p>
            <a:endParaRPr lang="en-US" sz="1100"/>
          </a:p>
          <a:p>
            <a:r>
              <a:rPr lang="en-US" sz="1100"/>
              <a:t>I also want to thank you for serving in this very important role. Your role is critical in helping this great Movement of ours achieve the impact we desire for youth. The Area Council Liaison is the link between the local Club and your Area Council and provides ideas, feedback and recommendations on key Movement wide issues. </a:t>
            </a:r>
          </a:p>
          <a:p>
            <a:endParaRPr lang="en-US" sz="1100"/>
          </a:p>
          <a:p>
            <a:r>
              <a:rPr lang="en-US" sz="1100"/>
              <a:t>Our goal today is to provide you with some information about this role and an opportunity to dialogue and ask questions in order to help you be successful. At the end of this learning experience, you will:</a:t>
            </a:r>
          </a:p>
          <a:p>
            <a:endParaRPr lang="en-US" sz="1100"/>
          </a:p>
          <a:p>
            <a:r>
              <a:rPr lang="en-US" sz="1100"/>
              <a:t>1. Better understand the role of the AC Liaison</a:t>
            </a:r>
          </a:p>
          <a:p>
            <a:r>
              <a:rPr lang="en-US" sz="1100"/>
              <a:t>2. Understand BGCA’s Governance model and the role of Area Councils</a:t>
            </a:r>
          </a:p>
          <a:p>
            <a:r>
              <a:rPr lang="en-US" sz="1100"/>
              <a:t>3. Learn about the elements of a strong Area Council</a:t>
            </a:r>
          </a:p>
          <a:p>
            <a:r>
              <a:rPr lang="en-US" sz="1100"/>
              <a:t>4. Understand the value of local board members to the Area Council and the larger Movement</a:t>
            </a:r>
          </a:p>
          <a:p>
            <a:endParaRPr lang="en-US"/>
          </a:p>
        </p:txBody>
      </p:sp>
      <p:sp>
        <p:nvSpPr>
          <p:cNvPr id="4" name="Slide Number Placeholder 3"/>
          <p:cNvSpPr>
            <a:spLocks noGrp="1"/>
          </p:cNvSpPr>
          <p:nvPr>
            <p:ph type="sldNum" sz="quarter" idx="10"/>
          </p:nvPr>
        </p:nvSpPr>
        <p:spPr/>
        <p:txBody>
          <a:bodyPr/>
          <a:lstStyle/>
          <a:p>
            <a:fld id="{6D6E8B87-CC57-4413-8742-169B51CA1858}" type="slidenum">
              <a:rPr lang="en-US" smtClean="0"/>
              <a:t>1</a:t>
            </a:fld>
            <a:endParaRPr lang="en-US"/>
          </a:p>
        </p:txBody>
      </p:sp>
    </p:spTree>
    <p:extLst>
      <p:ext uri="{BB962C8B-B14F-4D97-AF65-F5344CB8AC3E}">
        <p14:creationId xmlns:p14="http://schemas.microsoft.com/office/powerpoint/2010/main" val="2569284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928413E4-2920-4FE4-837F-DCD4F0CE79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39DB048D-3400-4472-8D0A-31CB77B144A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200"/>
              <a:t>Strong Area Council leadership is critical for a successful, highly impactful Area Council. Let’s take a moment to review the important role of the Area Council Chair and the leadership they provide. </a:t>
            </a:r>
          </a:p>
        </p:txBody>
      </p:sp>
      <p:sp>
        <p:nvSpPr>
          <p:cNvPr id="33796" name="Slide Number Placeholder 3">
            <a:extLst>
              <a:ext uri="{FF2B5EF4-FFF2-40B4-BE49-F238E27FC236}">
                <a16:creationId xmlns:a16="http://schemas.microsoft.com/office/drawing/2014/main" id="{4AC31628-87F5-4BDB-80FC-3DEDEE7A463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1335192" indent="-513537">
              <a:defRPr>
                <a:solidFill>
                  <a:schemeClr val="tx1"/>
                </a:solidFill>
                <a:latin typeface="Arial" panose="020B0604020202020204" pitchFamily="34" charset="0"/>
              </a:defRPr>
            </a:lvl2pPr>
            <a:lvl3pPr marL="2054144" indent="-410829">
              <a:defRPr>
                <a:solidFill>
                  <a:schemeClr val="tx1"/>
                </a:solidFill>
                <a:latin typeface="Arial" panose="020B0604020202020204" pitchFamily="34" charset="0"/>
              </a:defRPr>
            </a:lvl3pPr>
            <a:lvl4pPr marL="2875801" indent="-410829">
              <a:defRPr>
                <a:solidFill>
                  <a:schemeClr val="tx1"/>
                </a:solidFill>
                <a:latin typeface="Arial" panose="020B0604020202020204" pitchFamily="34" charset="0"/>
              </a:defRPr>
            </a:lvl4pPr>
            <a:lvl5pPr marL="3697462" indent="-410829">
              <a:defRPr>
                <a:solidFill>
                  <a:schemeClr val="tx1"/>
                </a:solidFill>
                <a:latin typeface="Arial" panose="020B0604020202020204" pitchFamily="34" charset="0"/>
              </a:defRPr>
            </a:lvl5pPr>
            <a:lvl6pPr marL="4519117" indent="-410829" eaLnBrk="0" fontAlgn="base" hangingPunct="0">
              <a:spcBef>
                <a:spcPct val="0"/>
              </a:spcBef>
              <a:spcAft>
                <a:spcPct val="0"/>
              </a:spcAft>
              <a:defRPr>
                <a:solidFill>
                  <a:schemeClr val="tx1"/>
                </a:solidFill>
                <a:latin typeface="Arial" panose="020B0604020202020204" pitchFamily="34" charset="0"/>
              </a:defRPr>
            </a:lvl6pPr>
            <a:lvl7pPr marL="5340775" indent="-410829" eaLnBrk="0" fontAlgn="base" hangingPunct="0">
              <a:spcBef>
                <a:spcPct val="0"/>
              </a:spcBef>
              <a:spcAft>
                <a:spcPct val="0"/>
              </a:spcAft>
              <a:defRPr>
                <a:solidFill>
                  <a:schemeClr val="tx1"/>
                </a:solidFill>
                <a:latin typeface="Arial" panose="020B0604020202020204" pitchFamily="34" charset="0"/>
              </a:defRPr>
            </a:lvl7pPr>
            <a:lvl8pPr marL="6162432" indent="-410829" eaLnBrk="0" fontAlgn="base" hangingPunct="0">
              <a:spcBef>
                <a:spcPct val="0"/>
              </a:spcBef>
              <a:spcAft>
                <a:spcPct val="0"/>
              </a:spcAft>
              <a:defRPr>
                <a:solidFill>
                  <a:schemeClr val="tx1"/>
                </a:solidFill>
                <a:latin typeface="Arial" panose="020B0604020202020204" pitchFamily="34" charset="0"/>
              </a:defRPr>
            </a:lvl8pPr>
            <a:lvl9pPr marL="6984086" indent="-410829"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617039" rtl="0" eaLnBrk="1" fontAlgn="auto" latinLnBrk="0" hangingPunct="1">
              <a:lnSpc>
                <a:spcPct val="100000"/>
              </a:lnSpc>
              <a:spcBef>
                <a:spcPts val="0"/>
              </a:spcBef>
              <a:spcAft>
                <a:spcPts val="0"/>
              </a:spcAft>
              <a:buClrTx/>
              <a:buSzTx/>
              <a:buFontTx/>
              <a:buNone/>
              <a:tabLst/>
              <a:defRPr/>
            </a:pPr>
            <a:fld id="{A6C922F2-5B15-44BB-AC97-D57F747E5813}" type="slidenum">
              <a:rPr kumimoji="0" lang="en-US" alt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617039" rtl="0" eaLnBrk="1" fontAlgn="auto" latinLnBrk="0" hangingPunct="1">
                <a:lnSpc>
                  <a:spcPct val="100000"/>
                </a:lnSpc>
                <a:spcBef>
                  <a:spcPts val="0"/>
                </a:spcBef>
                <a:spcAft>
                  <a:spcPts val="0"/>
                </a:spcAft>
                <a:buClrTx/>
                <a:buSzTx/>
                <a:buFontTx/>
                <a:buNone/>
                <a:tabLst/>
                <a:defRPr/>
              </a:pPr>
              <a:t>10</a:t>
            </a:fld>
            <a:endParaRPr kumimoji="0" lang="en-US" alt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91839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Area Councils have 3 elected positions: Chair, Vice Chair and Treasurer who typically serve a 2 year term. A best practice is for the Vice Chair to be the Chair-elect, so this position has an opportunity to really learn about Area Councils and what success looks like in order to hit the ground running when they are voted in as Chair. </a:t>
            </a:r>
          </a:p>
          <a:p>
            <a:endParaRPr lang="en-US"/>
          </a:p>
          <a:p>
            <a:r>
              <a:rPr lang="en-US"/>
              <a:t>The consistency in leadership from a two-year term for the Chair followed by a two-year term as Chair by the previous Vice- Chair provides much needed continu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Elected Area Council Officers must be Board Volunteers except the Executive Secretary. An Executive Secretary is appointed by the Area Council Chair and is typically the CEO of the chairperson’s organization but can be a designee selected by the chairperson. </a:t>
            </a:r>
          </a:p>
          <a:p>
            <a:endParaRPr lang="en-US"/>
          </a:p>
          <a:p>
            <a:r>
              <a:rPr lang="en-US"/>
              <a:t>The Chair is empowered by the Area Council to appoint committees or task forces to assure interesting, well-planned and effective Area Council meetings.</a:t>
            </a:r>
          </a:p>
          <a:p>
            <a:endParaRPr lang="en-US"/>
          </a:p>
          <a:p>
            <a:r>
              <a:rPr lang="en-US"/>
              <a:t>We also have 2 Ex-officio or non-voting positions which are the National Area Council Committee rep and a BGCA DOD who are there to support and guide the work of the Area Council.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E8B87-CC57-4413-8742-169B51CA1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393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25" y="3392488"/>
            <a:ext cx="16282988" cy="9159875"/>
          </a:xfrm>
        </p:spPr>
      </p:sp>
      <p:sp>
        <p:nvSpPr>
          <p:cNvPr id="3" name="Notes Placeholder 2"/>
          <p:cNvSpPr>
            <a:spLocks noGrp="1"/>
          </p:cNvSpPr>
          <p:nvPr>
            <p:ph type="body" idx="1"/>
          </p:nvPr>
        </p:nvSpPr>
        <p:spPr/>
        <p:txBody>
          <a:bodyPr/>
          <a:lstStyle/>
          <a:p>
            <a:r>
              <a:rPr lang="en-US">
                <a:cs typeface="Arial" panose="020B0604020202020204" pitchFamily="34" charset="0"/>
              </a:rPr>
              <a:t> A strong, active Chairperson is critical for the success of the Area Council. Much like your local organization’s Board Chair, they are responsible for providing leadership as necessary to keep the AC functioning effectively. </a:t>
            </a:r>
          </a:p>
          <a:p>
            <a:endParaRPr lang="en-US">
              <a:cs typeface="Arial" panose="020B0604020202020204" pitchFamily="34" charset="0"/>
            </a:endParaRPr>
          </a:p>
          <a:p>
            <a:r>
              <a:rPr lang="en-US">
                <a:cs typeface="Arial" panose="020B0604020202020204" pitchFamily="34" charset="0"/>
              </a:rPr>
              <a:t>(Go through the elements on the screen quickly)</a:t>
            </a:r>
          </a:p>
          <a:p>
            <a:endParaRPr lang="en-US">
              <a:cs typeface="Arial" panose="020B0604020202020204" pitchFamily="34" charset="0"/>
            </a:endParaRPr>
          </a:p>
          <a:p>
            <a:r>
              <a:rPr lang="en-US">
                <a:cs typeface="Arial" panose="020B0604020202020204" pitchFamily="34" charset="0"/>
              </a:rPr>
              <a:t>They assist in engaging Area Council member organizations on important initiatives</a:t>
            </a:r>
          </a:p>
          <a:p>
            <a:r>
              <a:rPr lang="en-US">
                <a:cs typeface="Arial" panose="020B0604020202020204" pitchFamily="34" charset="0"/>
              </a:rPr>
              <a:t>They guide and lead the Area Council, preside at all meetings, and appoint committees of the Area Council, and serve as ex-officio member of each committee.</a:t>
            </a:r>
          </a:p>
          <a:p>
            <a:r>
              <a:rPr lang="en-US">
                <a:cs typeface="Arial" panose="020B0604020202020204" pitchFamily="34" charset="0"/>
              </a:rPr>
              <a:t>Through this important work, the Area Council Chair encourages expansion and improvement of the BGC Movement in the area. </a:t>
            </a:r>
          </a:p>
          <a:p>
            <a:endParaRPr lang="en-US"/>
          </a:p>
        </p:txBody>
      </p:sp>
      <p:sp>
        <p:nvSpPr>
          <p:cNvPr id="4" name="Slide Number Placeholder 3"/>
          <p:cNvSpPr>
            <a:spLocks noGrp="1"/>
          </p:cNvSpPr>
          <p:nvPr>
            <p:ph type="sldNum" sz="quarter" idx="10"/>
          </p:nvPr>
        </p:nvSpPr>
        <p:spPr/>
        <p:txBody>
          <a:bodyPr/>
          <a:lstStyle/>
          <a:p>
            <a:pPr marL="0" marR="0" lvl="0" indent="0" algn="r" defTabSz="1617039" rtl="0" eaLnBrk="1" fontAlgn="base" latinLnBrk="0" hangingPunct="1">
              <a:lnSpc>
                <a:spcPct val="100000"/>
              </a:lnSpc>
              <a:spcBef>
                <a:spcPct val="0"/>
              </a:spcBef>
              <a:spcAft>
                <a:spcPct val="0"/>
              </a:spcAft>
              <a:buClrTx/>
              <a:buSzTx/>
              <a:buFontTx/>
              <a:buNone/>
              <a:tabLst/>
              <a:defRPr/>
            </a:pPr>
            <a:fld id="{0CA6B187-16A7-4371-A7CC-3DAB536BE5F8}" type="slidenum">
              <a:rPr kumimoji="0" 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617039" rtl="0" eaLnBrk="1" fontAlgn="base" latinLnBrk="0" hangingPunct="1">
                <a:lnSpc>
                  <a:spcPct val="100000"/>
                </a:lnSpc>
                <a:spcBef>
                  <a:spcPct val="0"/>
                </a:spcBef>
                <a:spcAft>
                  <a:spcPct val="0"/>
                </a:spcAft>
                <a:buClrTx/>
                <a:buSzTx/>
                <a:buFontTx/>
                <a:buNone/>
                <a:tabLst/>
                <a:defRPr/>
              </a:pPr>
              <a:t>12</a:t>
            </a:fld>
            <a:endParaRPr kumimoji="0" 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50041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928413E4-2920-4FE4-837F-DCD4F0CE79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39DB048D-3400-4472-8D0A-31CB77B144A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o now let’s talk about the reason you are all here ---  the Area Council Liaison’s role.</a:t>
            </a:r>
          </a:p>
        </p:txBody>
      </p:sp>
      <p:sp>
        <p:nvSpPr>
          <p:cNvPr id="33796" name="Slide Number Placeholder 3">
            <a:extLst>
              <a:ext uri="{FF2B5EF4-FFF2-40B4-BE49-F238E27FC236}">
                <a16:creationId xmlns:a16="http://schemas.microsoft.com/office/drawing/2014/main" id="{4AC31628-87F5-4BDB-80FC-3DEDEE7A463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1335192" indent="-513537">
              <a:defRPr>
                <a:solidFill>
                  <a:schemeClr val="tx1"/>
                </a:solidFill>
                <a:latin typeface="Arial" panose="020B0604020202020204" pitchFamily="34" charset="0"/>
              </a:defRPr>
            </a:lvl2pPr>
            <a:lvl3pPr marL="2054144" indent="-410829">
              <a:defRPr>
                <a:solidFill>
                  <a:schemeClr val="tx1"/>
                </a:solidFill>
                <a:latin typeface="Arial" panose="020B0604020202020204" pitchFamily="34" charset="0"/>
              </a:defRPr>
            </a:lvl3pPr>
            <a:lvl4pPr marL="2875801" indent="-410829">
              <a:defRPr>
                <a:solidFill>
                  <a:schemeClr val="tx1"/>
                </a:solidFill>
                <a:latin typeface="Arial" panose="020B0604020202020204" pitchFamily="34" charset="0"/>
              </a:defRPr>
            </a:lvl4pPr>
            <a:lvl5pPr marL="3697462" indent="-410829">
              <a:defRPr>
                <a:solidFill>
                  <a:schemeClr val="tx1"/>
                </a:solidFill>
                <a:latin typeface="Arial" panose="020B0604020202020204" pitchFamily="34" charset="0"/>
              </a:defRPr>
            </a:lvl5pPr>
            <a:lvl6pPr marL="4519117" indent="-410829" eaLnBrk="0" fontAlgn="base" hangingPunct="0">
              <a:spcBef>
                <a:spcPct val="0"/>
              </a:spcBef>
              <a:spcAft>
                <a:spcPct val="0"/>
              </a:spcAft>
              <a:defRPr>
                <a:solidFill>
                  <a:schemeClr val="tx1"/>
                </a:solidFill>
                <a:latin typeface="Arial" panose="020B0604020202020204" pitchFamily="34" charset="0"/>
              </a:defRPr>
            </a:lvl6pPr>
            <a:lvl7pPr marL="5340775" indent="-410829" eaLnBrk="0" fontAlgn="base" hangingPunct="0">
              <a:spcBef>
                <a:spcPct val="0"/>
              </a:spcBef>
              <a:spcAft>
                <a:spcPct val="0"/>
              </a:spcAft>
              <a:defRPr>
                <a:solidFill>
                  <a:schemeClr val="tx1"/>
                </a:solidFill>
                <a:latin typeface="Arial" panose="020B0604020202020204" pitchFamily="34" charset="0"/>
              </a:defRPr>
            </a:lvl7pPr>
            <a:lvl8pPr marL="6162432" indent="-410829" eaLnBrk="0" fontAlgn="base" hangingPunct="0">
              <a:spcBef>
                <a:spcPct val="0"/>
              </a:spcBef>
              <a:spcAft>
                <a:spcPct val="0"/>
              </a:spcAft>
              <a:defRPr>
                <a:solidFill>
                  <a:schemeClr val="tx1"/>
                </a:solidFill>
                <a:latin typeface="Arial" panose="020B0604020202020204" pitchFamily="34" charset="0"/>
              </a:defRPr>
            </a:lvl8pPr>
            <a:lvl9pPr marL="6984086" indent="-410829"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617039" rtl="0" eaLnBrk="1" fontAlgn="auto" latinLnBrk="0" hangingPunct="1">
              <a:lnSpc>
                <a:spcPct val="100000"/>
              </a:lnSpc>
              <a:spcBef>
                <a:spcPts val="0"/>
              </a:spcBef>
              <a:spcAft>
                <a:spcPts val="0"/>
              </a:spcAft>
              <a:buClrTx/>
              <a:buSzTx/>
              <a:buFontTx/>
              <a:buNone/>
              <a:tabLst/>
              <a:defRPr/>
            </a:pPr>
            <a:fld id="{A6C922F2-5B15-44BB-AC97-D57F747E5813}" type="slidenum">
              <a:rPr kumimoji="0" lang="en-US" alt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617039" rtl="0" eaLnBrk="1" fontAlgn="auto" latinLnBrk="0" hangingPunct="1">
                <a:lnSpc>
                  <a:spcPct val="100000"/>
                </a:lnSpc>
                <a:spcBef>
                  <a:spcPts val="0"/>
                </a:spcBef>
                <a:spcAft>
                  <a:spcPts val="0"/>
                </a:spcAft>
                <a:buClrTx/>
                <a:buSzTx/>
                <a:buFontTx/>
                <a:buNone/>
                <a:tabLst/>
                <a:defRPr/>
              </a:pPr>
              <a:t>13</a:t>
            </a:fld>
            <a:endParaRPr kumimoji="0" lang="en-US" altLang="en-US" sz="21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2135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cs typeface="Calibri" panose="020F0502020204030204" pitchFamily="34" charset="0"/>
              </a:rPr>
              <a:t>You, as Area Council Liaison, act as a critical conduit - or connection - for the messaging, communication and governance that happens in the Boys &amp; Girls Club Move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cs typeface="Calibri" panose="020F0502020204030204" pitchFamily="34" charset="0"/>
              </a:rPr>
              <a:t>You also work to </a:t>
            </a:r>
            <a:r>
              <a:rPr lang="en-US" sz="1200" b="0">
                <a:solidFill>
                  <a:schemeClr val="bg2"/>
                </a:solidFill>
                <a:latin typeface="+mn-lt"/>
                <a:cs typeface="Calibri" panose="020F0502020204030204" pitchFamily="34" charset="0"/>
              </a:rPr>
              <a:t>initiate and review ideas, suggestions and proposals for the National Council’s consideration, and take action to support, amend or oppose proposals before the National Counci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n-lt"/>
                <a:cs typeface="Calibri" panose="020F0502020204030204" pitchFamily="34" charset="0"/>
              </a:rPr>
              <a:t>It is important for you, as Area Council Liaison, to be active on your Club’s board of directors and understand your organization’s goals, priorities, and concerns. Therefore, as a best practice, the Area Council Liaison should be a member of the local organization’s governing board and should serve on the organization’s executive or leadership committee. This provides the most direct and consistent line of communication from the local board leadership to the Area Counci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E8B87-CC57-4413-8742-169B51CA1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27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n-lt"/>
              </a:rPr>
              <a:t>The ACL role is important the following reasons:</a:t>
            </a:r>
          </a:p>
          <a:p>
            <a:endParaRPr lang="en-US">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rPr>
              <a:t>You provide </a:t>
            </a:r>
            <a:r>
              <a:rPr lang="en-US" b="1">
                <a:latin typeface="+mn-lt"/>
              </a:rPr>
              <a:t>Strategic Thinking </a:t>
            </a:r>
            <a:r>
              <a:rPr lang="en-US">
                <a:latin typeface="+mn-lt"/>
              </a:rPr>
              <a:t>by </a:t>
            </a:r>
            <a:r>
              <a:rPr lang="en-US" sz="1200" b="0">
                <a:solidFill>
                  <a:schemeClr val="bg2"/>
                </a:solidFill>
                <a:latin typeface="+mn-lt"/>
                <a:cs typeface="Calibri" panose="020F0502020204030204" pitchFamily="34" charset="0"/>
              </a:rPr>
              <a:t>engaging and providing feedback to BGCA on important strategic initiatives and changes to membership </a:t>
            </a:r>
          </a:p>
          <a:p>
            <a:endParaRPr lang="en-US">
              <a:latin typeface="+mn-lt"/>
            </a:endParaRPr>
          </a:p>
          <a:p>
            <a:r>
              <a:rPr lang="en-US">
                <a:latin typeface="+mn-lt"/>
              </a:rPr>
              <a:t>You provide </a:t>
            </a:r>
            <a:r>
              <a:rPr lang="en-US" b="1">
                <a:latin typeface="+mn-lt"/>
              </a:rPr>
              <a:t>People Leadership </a:t>
            </a:r>
            <a:r>
              <a:rPr lang="en-US">
                <a:latin typeface="+mn-lt"/>
              </a:rPr>
              <a:t>by </a:t>
            </a:r>
            <a:r>
              <a:rPr lang="en-US" sz="1200" b="0">
                <a:solidFill>
                  <a:schemeClr val="bg2"/>
                </a:solidFill>
                <a:latin typeface="+mn-lt"/>
                <a:cs typeface="Calibri" panose="020F0502020204030204" pitchFamily="34" charset="0"/>
              </a:rPr>
              <a:t>promoting, attending and participating in the annual meeting of the Area Council as well as actively recruiting other board members from your local organization to engage in the meetings and events. </a:t>
            </a:r>
          </a:p>
          <a:p>
            <a:endParaRPr lang="en-US" sz="1200" b="0">
              <a:solidFill>
                <a:schemeClr val="bg2"/>
              </a:solidFill>
              <a:latin typeface="+mn-lt"/>
              <a:cs typeface="Calibri" panose="020F0502020204030204" pitchFamily="34" charset="0"/>
            </a:endParaRPr>
          </a:p>
          <a:p>
            <a:r>
              <a:rPr lang="en-US" sz="1200" b="0">
                <a:solidFill>
                  <a:schemeClr val="bg2"/>
                </a:solidFill>
                <a:latin typeface="+mn-lt"/>
                <a:cs typeface="Calibri" panose="020F0502020204030204" pitchFamily="34" charset="0"/>
              </a:rPr>
              <a:t>You also help to plan for an organized succession to the ACL position prior to your departure</a:t>
            </a:r>
          </a:p>
          <a:p>
            <a:endParaRPr lang="en-US"/>
          </a:p>
        </p:txBody>
      </p:sp>
      <p:sp>
        <p:nvSpPr>
          <p:cNvPr id="4" name="Slide Number Placeholder 3"/>
          <p:cNvSpPr>
            <a:spLocks noGrp="1"/>
          </p:cNvSpPr>
          <p:nvPr>
            <p:ph type="sldNum" sz="quarter" idx="5"/>
          </p:nvPr>
        </p:nvSpPr>
        <p:spPr/>
        <p:txBody>
          <a:bodyPr/>
          <a:lstStyle/>
          <a:p>
            <a:pPr marL="0" marR="0" lvl="0" indent="0" algn="r" defTabSz="1637247" rtl="0" eaLnBrk="1" fontAlgn="auto" latinLnBrk="0" hangingPunct="1">
              <a:lnSpc>
                <a:spcPct val="100000"/>
              </a:lnSpc>
              <a:spcBef>
                <a:spcPts val="0"/>
              </a:spcBef>
              <a:spcAft>
                <a:spcPts val="0"/>
              </a:spcAft>
              <a:buClrTx/>
              <a:buSzTx/>
              <a:buFontTx/>
              <a:buNone/>
              <a:tabLst/>
              <a:defRPr/>
            </a:pPr>
            <a:fld id="{E827D208-BCED-465C-82A4-22694D433704}"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247" rtl="0" eaLnBrk="1" fontAlgn="auto" latinLnBrk="0" hangingPunct="1">
                <a:lnSpc>
                  <a:spcPct val="100000"/>
                </a:lnSpc>
                <a:spcBef>
                  <a:spcPts val="0"/>
                </a:spcBef>
                <a:spcAft>
                  <a:spcPts val="0"/>
                </a:spcAft>
                <a:buClrTx/>
                <a:buSzTx/>
                <a:buFontTx/>
                <a:buNone/>
                <a:tabLst/>
                <a:defRPr/>
              </a:pPr>
              <a:t>15</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717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mn-lt"/>
                <a:ea typeface="Calibri" panose="020F0502020204030204" pitchFamily="34" charset="0"/>
              </a:rPr>
              <a:t>You </a:t>
            </a:r>
            <a:r>
              <a:rPr lang="en-US" sz="1200" b="1">
                <a:effectLst/>
                <a:latin typeface="+mn-lt"/>
                <a:ea typeface="Calibri" panose="020F0502020204030204" pitchFamily="34" charset="0"/>
              </a:rPr>
              <a:t>Access Networks </a:t>
            </a:r>
            <a:r>
              <a:rPr lang="en-US" sz="1200">
                <a:effectLst/>
                <a:latin typeface="+mn-lt"/>
                <a:ea typeface="Calibri" panose="020F0502020204030204" pitchFamily="34" charset="0"/>
              </a:rPr>
              <a:t>by </a:t>
            </a:r>
            <a:r>
              <a:rPr lang="en-US" sz="1200" b="0">
                <a:solidFill>
                  <a:schemeClr val="bg2"/>
                </a:solidFill>
                <a:effectLst/>
                <a:latin typeface="+mn-lt"/>
                <a:ea typeface="Calibri" panose="020F0502020204030204" pitchFamily="34" charset="0"/>
                <a:cs typeface="Calibri" panose="020F0502020204030204" pitchFamily="34" charset="0"/>
              </a:rPr>
              <a:t>e</a:t>
            </a:r>
            <a:r>
              <a:rPr lang="en-US" b="0">
                <a:solidFill>
                  <a:schemeClr val="bg2"/>
                </a:solidFill>
                <a:latin typeface="+mn-lt"/>
                <a:cs typeface="Calibri" panose="020F0502020204030204" pitchFamily="34" charset="0"/>
              </a:rPr>
              <a:t>ngaging in quarterly meetings using technology and face to face with other ACL members in their designated Area Council, building relationship and engaging in peer-to-peer learning and best practice shar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mn-lt"/>
              <a:ea typeface="Calibri" panose="020F0502020204030204" pitchFamily="34" charset="0"/>
            </a:endParaRPr>
          </a:p>
          <a:p>
            <a:r>
              <a:rPr lang="en-US" sz="1200">
                <a:effectLst/>
                <a:latin typeface="+mn-lt"/>
                <a:ea typeface="Calibri" panose="020F0502020204030204" pitchFamily="34" charset="0"/>
              </a:rPr>
              <a:t>You provide </a:t>
            </a:r>
            <a:r>
              <a:rPr lang="en-US" sz="1200" b="1">
                <a:effectLst/>
                <a:latin typeface="+mn-lt"/>
                <a:ea typeface="Calibri" panose="020F0502020204030204" pitchFamily="34" charset="0"/>
              </a:rPr>
              <a:t>Thought Leadership </a:t>
            </a:r>
            <a:r>
              <a:rPr lang="en-US" sz="1200">
                <a:effectLst/>
                <a:latin typeface="+mn-lt"/>
                <a:ea typeface="Calibri" panose="020F0502020204030204" pitchFamily="34" charset="0"/>
              </a:rPr>
              <a:t>by </a:t>
            </a:r>
            <a:r>
              <a:rPr lang="en-US" sz="1200" b="0">
                <a:solidFill>
                  <a:schemeClr val="bg2"/>
                </a:solidFill>
                <a:effectLst/>
                <a:latin typeface="+mn-lt"/>
                <a:ea typeface="Calibri" panose="020F0502020204030204" pitchFamily="34" charset="0"/>
                <a:cs typeface="Calibri" panose="020F0502020204030204" pitchFamily="34" charset="0"/>
              </a:rPr>
              <a:t>a</a:t>
            </a:r>
            <a:r>
              <a:rPr lang="en-US" b="0">
                <a:solidFill>
                  <a:schemeClr val="bg2"/>
                </a:solidFill>
                <a:latin typeface="+mn-lt"/>
                <a:cs typeface="Calibri" panose="020F0502020204030204" pitchFamily="34" charset="0"/>
              </a:rPr>
              <a:t>ttending the annual planning meeting of your Area Council, presenting the ideas and suggestions of your local Club for consideration on the program of the next Area Council meeting</a:t>
            </a:r>
          </a:p>
          <a:p>
            <a:endParaRPr lang="en-US" b="0">
              <a:solidFill>
                <a:schemeClr val="bg2"/>
              </a:solidFill>
              <a:latin typeface="+mn-lt"/>
              <a:cs typeface="Calibri" panose="020F0502020204030204" pitchFamily="34" charset="0"/>
            </a:endParaRPr>
          </a:p>
          <a:p>
            <a:r>
              <a:rPr lang="en-US" b="0">
                <a:solidFill>
                  <a:schemeClr val="bg2"/>
                </a:solidFill>
                <a:latin typeface="+mn-lt"/>
                <a:cs typeface="Calibri" panose="020F0502020204030204" pitchFamily="34" charset="0"/>
              </a:rPr>
              <a:t>You also ensure that your </a:t>
            </a:r>
            <a:r>
              <a:rPr lang="en-US" b="1">
                <a:solidFill>
                  <a:schemeClr val="bg2"/>
                </a:solidFill>
                <a:latin typeface="+mn-lt"/>
                <a:cs typeface="Calibri" panose="020F0502020204030204" pitchFamily="34" charset="0"/>
              </a:rPr>
              <a:t>Club reviews, discusses and adopts a formal position </a:t>
            </a:r>
            <a:r>
              <a:rPr lang="en-US" b="0">
                <a:solidFill>
                  <a:schemeClr val="bg2"/>
                </a:solidFill>
                <a:latin typeface="+mn-lt"/>
                <a:cs typeface="Calibri" panose="020F0502020204030204" pitchFamily="34" charset="0"/>
              </a:rPr>
              <a:t>on issues of Boys &amp; Girls Clubs of America governance which may be voted on from time to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mn-lt"/>
              <a:ea typeface="Calibri" panose="020F0502020204030204" pitchFamily="34" charset="0"/>
            </a:endParaRPr>
          </a:p>
          <a:p>
            <a:r>
              <a:rPr lang="en-US" sz="1200">
                <a:effectLst/>
                <a:latin typeface="+mn-lt"/>
                <a:ea typeface="Calibri" panose="020F0502020204030204" pitchFamily="34" charset="0"/>
              </a:rPr>
              <a:t>And finally, you provide </a:t>
            </a:r>
            <a:r>
              <a:rPr lang="en-US" sz="1200" b="1">
                <a:effectLst/>
                <a:latin typeface="+mn-lt"/>
                <a:ea typeface="Calibri" panose="020F0502020204030204" pitchFamily="34" charset="0"/>
              </a:rPr>
              <a:t>Results Leadership </a:t>
            </a:r>
            <a:r>
              <a:rPr lang="en-US" sz="1200">
                <a:effectLst/>
                <a:latin typeface="+mn-lt"/>
                <a:ea typeface="Calibri" panose="020F0502020204030204" pitchFamily="34" charset="0"/>
              </a:rPr>
              <a:t>by </a:t>
            </a:r>
            <a:r>
              <a:rPr lang="en-US" sz="1200" b="0">
                <a:solidFill>
                  <a:schemeClr val="bg2"/>
                </a:solidFill>
                <a:effectLst/>
                <a:latin typeface="+mn-lt"/>
                <a:ea typeface="Calibri" panose="020F0502020204030204" pitchFamily="34" charset="0"/>
                <a:cs typeface="Calibri" panose="020F0502020204030204" pitchFamily="34" charset="0"/>
              </a:rPr>
              <a:t>p</a:t>
            </a:r>
            <a:r>
              <a:rPr lang="en-US" b="0">
                <a:solidFill>
                  <a:schemeClr val="bg2"/>
                </a:solidFill>
                <a:latin typeface="+mn-lt"/>
                <a:cs typeface="Calibri" panose="020F0502020204030204" pitchFamily="34" charset="0"/>
              </a:rPr>
              <a:t>romoting attendance and participation in National Council discussions by members of your local board of directors or other governing body and </a:t>
            </a:r>
          </a:p>
          <a:p>
            <a:endParaRPr lang="en-US" b="0">
              <a:solidFill>
                <a:schemeClr val="bg2"/>
              </a:solidFill>
              <a:latin typeface="+mn-lt"/>
              <a:cs typeface="Calibri" panose="020F0502020204030204" pitchFamily="34" charset="0"/>
            </a:endParaRPr>
          </a:p>
          <a:p>
            <a:r>
              <a:rPr lang="en-US" b="0">
                <a:solidFill>
                  <a:schemeClr val="bg2"/>
                </a:solidFill>
                <a:latin typeface="+mn-lt"/>
                <a:cs typeface="Calibri" panose="020F0502020204030204" pitchFamily="34" charset="0"/>
              </a:rPr>
              <a:t>You have a standing place on the board meeting agenda to provide at least quarterly reports on Area Council activities at your Club board meeting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1637247" rtl="0" eaLnBrk="1" fontAlgn="auto" latinLnBrk="0" hangingPunct="1">
              <a:lnSpc>
                <a:spcPct val="100000"/>
              </a:lnSpc>
              <a:spcBef>
                <a:spcPts val="0"/>
              </a:spcBef>
              <a:spcAft>
                <a:spcPts val="0"/>
              </a:spcAft>
              <a:buClrTx/>
              <a:buSzTx/>
              <a:buFontTx/>
              <a:buNone/>
              <a:tabLst/>
              <a:defRPr/>
            </a:pPr>
            <a:fld id="{E827D208-BCED-465C-82A4-22694D433704}" type="slidenum">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637247" rtl="0" eaLnBrk="1" fontAlgn="auto" latinLnBrk="0" hangingPunct="1">
                <a:lnSpc>
                  <a:spcPct val="100000"/>
                </a:lnSpc>
                <a:spcBef>
                  <a:spcPts val="0"/>
                </a:spcBef>
                <a:spcAft>
                  <a:spcPts val="0"/>
                </a:spcAft>
                <a:buClrTx/>
                <a:buSzTx/>
                <a:buFontTx/>
                <a:buNone/>
                <a:tabLst/>
                <a:defRPr/>
              </a:pPr>
              <a:t>16</a:t>
            </a:fld>
            <a:endParaRPr kumimoji="0" lang="en-US" sz="2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7856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the end of the day, you are providing critical leadership that has a huge impact on our Movement:</a:t>
            </a:r>
          </a:p>
          <a:p>
            <a:endParaRPr lang="en-US"/>
          </a:p>
          <a:p>
            <a:pPr marL="228600" indent="-228600">
              <a:buAutoNum type="arabicPeriod"/>
            </a:pPr>
            <a:r>
              <a:rPr lang="en-US"/>
              <a:t>Strengthen local orgs and </a:t>
            </a:r>
          </a:p>
          <a:p>
            <a:pPr marL="228600" indent="-228600">
              <a:buAutoNum type="arabicPeriod"/>
            </a:pPr>
            <a:r>
              <a:rPr lang="en-US"/>
              <a:t>Strengthen the Movement – This is a continuous cycle where strong orgs create a strong movement which helps to support and create strong orgs. </a:t>
            </a:r>
          </a:p>
          <a:p>
            <a:pPr marL="228600" indent="-228600">
              <a:buAutoNum type="arabicPeriod"/>
            </a:pPr>
            <a:r>
              <a:rPr lang="en-US"/>
              <a:t>Improved Communications and Decision Making ( the actual governance) at Local, State, Regional, &amp; National Level</a:t>
            </a:r>
          </a:p>
          <a:p>
            <a:pPr marL="228600" indent="-228600">
              <a:buAutoNum type="arabicPeriod"/>
            </a:pPr>
            <a:r>
              <a:rPr lang="en-US"/>
              <a:t>This is what we are all about which is to be a strong advocate for youth and help our organizations have the greatest impact on the most kids and communities. </a:t>
            </a:r>
          </a:p>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E8B87-CC57-4413-8742-169B51CA1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541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a:latin typeface="+mn-lt"/>
              </a:rPr>
              <a:t>Links embedded in slide: </a:t>
            </a:r>
          </a:p>
          <a:p>
            <a:r>
              <a:rPr lang="en-US">
                <a:latin typeface="+mn-lt"/>
                <a:hlinkClick r:id="rId3"/>
              </a:rPr>
              <a:t>https://bgcaboards.org/</a:t>
            </a:r>
            <a:endParaRPr lang="en-US" sz="1200" i="1">
              <a:latin typeface="+mn-lt"/>
            </a:endParaRPr>
          </a:p>
          <a:p>
            <a:r>
              <a:rPr lang="en-US">
                <a:latin typeface="+mn-lt"/>
                <a:hlinkClick r:id="rId4"/>
              </a:rPr>
              <a:t>https://www.linkedin.com/groups/14086385/</a:t>
            </a:r>
            <a:endParaRPr lang="en-US">
              <a:latin typeface="+mn-lt"/>
            </a:endParaRPr>
          </a:p>
          <a:p>
            <a:r>
              <a:rPr lang="en-US">
                <a:latin typeface="+mn-lt"/>
                <a:hlinkClick r:id="rId5"/>
              </a:rPr>
              <a:t>http://www.bgca.net/</a:t>
            </a:r>
            <a:endParaRPr lang="en-US" sz="1200" i="1">
              <a:latin typeface="+mn-lt"/>
            </a:endParaRPr>
          </a:p>
          <a:p>
            <a:endParaRPr lang="en-US" sz="1200" i="1">
              <a:latin typeface="+mn-lt"/>
            </a:endParaRPr>
          </a:p>
          <a:p>
            <a:r>
              <a:rPr lang="en-US" sz="1200" b="1" i="0">
                <a:latin typeface="+mn-lt"/>
              </a:rPr>
              <a:t>BGCAboards.org </a:t>
            </a:r>
            <a:r>
              <a:rPr lang="en-US" sz="1200" i="0">
                <a:latin typeface="+mn-lt"/>
              </a:rPr>
              <a:t>is a resource for board members. It is not password protected and provides easy access to upcoming trainings and many tools and resources – </a:t>
            </a:r>
            <a:r>
              <a:rPr lang="en-US" sz="1200" b="1" i="0">
                <a:latin typeface="+mn-lt"/>
              </a:rPr>
              <a:t>INCLUDING a quarterly slide deck for Area Councils and Boards resources with updates on key initiatives and resources. </a:t>
            </a:r>
          </a:p>
          <a:p>
            <a:endParaRPr lang="en-US" sz="1200" i="0">
              <a:latin typeface="+mn-lt"/>
            </a:endParaRPr>
          </a:p>
          <a:p>
            <a:r>
              <a:rPr lang="en-US" sz="1200" i="0">
                <a:latin typeface="+mn-lt"/>
              </a:rPr>
              <a:t>The </a:t>
            </a:r>
            <a:r>
              <a:rPr lang="en-US" sz="1200" b="1" i="0">
                <a:latin typeface="+mn-lt"/>
              </a:rPr>
              <a:t>BGCA Board LinkedIn Group </a:t>
            </a:r>
            <a:r>
              <a:rPr lang="en-US" sz="1200" b="0" i="0">
                <a:effectLst/>
                <a:latin typeface="+mn-lt"/>
              </a:rPr>
              <a:t>is an open forum for Board members who serve in the Boys &amp; Girls Club movement. It is intended to foster collaboration, share best practices and improve communication amongst Board members.  Click the link or search “BGCA Boards” on LinkedIn to join. </a:t>
            </a:r>
          </a:p>
          <a:p>
            <a:endParaRPr lang="en-US" sz="1200" b="0" i="0">
              <a:effectLst/>
              <a:latin typeface="+mn-lt"/>
            </a:endParaRPr>
          </a:p>
          <a:p>
            <a:r>
              <a:rPr lang="en-US" sz="1200" b="1" i="0">
                <a:effectLst/>
                <a:latin typeface="+mn-lt"/>
              </a:rPr>
              <a:t>BGCA.NET </a:t>
            </a:r>
            <a:r>
              <a:rPr lang="en-US" sz="1200" b="0" i="0">
                <a:effectLst/>
                <a:latin typeface="+mn-lt"/>
              </a:rPr>
              <a:t>is the Movement’s intranet containing information and resources on programs, funding, safety, marketing, and training. It is also the portal to access data about your individual organizations on participation, revenue trends, and assessment tools for safety, KPIs and standards or organizational effectiveness.</a:t>
            </a:r>
          </a:p>
          <a:p>
            <a:endParaRPr lang="en-US" sz="1200" b="0" i="0">
              <a:effectLst/>
              <a:latin typeface="+mn-lt"/>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3">
                    <a:lumMod val="50000"/>
                  </a:schemeClr>
                </a:solidFill>
                <a:effectLst/>
                <a:uLnTx/>
                <a:uFillTx/>
                <a:latin typeface="+mn-lt"/>
                <a:ea typeface="+mn-ea"/>
                <a:cs typeface="Arial" panose="020B0604020202020204" pitchFamily="34" charset="0"/>
              </a:rPr>
              <a:t> </a:t>
            </a:r>
          </a:p>
          <a:p>
            <a:endParaRPr lang="en-US" sz="1200" i="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861A99-B9AD-462D-B303-B9BEF004E08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641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latin typeface="+mn-lt"/>
              </a:rPr>
              <a:t>OPTIONAL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FF0000"/>
                </a:solidFill>
                <a:latin typeface="Arial" panose="020B0604020202020204" pitchFamily="34" charset="0"/>
                <a:cs typeface="Arial" panose="020B0604020202020204" pitchFamily="34" charset="0"/>
              </a:rPr>
              <a:t>(explain breakout roo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FF0000"/>
                </a:solidFill>
                <a:latin typeface="Arial" panose="020B0604020202020204" pitchFamily="34" charset="0"/>
                <a:cs typeface="Arial" panose="020B0604020202020204" pitchFamily="34" charset="0"/>
              </a:rPr>
              <a:t>We will now separate into breakout rooms for further discussion led by a facilitator that may be National Staff or NACC members. We will bring everyone back for a short debrief to end our 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FF0000"/>
                </a:solidFill>
                <a:latin typeface="Arial" panose="020B0604020202020204" pitchFamily="34" charset="0"/>
                <a:cs typeface="Arial" panose="020B0604020202020204" pitchFamily="34" charset="0"/>
              </a:rPr>
              <a:t>During your discussion, please reflect on today’s session and share your key takeawa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rgbClr val="FF0000"/>
                </a:solidFill>
                <a:latin typeface="Arial" panose="020B0604020202020204" pitchFamily="34" charset="0"/>
                <a:cs typeface="Arial" panose="020B0604020202020204" pitchFamily="34" charset="0"/>
              </a:rPr>
              <a:t>Consider the following ques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latin typeface="Arial" panose="020B0604020202020204" pitchFamily="34" charset="0"/>
                <a:cs typeface="Arial" panose="020B0604020202020204" pitchFamily="34" charset="0"/>
              </a:rPr>
              <a:t>What did you find particularly interesting or surprising from today’s pres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latin typeface="Arial" panose="020B0604020202020204" pitchFamily="34" charset="0"/>
                <a:cs typeface="Arial" panose="020B0604020202020204" pitchFamily="34" charset="0"/>
              </a:rPr>
              <a:t>What lingering questions do you still have that need an answ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latin typeface="Arial" panose="020B0604020202020204" pitchFamily="34" charset="0"/>
                <a:cs typeface="Arial" panose="020B0604020202020204" pitchFamily="34" charset="0"/>
              </a:rPr>
              <a:t>Is your ACL position well defined and understood at your local organization? What more do you need to do to have it better defined and understo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latin typeface="Arial" panose="020B0604020202020204" pitchFamily="34" charset="0"/>
                <a:cs typeface="Arial" panose="020B0604020202020204" pitchFamily="34" charset="0"/>
              </a:rPr>
              <a:t>How can you be most effective as an ACL at your Area Council meetings? Should you recommend changes to your Area Council Chair in how your Area Council meetings are organized to help you in your ro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solidFill>
                  <a:schemeClr val="accent1"/>
                </a:solidFill>
                <a:latin typeface="Arial" panose="020B0604020202020204" pitchFamily="34" charset="0"/>
                <a:cs typeface="Arial" panose="020B0604020202020204" pitchFamily="34" charset="0"/>
              </a:rPr>
              <a:t>What should we include or exclude from this presentation to help future AC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a:solidFill>
                <a:srgbClr val="FF0000"/>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a:solidFill>
                <a:srgbClr val="FF0000"/>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Arial" panose="020B060402020202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6D6E8B87-CC57-4413-8742-169B51CA1858}" type="slidenum">
              <a:rPr lang="en-US" smtClean="0"/>
              <a:t>19</a:t>
            </a:fld>
            <a:endParaRPr lang="en-US"/>
          </a:p>
        </p:txBody>
      </p:sp>
    </p:spTree>
    <p:extLst>
      <p:ext uri="{BB962C8B-B14F-4D97-AF65-F5344CB8AC3E}">
        <p14:creationId xmlns:p14="http://schemas.microsoft.com/office/powerpoint/2010/main" val="3061041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the conclusion of today’s session, you will:</a:t>
            </a:r>
          </a:p>
          <a:p>
            <a:pPr marL="171450" indent="-171450">
              <a:buFont typeface="Arial" panose="020B0604020202020204" pitchFamily="34" charset="0"/>
              <a:buChar char="•"/>
            </a:pPr>
            <a:r>
              <a:rPr lang="en-US" sz="1200"/>
              <a:t>Understand the Boys &amp; Girls Club Federated Model and the important role Area Councils play</a:t>
            </a:r>
          </a:p>
          <a:p>
            <a:pPr marL="171450" indent="-171450">
              <a:buFont typeface="Arial" panose="020B0604020202020204" pitchFamily="34" charset="0"/>
              <a:buChar char="•"/>
            </a:pPr>
            <a:r>
              <a:rPr lang="en-US" sz="1200"/>
              <a:t>How Area Councils benefit the Movement, region, local Clubs and board members</a:t>
            </a:r>
          </a:p>
          <a:p>
            <a:pPr marL="171450" indent="-171450">
              <a:buFont typeface="Arial" panose="020B0604020202020204" pitchFamily="34" charset="0"/>
              <a:buChar char="•"/>
            </a:pPr>
            <a:r>
              <a:rPr lang="en-US" sz="1200"/>
              <a:t>The key attributes of high performing Area Councils</a:t>
            </a:r>
          </a:p>
          <a:p>
            <a:pPr marL="171450" indent="-171450">
              <a:buFont typeface="Arial" panose="020B0604020202020204" pitchFamily="34" charset="0"/>
              <a:buChar char="•"/>
            </a:pPr>
            <a:r>
              <a:rPr lang="en-US" sz="1200"/>
              <a:t>The role of the Area Council Chair and your role as Area Council Liaison</a:t>
            </a:r>
          </a:p>
          <a:p>
            <a:pPr marL="171450" indent="-171450">
              <a:buFont typeface="Arial" panose="020B0604020202020204" pitchFamily="34" charset="0"/>
              <a:buChar char="•"/>
            </a:pPr>
            <a:r>
              <a:rPr lang="en-US" sz="1200"/>
              <a:t>Resources available to support Area Councils and Area Council Liaisons</a:t>
            </a:r>
          </a:p>
          <a:p>
            <a:endParaRPr lang="en-US"/>
          </a:p>
        </p:txBody>
      </p:sp>
      <p:sp>
        <p:nvSpPr>
          <p:cNvPr id="4" name="Slide Number Placeholder 3"/>
          <p:cNvSpPr>
            <a:spLocks noGrp="1"/>
          </p:cNvSpPr>
          <p:nvPr>
            <p:ph type="sldNum" sz="quarter" idx="5"/>
          </p:nvPr>
        </p:nvSpPr>
        <p:spPr/>
        <p:txBody>
          <a:bodyPr/>
          <a:lstStyle/>
          <a:p>
            <a:fld id="{6D6E8B87-CC57-4413-8742-169B51CA1858}" type="slidenum">
              <a:rPr lang="en-US" smtClean="0"/>
              <a:t>2</a:t>
            </a:fld>
            <a:endParaRPr lang="en-US"/>
          </a:p>
        </p:txBody>
      </p:sp>
    </p:spTree>
    <p:extLst>
      <p:ext uri="{BB962C8B-B14F-4D97-AF65-F5344CB8AC3E}">
        <p14:creationId xmlns:p14="http://schemas.microsoft.com/office/powerpoint/2010/main" val="3656591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again for serving in this important role as an Area Council Liaison for your organization. We will send a follow up email with the slides from today and the recording on the session – and Please do not hesitate to reach out to your DOD or National Area Council Representative should you need further support.  </a:t>
            </a:r>
          </a:p>
          <a:p>
            <a:endParaRPr lang="en-US"/>
          </a:p>
          <a:p>
            <a:r>
              <a:rPr lang="en-US"/>
              <a:t>This concludes our session.</a:t>
            </a:r>
          </a:p>
          <a:p>
            <a:endParaRPr lang="en-US"/>
          </a:p>
          <a:p>
            <a:endParaRPr lang="en-US"/>
          </a:p>
        </p:txBody>
      </p:sp>
      <p:sp>
        <p:nvSpPr>
          <p:cNvPr id="4" name="Slide Number Placeholder 3"/>
          <p:cNvSpPr>
            <a:spLocks noGrp="1"/>
          </p:cNvSpPr>
          <p:nvPr>
            <p:ph type="sldNum" sz="quarter" idx="10"/>
          </p:nvPr>
        </p:nvSpPr>
        <p:spPr/>
        <p:txBody>
          <a:bodyPr/>
          <a:lstStyle/>
          <a:p>
            <a:fld id="{6D6E8B87-CC57-4413-8742-169B51CA1858}" type="slidenum">
              <a:rPr lang="en-US" smtClean="0"/>
              <a:t>20</a:t>
            </a:fld>
            <a:endParaRPr lang="en-US"/>
          </a:p>
        </p:txBody>
      </p:sp>
    </p:spTree>
    <p:extLst>
      <p:ext uri="{BB962C8B-B14F-4D97-AF65-F5344CB8AC3E}">
        <p14:creationId xmlns:p14="http://schemas.microsoft.com/office/powerpoint/2010/main" val="2433870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a:latin typeface="+mn-lt"/>
              </a:rPr>
              <a:t>You are part of a long and storied history of the greatest secular Movement in the world. </a:t>
            </a:r>
            <a:endParaRPr lang="en-US" sz="1200" b="0" i="0" u="none" strike="noStrike" baseline="0">
              <a:solidFill>
                <a:srgbClr val="000000"/>
              </a:solidFill>
              <a:latin typeface="+mn-lt"/>
            </a:endParaRPr>
          </a:p>
          <a:p>
            <a:endParaRPr lang="en-US" sz="1200" b="0" i="0" u="none" strike="noStrike" baseline="0">
              <a:solidFill>
                <a:srgbClr val="000000"/>
              </a:solidFill>
              <a:latin typeface="+mn-lt"/>
            </a:endParaRPr>
          </a:p>
          <a:p>
            <a:r>
              <a:rPr lang="en-US" sz="1200" b="0" i="0" u="none" strike="noStrike" baseline="0">
                <a:solidFill>
                  <a:srgbClr val="000000"/>
                </a:solidFill>
                <a:latin typeface="+mn-lt"/>
              </a:rPr>
              <a:t>Founded in 1906 by 53 local organizations and then known as the “Boys Club Federation,” The Boys &amp; Girls Clubs of America has been in continuous operation for 116 years. In that time, the reach of the Boys &amp; Girls Club Movement has grown exponentially, and many changes have taken place. Our current position is a function of continuous evolution, including significant progress and growth over the past 30 years. As we look to the future, our federation must continue to grow, adapt, and evolve so we can produce the best outcomes for America’s youth. </a:t>
            </a:r>
          </a:p>
          <a:p>
            <a:endParaRPr lang="en-US" sz="1200" b="0" i="0" u="none" strike="noStrike" baseline="0">
              <a:solidFill>
                <a:srgbClr val="000000"/>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rgbClr val="000000"/>
                </a:solidFill>
                <a:latin typeface="+mn-lt"/>
              </a:rPr>
              <a:t>The autonomous nature of local Clubs allows them to be uniquely responsive to local youth needs, enables them to engage top community leaders, and leads to deep and lasting relationships in communities. At the same time, the larger our Movement gets, the more difficult it becomes to achieve consistency, be nimble, and sustain an overall Boys &amp; Girls Club culture. Our growth and the rapidly changing world has made our Federated Model and the role of the Area Councils more important than ever. </a:t>
            </a:r>
          </a:p>
          <a:p>
            <a:endParaRPr lang="en-US" sz="1200">
              <a:latin typeface="+mn-lt"/>
            </a:endParaRPr>
          </a:p>
          <a:p>
            <a:r>
              <a:rPr lang="en-US" sz="1200">
                <a:latin typeface="+mn-lt"/>
              </a:rPr>
              <a:t>Let’s go back to 1906 when 53 individual Boys’ Cubs from across the country untied in Boston, MA to become the Federated Boy’s Club. As I will not go into depth on all the significant changes over the course of our history, but what I do want to emphasize is how incredibly important Area Councils have been in shaping our evolution over the past 100+ years. Area Councils are the voice of our local Clubs and have played a vital role in each of these changes.</a:t>
            </a:r>
          </a:p>
          <a:p>
            <a:r>
              <a:rPr lang="en-US" sz="1200">
                <a:latin typeface="+mn-lt"/>
              </a:rPr>
              <a:t> </a:t>
            </a:r>
          </a:p>
          <a:p>
            <a:r>
              <a:rPr lang="en-US" sz="1200">
                <a:latin typeface="+mn-lt"/>
              </a:rPr>
              <a:t>(review timeline of our brand)</a:t>
            </a:r>
          </a:p>
          <a:p>
            <a:r>
              <a:rPr lang="en-US" sz="1200">
                <a:latin typeface="+mn-lt"/>
              </a:rPr>
              <a:t>1915 – Boy’s Clubs Federation adopted a logo</a:t>
            </a:r>
            <a:endParaRPr lang="en-US" sz="1200">
              <a:latin typeface="+mn-lt"/>
              <a:cs typeface="Arial" panose="020B0604020202020204" pitchFamily="34" charset="0"/>
            </a:endParaRPr>
          </a:p>
          <a:p>
            <a:r>
              <a:rPr lang="en-US" sz="1200">
                <a:latin typeface="+mn-lt"/>
              </a:rPr>
              <a:t>1922 – Harlem Boys’ House became the first </a:t>
            </a:r>
            <a:r>
              <a:rPr lang="en-US" sz="1200" err="1">
                <a:latin typeface="+mn-lt"/>
              </a:rPr>
              <a:t>african-american</a:t>
            </a:r>
            <a:r>
              <a:rPr lang="en-US" sz="1200">
                <a:latin typeface="+mn-lt"/>
              </a:rPr>
              <a:t> youth </a:t>
            </a:r>
            <a:r>
              <a:rPr lang="en-US" sz="1200" err="1">
                <a:latin typeface="+mn-lt"/>
              </a:rPr>
              <a:t>organziation</a:t>
            </a:r>
            <a:r>
              <a:rPr lang="en-US" sz="1200">
                <a:latin typeface="+mn-lt"/>
              </a:rPr>
              <a:t> to join the Boys’ Club Federation.</a:t>
            </a:r>
            <a:endParaRPr lang="en-US" sz="1200">
              <a:latin typeface="+mn-lt"/>
              <a:cs typeface="Arial" panose="020B0604020202020204" pitchFamily="34" charset="0"/>
            </a:endParaRPr>
          </a:p>
          <a:p>
            <a:r>
              <a:rPr lang="en-US" sz="1200">
                <a:latin typeface="+mn-lt"/>
              </a:rPr>
              <a:t>1929 – Name changed from Boys’ Clubs Federation to </a:t>
            </a:r>
            <a:r>
              <a:rPr lang="en-US" sz="1200" b="1">
                <a:latin typeface="+mn-lt"/>
              </a:rPr>
              <a:t>Boys’ Clubs of America</a:t>
            </a:r>
            <a:r>
              <a:rPr lang="en-US" sz="1200">
                <a:latin typeface="+mn-lt"/>
              </a:rPr>
              <a:t> and a new logo was adopted</a:t>
            </a:r>
            <a:endParaRPr lang="en-US" sz="1200">
              <a:latin typeface="+mn-lt"/>
              <a:cs typeface="Arial" panose="020B0604020202020204" pitchFamily="34" charset="0"/>
            </a:endParaRPr>
          </a:p>
          <a:p>
            <a:r>
              <a:rPr lang="en-US" sz="1200">
                <a:latin typeface="+mn-lt"/>
              </a:rPr>
              <a:t>1936 – Herbert Hoover became the Chairman of Boys’ Clubs of America and challenged the organization to open at least 1,000 Clubs.</a:t>
            </a:r>
            <a:endParaRPr lang="en-US" sz="1200">
              <a:latin typeface="+mn-lt"/>
              <a:cs typeface="Arial" panose="020B0604020202020204" pitchFamily="34" charset="0"/>
            </a:endParaRPr>
          </a:p>
          <a:p>
            <a:r>
              <a:rPr lang="en-US" sz="1200">
                <a:latin typeface="+mn-lt"/>
              </a:rPr>
              <a:t>1941 – The Boys’ Clubs of America adopted a new logo.</a:t>
            </a:r>
            <a:endParaRPr lang="en-US" sz="1200">
              <a:latin typeface="+mn-lt"/>
              <a:cs typeface="Arial" panose="020B0604020202020204" pitchFamily="34" charset="0"/>
            </a:endParaRPr>
          </a:p>
          <a:p>
            <a:r>
              <a:rPr lang="en-US" sz="1200">
                <a:latin typeface="+mn-lt"/>
              </a:rPr>
              <a:t>1947 – Youth of Year Program began</a:t>
            </a:r>
            <a:br>
              <a:rPr lang="en-US" sz="1200">
                <a:latin typeface="+mn-lt"/>
                <a:cs typeface="Arial" panose="020B0604020202020204" pitchFamily="34" charset="0"/>
              </a:rPr>
            </a:br>
            <a:r>
              <a:rPr lang="en-US" sz="1200">
                <a:latin typeface="+mn-lt"/>
              </a:rPr>
              <a:t>1956 – Boys’ Clubs of America celebrated its 50th Anniversary and was chartered by Congress, a logo was designed to commemorate the moment.</a:t>
            </a:r>
            <a:endParaRPr lang="en-US" sz="1200">
              <a:latin typeface="+mn-lt"/>
              <a:cs typeface="Arial" panose="020B0604020202020204" pitchFamily="34" charset="0"/>
            </a:endParaRPr>
          </a:p>
          <a:p>
            <a:r>
              <a:rPr lang="en-US" sz="1200">
                <a:latin typeface="+mn-lt"/>
              </a:rPr>
              <a:t>1972 – Boys’ Clubs of America reached 1,000 Club milestone and was serving over 1,000,000 youth</a:t>
            </a:r>
          </a:p>
          <a:p>
            <a:r>
              <a:rPr lang="en-US" sz="1200">
                <a:latin typeface="+mn-lt"/>
              </a:rPr>
              <a:t>1980 – Boys Clubs of America adopted the logo seen today.</a:t>
            </a:r>
          </a:p>
          <a:p>
            <a:r>
              <a:rPr lang="en-US" sz="1200">
                <a:latin typeface="+mn-lt"/>
              </a:rPr>
              <a:t>1990 – </a:t>
            </a:r>
            <a:r>
              <a:rPr lang="en-US" sz="1200" b="1">
                <a:latin typeface="+mn-lt"/>
              </a:rPr>
              <a:t>Boys &amp; Girls Clubs of America</a:t>
            </a:r>
            <a:r>
              <a:rPr lang="en-US" sz="1200">
                <a:latin typeface="+mn-lt"/>
              </a:rPr>
              <a:t> symbolizing the true mission of the Clubs to serve all those who need us most.</a:t>
            </a:r>
          </a:p>
          <a:p>
            <a:pPr algn="l"/>
            <a:endParaRPr lang="en-US" sz="1200" b="0" i="0" u="none" strike="noStrike" baseline="0">
              <a:solidFill>
                <a:srgbClr val="000000"/>
              </a:solidFill>
              <a:latin typeface="+mn-lt"/>
            </a:endParaRPr>
          </a:p>
          <a:p>
            <a:r>
              <a:rPr lang="en-US" sz="1200" b="0" i="0" u="none" strike="noStrike" baseline="0">
                <a:solidFill>
                  <a:srgbClr val="000000"/>
                </a:solidFill>
                <a:latin typeface="+mn-lt"/>
              </a:rPr>
              <a:t>The autonomous nature of local Clubs allows them to be uniquely responsive to local youth needs, enables them to engage top community leaders, and leads to deep and lasting relationships in communities. At the same time, the larger our Movement gets, the more difficult it becomes to achieve consistency, be nimble, and sustain an overall Boys &amp; Girls Club culture. </a:t>
            </a:r>
          </a:p>
          <a:p>
            <a:endParaRPr lang="en-US" sz="1200" b="0" i="0" u="none" strike="noStrike" baseline="0">
              <a:solidFill>
                <a:srgbClr val="000000"/>
              </a:solidFill>
              <a:latin typeface="+mn-lt"/>
            </a:endParaRPr>
          </a:p>
          <a:p>
            <a:r>
              <a:rPr lang="en-US" sz="1200" b="0" i="0" u="none" strike="noStrike" baseline="0">
                <a:solidFill>
                  <a:srgbClr val="000000"/>
                </a:solidFill>
                <a:latin typeface="+mn-lt"/>
              </a:rPr>
              <a:t>The federated model has served us well for over 100 years. We have continually adapted and evolved how we work within that model to advance the Movement and grow national relevance, while maintaining the value derived from local autonomy. As we approach another milestone in our growth, we are looking to our history and to the factors that will influence our future as we consider how we will continue to advance our mission in the years ahead. This leads me to the important role Area Councils play in our evolution</a:t>
            </a:r>
            <a:r>
              <a:rPr lang="en-US" sz="1800" b="0" i="0" u="none" strike="noStrike" baseline="0">
                <a:solidFill>
                  <a:srgbClr val="000000"/>
                </a:solidFill>
                <a:latin typeface="Franklin Gothic Book" panose="020B0503020102020204" pitchFamily="34" charset="0"/>
              </a:rPr>
              <a:t>. </a:t>
            </a:r>
            <a:endParaRPr lang="en-US">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178" rtl="0" eaLnBrk="1" fontAlgn="auto" latinLnBrk="0" hangingPunct="1">
              <a:lnSpc>
                <a:spcPct val="100000"/>
              </a:lnSpc>
              <a:spcBef>
                <a:spcPts val="0"/>
              </a:spcBef>
              <a:spcAft>
                <a:spcPts val="0"/>
              </a:spcAft>
              <a:buClrTx/>
              <a:buSzTx/>
              <a:buFontTx/>
              <a:buNone/>
              <a:tabLst/>
              <a:defRPr/>
            </a:pPr>
            <a:fld id="{BF7844F1-FF3B-1F40-A259-03868C20C1CD}"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45717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73151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n-lt"/>
              </a:rPr>
              <a:t>Before we dive into your role, let’s start our conversation today looking more closely at the role of Area Councils. </a:t>
            </a:r>
          </a:p>
          <a:p>
            <a:endParaRPr lang="en-US">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mn-lt"/>
              </a:rPr>
              <a:t>Area Councils became a formal part of our governance structure in 1944 and were designed to educate, increase engagement and communications, and improve decision making at all levels and focus on governance for the movement. The recommendation to change our name to be inclusive of girls – changing it to Boys &amp; Girls Clubs of America -  came from a local Area Council and this completely transformed this Movement. More recently, Area Councils played a very important role in the updates to the membership requirements of Boys &amp; Girls Clubs. Please understand that the role you play here, and the work of Area Councils is not only vital to your local Area Council and Club but is critically important to help ensure this Movement remains relevant and ensure we are providing the highest quality of services to the millions of youth we serve.</a:t>
            </a:r>
          </a:p>
          <a:p>
            <a:pPr algn="l" eaLnBrk="1" fontAlgn="auto" hangingPunct="1">
              <a:spcAft>
                <a:spcPts val="0"/>
              </a:spcAft>
              <a:defRPr/>
            </a:pPr>
            <a:endParaRPr lang="en-US" sz="1200">
              <a:solidFill>
                <a:schemeClr val="tx1"/>
              </a:solidFill>
              <a:latin typeface="+mn-lt"/>
            </a:endParaRPr>
          </a:p>
          <a:p>
            <a:pPr algn="l" eaLnBrk="1" fontAlgn="auto" hangingPunct="1">
              <a:spcAft>
                <a:spcPts val="0"/>
              </a:spcAft>
              <a:defRPr/>
            </a:pPr>
            <a:r>
              <a:rPr lang="en-US" sz="1200">
                <a:solidFill>
                  <a:schemeClr val="tx1"/>
                </a:solidFill>
                <a:latin typeface="+mn-lt"/>
              </a:rPr>
              <a:t>(review additional points on slide)</a:t>
            </a:r>
            <a:endParaRPr lang="en-US" sz="1200">
              <a:solidFill>
                <a:schemeClr val="tx1">
                  <a:lumMod val="95000"/>
                  <a:lumOff val="5000"/>
                </a:schemeClr>
              </a:solidFill>
              <a:latin typeface="+mn-lt"/>
            </a:endParaRPr>
          </a:p>
          <a:p>
            <a:pPr marL="171450" indent="-171450" algn="l" eaLnBrk="1" fontAlgn="auto" hangingPunct="1">
              <a:spcAft>
                <a:spcPts val="0"/>
              </a:spcAft>
              <a:buFont typeface="Arial" panose="020B0604020202020204" pitchFamily="34" charset="0"/>
              <a:buChar char="•"/>
              <a:defRPr/>
            </a:pPr>
            <a:r>
              <a:rPr lang="en-US" sz="1200">
                <a:solidFill>
                  <a:schemeClr val="tx1">
                    <a:lumMod val="95000"/>
                    <a:lumOff val="5000"/>
                  </a:schemeClr>
                </a:solidFill>
                <a:latin typeface="+mn-lt"/>
              </a:rPr>
              <a:t>Decision making and engagement - Collectively the Area Council provides feedback as part of our governance model which we will go into greater detail in a few moments.</a:t>
            </a:r>
            <a:endParaRPr lang="en-US">
              <a:latin typeface="+mn-lt"/>
            </a:endParaRPr>
          </a:p>
          <a:p>
            <a:pPr marL="171450" indent="-171450">
              <a:buFont typeface="Arial" panose="020B0604020202020204" pitchFamily="34" charset="0"/>
              <a:buChar char="•"/>
            </a:pPr>
            <a:r>
              <a:rPr lang="en-US">
                <a:latin typeface="+mn-lt"/>
              </a:rPr>
              <a:t>Promote growth, development and effectiveness – The Area Council provides the opportunity for local Clubs to work collectively with each other to advance and achieve our mission on a state or regional level. </a:t>
            </a:r>
          </a:p>
          <a:p>
            <a:pPr marL="171450" indent="-171450">
              <a:buFont typeface="Arial" panose="020B0604020202020204" pitchFamily="34" charset="0"/>
              <a:buChar char="•"/>
            </a:pPr>
            <a:r>
              <a:rPr lang="en-US">
                <a:latin typeface="+mn-lt"/>
              </a:rPr>
              <a:t>Finally, Area Councils are one of our best vehicles for providing board education and peer to peer learning to drive deeper understanding and engagement.</a:t>
            </a:r>
          </a:p>
          <a:p>
            <a:endParaRPr lang="en-US"/>
          </a:p>
        </p:txBody>
      </p:sp>
      <p:sp>
        <p:nvSpPr>
          <p:cNvPr id="4" name="Slide Number Placeholder 3"/>
          <p:cNvSpPr>
            <a:spLocks noGrp="1"/>
          </p:cNvSpPr>
          <p:nvPr>
            <p:ph type="sldNum" sz="quarter" idx="5"/>
          </p:nvPr>
        </p:nvSpPr>
        <p:spPr/>
        <p:txBody>
          <a:bodyPr/>
          <a:lstStyle/>
          <a:p>
            <a:fld id="{6D6E8B87-CC57-4413-8742-169B51CA1858}" type="slidenum">
              <a:rPr lang="en-US" smtClean="0"/>
              <a:t>4</a:t>
            </a:fld>
            <a:endParaRPr lang="en-US"/>
          </a:p>
        </p:txBody>
      </p:sp>
    </p:spTree>
    <p:extLst>
      <p:ext uri="{BB962C8B-B14F-4D97-AF65-F5344CB8AC3E}">
        <p14:creationId xmlns:p14="http://schemas.microsoft.com/office/powerpoint/2010/main" val="3239983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n-lt"/>
              </a:rPr>
              <a:t>So, to summarize, a</a:t>
            </a:r>
            <a:r>
              <a:rPr lang="en-US" sz="1200">
                <a:solidFill>
                  <a:schemeClr val="tx1">
                    <a:lumMod val="95000"/>
                    <a:lumOff val="5000"/>
                  </a:schemeClr>
                </a:solidFill>
                <a:latin typeface="+mn-lt"/>
              </a:rPr>
              <a:t>n effective Area Council becomes the platform for board members and all local organizations to collaborate, educate and share best practices </a:t>
            </a:r>
          </a:p>
          <a:p>
            <a:pPr algn="l" eaLnBrk="1" fontAlgn="auto" hangingPunct="1">
              <a:spcAft>
                <a:spcPts val="0"/>
              </a:spcAft>
              <a:defRPr/>
            </a:pPr>
            <a:endParaRPr lang="en-US" sz="1200">
              <a:solidFill>
                <a:schemeClr val="tx1">
                  <a:lumMod val="95000"/>
                  <a:lumOff val="5000"/>
                </a:schemeClr>
              </a:solidFill>
              <a:latin typeface="+mn-lt"/>
            </a:endParaRPr>
          </a:p>
          <a:p>
            <a:pPr algn="l" eaLnBrk="1" fontAlgn="auto" hangingPunct="1">
              <a:spcAft>
                <a:spcPts val="0"/>
              </a:spcAft>
              <a:defRPr/>
            </a:pPr>
            <a:r>
              <a:rPr lang="en-US" sz="1200">
                <a:solidFill>
                  <a:schemeClr val="tx1">
                    <a:lumMod val="95000"/>
                    <a:lumOff val="5000"/>
                  </a:schemeClr>
                </a:solidFill>
                <a:latin typeface="+mn-lt"/>
              </a:rPr>
              <a:t>Collectively the Area Council provides feedback to the NACC member and the National Council on critical National issues as well as to communicate from the NACC to the Area Council</a:t>
            </a:r>
          </a:p>
          <a:p>
            <a:pPr algn="l" eaLnBrk="1" fontAlgn="auto" hangingPunct="1">
              <a:spcAft>
                <a:spcPts val="0"/>
              </a:spcAft>
              <a:defRPr/>
            </a:pPr>
            <a:endParaRPr lang="en-US" sz="1200">
              <a:solidFill>
                <a:schemeClr val="tx1">
                  <a:lumMod val="95000"/>
                  <a:lumOff val="5000"/>
                </a:schemeClr>
              </a:solidFill>
              <a:latin typeface="+mn-lt"/>
            </a:endParaRPr>
          </a:p>
          <a:p>
            <a:pPr algn="l" eaLnBrk="1" fontAlgn="auto" hangingPunct="1">
              <a:spcAft>
                <a:spcPts val="0"/>
              </a:spcAft>
              <a:defRPr/>
            </a:pPr>
            <a:r>
              <a:rPr lang="en-US" sz="1200">
                <a:solidFill>
                  <a:schemeClr val="tx1">
                    <a:lumMod val="95000"/>
                    <a:lumOff val="5000"/>
                  </a:schemeClr>
                </a:solidFill>
                <a:latin typeface="+mn-lt"/>
              </a:rPr>
              <a:t>Not only is your role to be the voice of your local Club to the Movement, but also to carry information back to your local Club to discuss how to implement.</a:t>
            </a:r>
          </a:p>
          <a:p>
            <a:endParaRPr lang="en-US">
              <a:latin typeface="+mn-lt"/>
            </a:endParaRPr>
          </a:p>
          <a:p>
            <a:endParaRPr lang="en-US">
              <a:latin typeface="+mn-lt"/>
            </a:endParaRPr>
          </a:p>
          <a:p>
            <a:endParaRPr lang="en-US"/>
          </a:p>
        </p:txBody>
      </p:sp>
      <p:sp>
        <p:nvSpPr>
          <p:cNvPr id="4" name="Slide Number Placeholder 3"/>
          <p:cNvSpPr>
            <a:spLocks noGrp="1"/>
          </p:cNvSpPr>
          <p:nvPr>
            <p:ph type="sldNum" sz="quarter" idx="5"/>
          </p:nvPr>
        </p:nvSpPr>
        <p:spPr/>
        <p:txBody>
          <a:bodyPr/>
          <a:lstStyle/>
          <a:p>
            <a:fld id="{6D6E8B87-CC57-4413-8742-169B51CA1858}" type="slidenum">
              <a:rPr lang="en-US" smtClean="0"/>
              <a:t>5</a:t>
            </a:fld>
            <a:endParaRPr lang="en-US"/>
          </a:p>
        </p:txBody>
      </p:sp>
    </p:spTree>
    <p:extLst>
      <p:ext uri="{BB962C8B-B14F-4D97-AF65-F5344CB8AC3E}">
        <p14:creationId xmlns:p14="http://schemas.microsoft.com/office/powerpoint/2010/main" val="3137131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Now let’s touch briefly on the Movement’s Federated model – this model defines how the Movement is governed. </a:t>
            </a:r>
          </a:p>
          <a:p>
            <a:endParaRPr lang="en-US" sz="1200"/>
          </a:p>
          <a:p>
            <a:r>
              <a:rPr lang="en-US" sz="1200"/>
              <a:t>This model defines how the Movement is governed. </a:t>
            </a:r>
          </a:p>
          <a:p>
            <a:endParaRPr lang="en-US" sz="1200"/>
          </a:p>
          <a:p>
            <a:r>
              <a:rPr lang="en-US" sz="1200"/>
              <a:t>The foundation of our governance model is the most important aspect which is the strength of our local Clubs. As you can see from the model, you are the voice of the local Club to the Area Councils. </a:t>
            </a:r>
          </a:p>
          <a:p>
            <a:endParaRPr lang="en-US" sz="1200"/>
          </a:p>
          <a:p>
            <a:r>
              <a:rPr lang="en-US" sz="1200"/>
              <a:t>Collectively, all local member organizations make up the National Council – which is at the top of this model, with each organization getting one vote. This means that Member Organizations collectively determine the policies, standards and requirements by which Clubs are managed and operated. </a:t>
            </a: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Local Area Councils vet proposals for a National Council vote, such as proposed changes to membership requirements. Through dialogue and feedback, Area Councils make recommendations to the National Area Council Committee, a concentration of decision makers made up of local Club Board Volunteers who represent multiple Aera Councils, who review governance and communication items that apply across all Area Councils in the Movement. Once this group vets and affirms, they advance recommendations to the National Board of Governors. (take this opportunity to recognize any NACC members on the call). Share that these individuals usually started as the AC Liaison, then AC Chair then NACC member showing how their impact can have a national reach. </a:t>
            </a: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National Board of Governors, who are elected by the National Council, oversees the National BGCA organization. It does not govern local organizations in the movement. The National BGCA team organizes, communicates and provides structure to the running of the movement under the direction of the Board of Governors. Once the Board of Governors affirms the proposed changes, it goes to the National Council for a vote.</a:t>
            </a:r>
          </a:p>
          <a:p>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The National Council is made up solely of all eligible local BGC organizations (1100+) in the movement each having one vote. Those same organizations formed the base of the pyramid and of our movement. Each organization uses their vote at meetings of the National Council on matters that affect the entire movement. Usually (but not exclusively) votes are held at the Annual National Conference. This system of governance keeps ultimate power in our movement in the hands of local organizations that form our federation</a:t>
            </a:r>
          </a:p>
          <a:p>
            <a:endParaRPr lang="en-US" sz="1200"/>
          </a:p>
          <a:p>
            <a:r>
              <a:rPr lang="en-US" sz="1200"/>
              <a:t>The Federated Model provides for representation of local Clubs and two-way communication across multiple levels, including the Board of Governors, who are elected by the National Council – which, again, is all of you. </a:t>
            </a:r>
          </a:p>
          <a:p>
            <a:endParaRPr lang="en-US" sz="1200"/>
          </a:p>
          <a:p>
            <a:r>
              <a:rPr lang="en-US" sz="1200"/>
              <a:t>The Federated model cannot be changed without approval from a supermajority </a:t>
            </a:r>
            <a:r>
              <a:rPr lang="en-US" sz="1400"/>
              <a:t>(2/3 of those voting) of the National Council.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5B586-4ECD-4D06-A22C-D3A1EFE701A2}" type="slidenum">
              <a:rPr kumimoji="0" lang="en-US" sz="11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0095609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Use this slide to show the 5 regions for Area Councils and the National Area Council Committee member assignments</a:t>
            </a:r>
          </a:p>
          <a:p>
            <a:endParaRPr lang="en-US" i="1"/>
          </a:p>
          <a:p>
            <a:r>
              <a:rPr lang="en-US" sz="1200" b="0" i="0" u="none" strike="noStrike" baseline="0">
                <a:solidFill>
                  <a:srgbClr val="000000"/>
                </a:solidFill>
                <a:latin typeface="+mn-lt"/>
              </a:rPr>
              <a:t>Boys &amp; Girls Clubs of America is broken into 5 regions across the country, with each region currently having at least two, and not more than four, representatives of Member Organizations from each of the five regions. These representatives are volunteers, not Club professionals, and act as National Area Council Committee representatives for their region. Recently a new proposal was approved by the National Council to expand that representation to at least 3, but not more than 6, representatives. </a:t>
            </a:r>
          </a:p>
          <a:p>
            <a:r>
              <a:rPr lang="en-US" sz="1200" b="0" i="0" u="none" strike="noStrike" baseline="0">
                <a:solidFill>
                  <a:srgbClr val="000000"/>
                </a:solidFill>
                <a:latin typeface="+mn-lt"/>
              </a:rPr>
              <a:t>• Each NACC representative is responsible for several Area Councils. </a:t>
            </a:r>
          </a:p>
          <a:p>
            <a:r>
              <a:rPr lang="en-US" sz="1200" b="0" i="0" u="none" strike="noStrike" baseline="0">
                <a:solidFill>
                  <a:srgbClr val="000000"/>
                </a:solidFill>
                <a:latin typeface="+mn-lt"/>
              </a:rPr>
              <a:t>• The Chair of NACC is a member of the Board of Governors – </a:t>
            </a:r>
            <a:r>
              <a:rPr lang="en-US" sz="1200" b="0" i="1" u="none" strike="noStrike" baseline="0">
                <a:solidFill>
                  <a:srgbClr val="000000"/>
                </a:solidFill>
                <a:latin typeface="+mn-lt"/>
              </a:rPr>
              <a:t>currently co-chaired by Robbie Bach and Val McNeely. </a:t>
            </a:r>
          </a:p>
          <a:p>
            <a:endParaRPr lang="en-US" sz="1200">
              <a:latin typeface="+mn-lt"/>
            </a:endParaRPr>
          </a:p>
          <a:p>
            <a:r>
              <a:rPr lang="en-US" sz="1200">
                <a:latin typeface="+mn-lt"/>
              </a:rPr>
              <a:t>Area Councils typically are organized by states, however there are some exceptions like the Greater Midwest Area Council which is made up of multiple states, or some larger states have multiple Area Councils like Texas and California. </a:t>
            </a:r>
          </a:p>
          <a:p>
            <a:endParaRPr lang="en-US" sz="1200">
              <a:latin typeface="+mn-lt"/>
            </a:endParaRPr>
          </a:p>
          <a:p>
            <a:r>
              <a:rPr lang="en-US" sz="1200">
                <a:latin typeface="+mn-lt"/>
              </a:rPr>
              <a:t>Military Clubs and Native organizations have different models of governance but are part of our Area Councils.</a:t>
            </a:r>
          </a:p>
          <a:p>
            <a:endParaRPr lang="en-US" sz="1200">
              <a:latin typeface="+mn-lt"/>
            </a:endParaRPr>
          </a:p>
          <a:p>
            <a:r>
              <a:rPr lang="en-US" sz="1200">
                <a:latin typeface="+mn-lt"/>
              </a:rPr>
              <a:t>You will receive a copy of this presentation after this webinar so you can see </a:t>
            </a:r>
            <a:r>
              <a:rPr lang="en-US"/>
              <a:t>who your NACC member is. </a:t>
            </a:r>
          </a:p>
          <a:p>
            <a:endParaRPr lang="en-US" i="1"/>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E861A99-B9AD-462D-B303-B9BEF004E084}"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2968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5000" y="1163638"/>
            <a:ext cx="5588000" cy="3143250"/>
          </a:xfrm>
        </p:spPr>
      </p:sp>
      <p:sp>
        <p:nvSpPr>
          <p:cNvPr id="3" name="Notes Placeholder 2"/>
          <p:cNvSpPr>
            <a:spLocks noGrp="1"/>
          </p:cNvSpPr>
          <p:nvPr>
            <p:ph type="body" idx="1"/>
          </p:nvPr>
        </p:nvSpPr>
        <p:spPr/>
        <p:txBody>
          <a:bodyPr/>
          <a:lstStyle/>
          <a:p>
            <a:r>
              <a:rPr lang="en-US">
                <a:latin typeface="+mn-lt"/>
              </a:rPr>
              <a:t>We know you give generously, especially with your time, and your participation as your organization’s Area Council Liaison also takes time. I’d therefore like to review, you some of the major benefits to being an active participant with your Area Council.</a:t>
            </a:r>
          </a:p>
          <a:p>
            <a:endParaRPr lang="en-US">
              <a:latin typeface="+mn-lt"/>
            </a:endParaRPr>
          </a:p>
          <a:p>
            <a:pPr marL="171450" indent="-171450">
              <a:buFont typeface="Arial" panose="020B0604020202020204" pitchFamily="34" charset="0"/>
              <a:buChar char="•"/>
            </a:pPr>
            <a:r>
              <a:rPr lang="en-US" sz="1200">
                <a:latin typeface="+mn-lt"/>
                <a:cs typeface="Calibri" panose="020F0502020204030204" pitchFamily="34" charset="0"/>
              </a:rPr>
              <a:t>Resources and experiences outside your local Club to address issues and challenges – I am a local board member too, and I have benefitted greatly from learning best practices from my peers on things like how to recruit diverse board members and how to build a positive board culture. </a:t>
            </a:r>
          </a:p>
          <a:p>
            <a:pPr marL="171450" indent="-171450">
              <a:buFont typeface="Arial" panose="020B0604020202020204" pitchFamily="34" charset="0"/>
              <a:buChar char="•"/>
            </a:pPr>
            <a:endParaRPr lang="en-US" sz="1200">
              <a:latin typeface="+mn-lt"/>
              <a:cs typeface="Calibri" panose="020F0502020204030204" pitchFamily="34" charset="0"/>
            </a:endParaRPr>
          </a:p>
          <a:p>
            <a:pPr marL="171450" indent="-171450">
              <a:buFont typeface="Arial" panose="020B0604020202020204" pitchFamily="34" charset="0"/>
              <a:buChar char="•"/>
            </a:pPr>
            <a:r>
              <a:rPr lang="en-US" sz="1200">
                <a:latin typeface="+mn-lt"/>
                <a:cs typeface="Calibri" panose="020F0502020204030204" pitchFamily="34" charset="0"/>
              </a:rPr>
              <a:t>Opportunity to network with other board members and CEO’s within your state or region on key strategic issues or important topics – A great example is the new proposed membership requirements. The proposed changes that are being voted on were developed based on feedback sessions that took place at Area Councils. </a:t>
            </a:r>
          </a:p>
          <a:p>
            <a:pPr marL="171450" indent="-171450">
              <a:buFont typeface="Arial" panose="020B0604020202020204" pitchFamily="34" charset="0"/>
              <a:buChar char="•"/>
            </a:pPr>
            <a:endParaRPr lang="en-US" sz="1200">
              <a:latin typeface="+mn-lt"/>
              <a:cs typeface="Calibri" panose="020F0502020204030204" pitchFamily="34" charset="0"/>
            </a:endParaRPr>
          </a:p>
          <a:p>
            <a:pPr marL="171450" indent="-171450">
              <a:buFont typeface="Arial" panose="020B0604020202020204" pitchFamily="34" charset="0"/>
              <a:buChar char="•"/>
            </a:pPr>
            <a:r>
              <a:rPr lang="en-US" sz="1200">
                <a:latin typeface="+mn-lt"/>
                <a:cs typeface="Calibri" panose="020F0502020204030204" pitchFamily="34" charset="0"/>
              </a:rPr>
              <a:t>Opportunity to interact with regional or national staff on subjects such as Safety, Diversity/Equity/Inclusion (DEI), Resource Development, Policies/Procedures, Governance and staff related issues – National Staff have access and exposure to 100s of Clubs, so their experience and expertise can help your local organization achieve the impact you desire. </a:t>
            </a:r>
          </a:p>
          <a:p>
            <a:pPr marL="171450" indent="-171450">
              <a:buFont typeface="Arial" panose="020B0604020202020204" pitchFamily="34" charset="0"/>
              <a:buChar char="•"/>
            </a:pPr>
            <a:endParaRPr lang="en-US" sz="1200">
              <a:latin typeface="+mn-lt"/>
              <a:cs typeface="Calibri" panose="020F0502020204030204" pitchFamily="34" charset="0"/>
            </a:endParaRPr>
          </a:p>
          <a:p>
            <a:pPr marL="171450" indent="-171450">
              <a:buFont typeface="Arial" panose="020B0604020202020204" pitchFamily="34" charset="0"/>
              <a:buChar char="•"/>
            </a:pPr>
            <a:r>
              <a:rPr lang="en-US" sz="1200">
                <a:latin typeface="+mn-lt"/>
                <a:cs typeface="Calibri" panose="020F0502020204030204" pitchFamily="34" charset="0"/>
              </a:rPr>
              <a:t>Leverage the Boys &amp; Girls Club brand and best practices beyond your local community – The power of this Movement is based on the innovation taking place in local communities all over this country, and how when we come together we can all learn from each other and discover new ways to have the greatest impact on the most youth and communities. </a:t>
            </a:r>
          </a:p>
          <a:p>
            <a:pPr marL="171450" indent="-171450">
              <a:buFont typeface="Arial" panose="020B0604020202020204" pitchFamily="34" charset="0"/>
              <a:buChar char="•"/>
            </a:pPr>
            <a:endParaRPr lang="en-US">
              <a:latin typeface="+mn-lt"/>
            </a:endParaRPr>
          </a:p>
          <a:p>
            <a:pPr marL="171450" indent="-171450">
              <a:buFont typeface="Arial" panose="020B0604020202020204" pitchFamily="34" charset="0"/>
              <a:buChar char="•"/>
            </a:pPr>
            <a:endParaRPr lang="en-US">
              <a:latin typeface="+mn-lt"/>
            </a:endParaRPr>
          </a:p>
          <a:p>
            <a:endParaRPr lang="en-US"/>
          </a:p>
        </p:txBody>
      </p:sp>
      <p:sp>
        <p:nvSpPr>
          <p:cNvPr id="4" name="Slide Number Placeholder 3"/>
          <p:cNvSpPr>
            <a:spLocks noGrp="1"/>
          </p:cNvSpPr>
          <p:nvPr>
            <p:ph type="sldNum" sz="quarter" idx="5"/>
          </p:nvPr>
        </p:nvSpPr>
        <p:spPr/>
        <p:txBody>
          <a:bodyPr/>
          <a:lstStyle/>
          <a:p>
            <a:fld id="{6D6E8B87-CC57-4413-8742-169B51CA1858}" type="slidenum">
              <a:rPr lang="en-US" smtClean="0"/>
              <a:t>8</a:t>
            </a:fld>
            <a:endParaRPr lang="en-US"/>
          </a:p>
        </p:txBody>
      </p:sp>
    </p:spTree>
    <p:extLst>
      <p:ext uri="{BB962C8B-B14F-4D97-AF65-F5344CB8AC3E}">
        <p14:creationId xmlns:p14="http://schemas.microsoft.com/office/powerpoint/2010/main" val="1064649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mn-lt"/>
                <a:cs typeface="Calibri" panose="020F0502020204030204" pitchFamily="34" charset="0"/>
              </a:rPr>
              <a:t>So, what makes for a high performing Area Council. We think there are 5 key elements. </a:t>
            </a:r>
          </a:p>
          <a:p>
            <a:endParaRPr lang="en-US" sz="1200">
              <a:latin typeface="+mn-lt"/>
              <a:cs typeface="Calibri" panose="020F0502020204030204" pitchFamily="34" charset="0"/>
            </a:endParaRPr>
          </a:p>
          <a:p>
            <a:r>
              <a:rPr lang="en-US" sz="1200">
                <a:latin typeface="+mn-lt"/>
                <a:cs typeface="Calibri" panose="020F0502020204030204" pitchFamily="34" charset="0"/>
              </a:rPr>
              <a:t>1. Quarterly meetings with at least one annual Face to Face AC meeting is critical. This is a balance between being able to get things done and keeping people informed and engaged without demanding too much extra time from you as a volunteer board member. High functioning Area Councils provide new board member orientations, CEO/Staff interaction, board member workshops on topical issues, Networking and Recognition</a:t>
            </a:r>
          </a:p>
          <a:p>
            <a:endParaRPr lang="en-US" sz="1200">
              <a:latin typeface="+mn-lt"/>
              <a:cs typeface="Calibri" panose="020F0502020204030204" pitchFamily="34" charset="0"/>
            </a:endParaRPr>
          </a:p>
          <a:p>
            <a:r>
              <a:rPr lang="en-US" sz="1200">
                <a:latin typeface="+mn-lt"/>
                <a:cs typeface="Calibri" panose="020F0502020204030204" pitchFamily="34" charset="0"/>
              </a:rPr>
              <a:t>2. Consistent Communication with Area Council Liaisons – This is to ensure ACLs have the information needed to take back to your local organization on strategic, national initiatives and provide you an avenue to share your ideas and feedback. There are resources available to support you in this communication role which we’ll review later in the presentation.</a:t>
            </a:r>
          </a:p>
          <a:p>
            <a:endParaRPr lang="en-US" sz="1200">
              <a:latin typeface="+mn-lt"/>
              <a:cs typeface="Calibri" panose="020F0502020204030204" pitchFamily="34" charset="0"/>
            </a:endParaRPr>
          </a:p>
          <a:p>
            <a:r>
              <a:rPr lang="en-US" sz="1200">
                <a:latin typeface="+mn-lt"/>
                <a:cs typeface="Calibri" panose="020F0502020204030204" pitchFamily="34" charset="0"/>
              </a:rPr>
              <a:t>The next 2 elements are very closely related, and those are the AC Strategic plan and the annual self evaluation. We get better and are more effective when we do an annual evaluation and put a plan with metrics in place to drive improvement. We can also use these results to use as benchmarks against other high performing Area Councils.  </a:t>
            </a:r>
          </a:p>
          <a:p>
            <a:endParaRPr lang="en-US" sz="1200">
              <a:latin typeface="+mn-lt"/>
              <a:cs typeface="Calibri" panose="020F0502020204030204" pitchFamily="34" charset="0"/>
            </a:endParaRPr>
          </a:p>
          <a:p>
            <a:r>
              <a:rPr lang="en-US" sz="1200">
                <a:latin typeface="+mn-lt"/>
                <a:cs typeface="Calibri" panose="020F0502020204030204" pitchFamily="34" charset="0"/>
              </a:rPr>
              <a:t>The strategic plan also includes any statewide initiatives or common goals for all Clubs in that particular Area Council, such as CEO performance plans, building a positive board culture or strategic growth.</a:t>
            </a:r>
          </a:p>
          <a:p>
            <a:endParaRPr lang="en-US" sz="1200">
              <a:latin typeface="+mn-lt"/>
              <a:cs typeface="Calibri" panose="020F0502020204030204" pitchFamily="34" charset="0"/>
            </a:endParaRPr>
          </a:p>
          <a:p>
            <a:r>
              <a:rPr lang="en-US" sz="1200">
                <a:latin typeface="+mn-lt"/>
                <a:cs typeface="Calibri" panose="020F0502020204030204" pitchFamily="34" charset="0"/>
              </a:rPr>
              <a:t>Finally, just like in our local Clubs, strong AC leadership is critical to all of our success. </a:t>
            </a:r>
          </a:p>
          <a:p>
            <a:endParaRPr lang="en-US" sz="1200">
              <a:latin typeface="+mn-lt"/>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DEA8454E-0FDF-4779-A893-FC5A0755E83E}" type="slidenum">
              <a:rPr lang="en-US" smtClean="0"/>
              <a:t>9</a:t>
            </a:fld>
            <a:endParaRPr lang="en-US"/>
          </a:p>
        </p:txBody>
      </p:sp>
    </p:spTree>
    <p:extLst>
      <p:ext uri="{BB962C8B-B14F-4D97-AF65-F5344CB8AC3E}">
        <p14:creationId xmlns:p14="http://schemas.microsoft.com/office/powerpoint/2010/main" val="134687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702591" y="3602038"/>
            <a:ext cx="9144000" cy="1655762"/>
          </a:xfrm>
        </p:spPr>
        <p:txBody>
          <a:bodyPr lIns="0" anchor="t">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702591" y="1895258"/>
            <a:ext cx="9144000" cy="1325563"/>
          </a:xfrm>
        </p:spPr>
        <p:txBody>
          <a:bodyPr lIns="0">
            <a:normAutofit/>
          </a:bodyPr>
          <a:lstStyle>
            <a:lvl1pPr algn="l">
              <a:defRPr sz="3600" b="1">
                <a:solidFill>
                  <a:schemeClr val="bg1"/>
                </a:solidFill>
              </a:defRPr>
            </a:lvl1pPr>
          </a:lstStyle>
          <a:p>
            <a:r>
              <a:rPr lang="en-US"/>
              <a:t>Click to edit Master title style</a:t>
            </a:r>
          </a:p>
        </p:txBody>
      </p:sp>
    </p:spTree>
    <p:extLst>
      <p:ext uri="{BB962C8B-B14F-4D97-AF65-F5344CB8AC3E}">
        <p14:creationId xmlns:p14="http://schemas.microsoft.com/office/powerpoint/2010/main" val="355139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187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Light Blue 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5C58D1-81BF-014F-A341-AA3290FF874F}"/>
              </a:ext>
            </a:extLst>
          </p:cNvPr>
          <p:cNvSpPr/>
          <p:nvPr userDrawn="1"/>
        </p:nvSpPr>
        <p:spPr>
          <a:xfrm rot="5400000">
            <a:off x="3046476" y="-2665475"/>
            <a:ext cx="6099048" cy="1218895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51A8AD5A-086B-DD4E-9530-80D652D369EA}"/>
              </a:ext>
            </a:extLst>
          </p:cNvPr>
          <p:cNvSpPr>
            <a:spLocks noGrp="1"/>
          </p:cNvSpPr>
          <p:nvPr>
            <p:ph type="title"/>
          </p:nvPr>
        </p:nvSpPr>
        <p:spPr>
          <a:xfrm>
            <a:off x="381000" y="381000"/>
            <a:ext cx="11429999" cy="1084243"/>
          </a:xfrm>
        </p:spPr>
        <p:txBody>
          <a:bodyPr lIns="182880" tIns="274320" anchor="t"/>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335319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guide id="4" orient="horz" pos="117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lank 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A8AD5A-086B-DD4E-9530-80D652D369EA}"/>
              </a:ext>
            </a:extLst>
          </p:cNvPr>
          <p:cNvSpPr>
            <a:spLocks noGrp="1"/>
          </p:cNvSpPr>
          <p:nvPr>
            <p:ph type="title"/>
          </p:nvPr>
        </p:nvSpPr>
        <p:spPr>
          <a:xfrm>
            <a:off x="381000" y="381000"/>
            <a:ext cx="11429999" cy="1084243"/>
          </a:xfrm>
        </p:spPr>
        <p:txBody>
          <a:bodyPr lIns="182880" tIns="274320" anchor="t"/>
          <a:lstStyle>
            <a:lvl1pPr>
              <a:defRPr>
                <a:solidFill>
                  <a:schemeClr val="accent1"/>
                </a:solidFill>
              </a:defRPr>
            </a:lvl1pPr>
          </a:lstStyle>
          <a:p>
            <a:r>
              <a:rPr lang="en-US"/>
              <a:t>Click to edit Master title style</a:t>
            </a:r>
          </a:p>
        </p:txBody>
      </p:sp>
      <p:grpSp>
        <p:nvGrpSpPr>
          <p:cNvPr id="5" name="Group 4">
            <a:extLst>
              <a:ext uri="{FF2B5EF4-FFF2-40B4-BE49-F238E27FC236}">
                <a16:creationId xmlns:a16="http://schemas.microsoft.com/office/drawing/2014/main" id="{4A138AB6-C319-E346-9C45-2CE5B6748D3B}"/>
              </a:ext>
            </a:extLst>
          </p:cNvPr>
          <p:cNvGrpSpPr/>
          <p:nvPr userDrawn="1"/>
        </p:nvGrpSpPr>
        <p:grpSpPr>
          <a:xfrm>
            <a:off x="9667588" y="6167077"/>
            <a:ext cx="2143412" cy="350125"/>
            <a:chOff x="7941600" y="7740369"/>
            <a:chExt cx="6440917" cy="1052121"/>
          </a:xfrm>
        </p:grpSpPr>
        <p:grpSp>
          <p:nvGrpSpPr>
            <p:cNvPr id="6" name="Group 5">
              <a:extLst>
                <a:ext uri="{FF2B5EF4-FFF2-40B4-BE49-F238E27FC236}">
                  <a16:creationId xmlns:a16="http://schemas.microsoft.com/office/drawing/2014/main" id="{44844C8E-836C-5648-8395-5C942BD04BAD}"/>
                </a:ext>
              </a:extLst>
            </p:cNvPr>
            <p:cNvGrpSpPr/>
            <p:nvPr userDrawn="1"/>
          </p:nvGrpSpPr>
          <p:grpSpPr>
            <a:xfrm>
              <a:off x="7941600" y="7740369"/>
              <a:ext cx="6440917" cy="452295"/>
              <a:chOff x="7941600" y="7740364"/>
              <a:chExt cx="6440917" cy="452295"/>
            </a:xfrm>
            <a:solidFill>
              <a:schemeClr val="bg2"/>
            </a:solidFill>
          </p:grpSpPr>
          <p:sp>
            <p:nvSpPr>
              <p:cNvPr id="26" name="Freeform 25">
                <a:extLst>
                  <a:ext uri="{FF2B5EF4-FFF2-40B4-BE49-F238E27FC236}">
                    <a16:creationId xmlns:a16="http://schemas.microsoft.com/office/drawing/2014/main" id="{E967A809-C431-C94D-89D6-7EAA9A3656FD}"/>
                  </a:ext>
                </a:extLst>
              </p:cNvPr>
              <p:cNvSpPr/>
              <p:nvPr/>
            </p:nvSpPr>
            <p:spPr>
              <a:xfrm>
                <a:off x="7941600" y="7740364"/>
                <a:ext cx="601211" cy="443649"/>
              </a:xfrm>
              <a:custGeom>
                <a:avLst/>
                <a:gdLst>
                  <a:gd name="connsiteX0" fmla="*/ 120623 w 601211"/>
                  <a:gd name="connsiteY0" fmla="*/ 443650 h 443649"/>
                  <a:gd name="connsiteX1" fmla="*/ 0 w 601211"/>
                  <a:gd name="connsiteY1" fmla="*/ 0 h 443649"/>
                  <a:gd name="connsiteX2" fmla="*/ 135951 w 601211"/>
                  <a:gd name="connsiteY2" fmla="*/ 0 h 443649"/>
                  <a:gd name="connsiteX3" fmla="*/ 178602 w 601211"/>
                  <a:gd name="connsiteY3" fmla="*/ 207480 h 443649"/>
                  <a:gd name="connsiteX4" fmla="*/ 188599 w 601211"/>
                  <a:gd name="connsiteY4" fmla="*/ 271985 h 443649"/>
                  <a:gd name="connsiteX5" fmla="*/ 198595 w 601211"/>
                  <a:gd name="connsiteY5" fmla="*/ 207480 h 443649"/>
                  <a:gd name="connsiteX6" fmla="*/ 241246 w 601211"/>
                  <a:gd name="connsiteY6" fmla="*/ 0 h 443649"/>
                  <a:gd name="connsiteX7" fmla="*/ 361203 w 601211"/>
                  <a:gd name="connsiteY7" fmla="*/ 0 h 443649"/>
                  <a:gd name="connsiteX8" fmla="*/ 404521 w 601211"/>
                  <a:gd name="connsiteY8" fmla="*/ 205485 h 443649"/>
                  <a:gd name="connsiteX9" fmla="*/ 407853 w 601211"/>
                  <a:gd name="connsiteY9" fmla="*/ 224105 h 443649"/>
                  <a:gd name="connsiteX10" fmla="*/ 410519 w 601211"/>
                  <a:gd name="connsiteY10" fmla="*/ 240065 h 443649"/>
                  <a:gd name="connsiteX11" fmla="*/ 414517 w 601211"/>
                  <a:gd name="connsiteY11" fmla="*/ 271985 h 443649"/>
                  <a:gd name="connsiteX12" fmla="*/ 419182 w 601211"/>
                  <a:gd name="connsiteY12" fmla="*/ 240065 h 443649"/>
                  <a:gd name="connsiteX13" fmla="*/ 421848 w 601211"/>
                  <a:gd name="connsiteY13" fmla="*/ 224105 h 443649"/>
                  <a:gd name="connsiteX14" fmla="*/ 425180 w 601211"/>
                  <a:gd name="connsiteY14" fmla="*/ 205485 h 443649"/>
                  <a:gd name="connsiteX15" fmla="*/ 466499 w 601211"/>
                  <a:gd name="connsiteY15" fmla="*/ 0 h 443649"/>
                  <a:gd name="connsiteX16" fmla="*/ 601212 w 601211"/>
                  <a:gd name="connsiteY16" fmla="*/ 0 h 443649"/>
                  <a:gd name="connsiteX17" fmla="*/ 486587 w 601211"/>
                  <a:gd name="connsiteY17" fmla="*/ 443650 h 443649"/>
                  <a:gd name="connsiteX18" fmla="*/ 351873 w 601211"/>
                  <a:gd name="connsiteY18" fmla="*/ 443650 h 443649"/>
                  <a:gd name="connsiteX19" fmla="*/ 314553 w 601211"/>
                  <a:gd name="connsiteY19" fmla="*/ 252130 h 443649"/>
                  <a:gd name="connsiteX20" fmla="*/ 302558 w 601211"/>
                  <a:gd name="connsiteY20" fmla="*/ 167010 h 443649"/>
                  <a:gd name="connsiteX21" fmla="*/ 289229 w 601211"/>
                  <a:gd name="connsiteY21" fmla="*/ 252130 h 443649"/>
                  <a:gd name="connsiteX22" fmla="*/ 251909 w 601211"/>
                  <a:gd name="connsiteY22" fmla="*/ 443650 h 443649"/>
                  <a:gd name="connsiteX23" fmla="*/ 120623 w 601211"/>
                  <a:gd name="connsiteY23"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1211" h="443649">
                    <a:moveTo>
                      <a:pt x="120623" y="443650"/>
                    </a:moveTo>
                    <a:lnTo>
                      <a:pt x="0" y="0"/>
                    </a:lnTo>
                    <a:lnTo>
                      <a:pt x="135951" y="0"/>
                    </a:lnTo>
                    <a:lnTo>
                      <a:pt x="178602" y="207480"/>
                    </a:lnTo>
                    <a:cubicBezTo>
                      <a:pt x="181934" y="221445"/>
                      <a:pt x="186599" y="252700"/>
                      <a:pt x="188599" y="271985"/>
                    </a:cubicBezTo>
                    <a:cubicBezTo>
                      <a:pt x="189932" y="254030"/>
                      <a:pt x="194597" y="226100"/>
                      <a:pt x="198595" y="207480"/>
                    </a:cubicBezTo>
                    <a:lnTo>
                      <a:pt x="241246" y="0"/>
                    </a:lnTo>
                    <a:lnTo>
                      <a:pt x="361203" y="0"/>
                    </a:lnTo>
                    <a:lnTo>
                      <a:pt x="404521" y="205485"/>
                    </a:lnTo>
                    <a:cubicBezTo>
                      <a:pt x="404521" y="205485"/>
                      <a:pt x="405854" y="215460"/>
                      <a:pt x="407853" y="224105"/>
                    </a:cubicBezTo>
                    <a:cubicBezTo>
                      <a:pt x="408519" y="228760"/>
                      <a:pt x="409186" y="234080"/>
                      <a:pt x="410519" y="240065"/>
                    </a:cubicBezTo>
                    <a:cubicBezTo>
                      <a:pt x="413184" y="256025"/>
                      <a:pt x="413184" y="257355"/>
                      <a:pt x="414517" y="271985"/>
                    </a:cubicBezTo>
                    <a:cubicBezTo>
                      <a:pt x="416517" y="257355"/>
                      <a:pt x="416517" y="257355"/>
                      <a:pt x="419182" y="240065"/>
                    </a:cubicBezTo>
                    <a:cubicBezTo>
                      <a:pt x="420515" y="235410"/>
                      <a:pt x="421182" y="230090"/>
                      <a:pt x="421848" y="224105"/>
                    </a:cubicBezTo>
                    <a:cubicBezTo>
                      <a:pt x="423847" y="215460"/>
                      <a:pt x="425180" y="206150"/>
                      <a:pt x="425180" y="205485"/>
                    </a:cubicBezTo>
                    <a:lnTo>
                      <a:pt x="466499" y="0"/>
                    </a:lnTo>
                    <a:lnTo>
                      <a:pt x="601212" y="0"/>
                    </a:lnTo>
                    <a:lnTo>
                      <a:pt x="486587" y="443650"/>
                    </a:lnTo>
                    <a:lnTo>
                      <a:pt x="351873" y="443650"/>
                    </a:lnTo>
                    <a:lnTo>
                      <a:pt x="314553" y="252130"/>
                    </a:lnTo>
                    <a:cubicBezTo>
                      <a:pt x="309888" y="228855"/>
                      <a:pt x="305223" y="195605"/>
                      <a:pt x="302558" y="167010"/>
                    </a:cubicBezTo>
                    <a:cubicBezTo>
                      <a:pt x="299226" y="200260"/>
                      <a:pt x="295893" y="220875"/>
                      <a:pt x="289229" y="252130"/>
                    </a:cubicBezTo>
                    <a:lnTo>
                      <a:pt x="251909" y="443650"/>
                    </a:lnTo>
                    <a:lnTo>
                      <a:pt x="120623"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7" name="Freeform 26">
                <a:extLst>
                  <a:ext uri="{FF2B5EF4-FFF2-40B4-BE49-F238E27FC236}">
                    <a16:creationId xmlns:a16="http://schemas.microsoft.com/office/drawing/2014/main" id="{C3B49EE8-CA69-E64D-8D12-1C26F9CA6ECB}"/>
                  </a:ext>
                </a:extLst>
              </p:cNvPr>
              <p:cNvSpPr/>
              <p:nvPr/>
            </p:nvSpPr>
            <p:spPr>
              <a:xfrm>
                <a:off x="8568041" y="7740364"/>
                <a:ext cx="332546" cy="443649"/>
              </a:xfrm>
              <a:custGeom>
                <a:avLst/>
                <a:gdLst>
                  <a:gd name="connsiteX0" fmla="*/ 0 w 332546"/>
                  <a:gd name="connsiteY0" fmla="*/ 0 h 443649"/>
                  <a:gd name="connsiteX1" fmla="*/ 124622 w 332546"/>
                  <a:gd name="connsiteY1" fmla="*/ 0 h 443649"/>
                  <a:gd name="connsiteX2" fmla="*/ 124622 w 332546"/>
                  <a:gd name="connsiteY2" fmla="*/ 148960 h 443649"/>
                  <a:gd name="connsiteX3" fmla="*/ 215922 w 332546"/>
                  <a:gd name="connsiteY3" fmla="*/ 113715 h 443649"/>
                  <a:gd name="connsiteX4" fmla="*/ 300558 w 332546"/>
                  <a:gd name="connsiteY4" fmla="*/ 144305 h 443649"/>
                  <a:gd name="connsiteX5" fmla="*/ 332547 w 332546"/>
                  <a:gd name="connsiteY5" fmla="*/ 232085 h 443649"/>
                  <a:gd name="connsiteX6" fmla="*/ 332547 w 332546"/>
                  <a:gd name="connsiteY6" fmla="*/ 443555 h 443649"/>
                  <a:gd name="connsiteX7" fmla="*/ 207925 w 332546"/>
                  <a:gd name="connsiteY7" fmla="*/ 443555 h 443649"/>
                  <a:gd name="connsiteX8" fmla="*/ 207925 w 332546"/>
                  <a:gd name="connsiteY8" fmla="*/ 266095 h 443649"/>
                  <a:gd name="connsiteX9" fmla="*/ 167939 w 332546"/>
                  <a:gd name="connsiteY9" fmla="*/ 213560 h 443649"/>
                  <a:gd name="connsiteX10" fmla="*/ 124622 w 332546"/>
                  <a:gd name="connsiteY10" fmla="*/ 266095 h 443649"/>
                  <a:gd name="connsiteX11" fmla="*/ 124622 w 332546"/>
                  <a:gd name="connsiteY11" fmla="*/ 443650 h 443649"/>
                  <a:gd name="connsiteX12" fmla="*/ 0 w 332546"/>
                  <a:gd name="connsiteY12" fmla="*/ 443650 h 443649"/>
                  <a:gd name="connsiteX13" fmla="*/ 0 w 332546"/>
                  <a:gd name="connsiteY13"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46" h="443649">
                    <a:moveTo>
                      <a:pt x="0" y="0"/>
                    </a:moveTo>
                    <a:lnTo>
                      <a:pt x="124622" y="0"/>
                    </a:lnTo>
                    <a:lnTo>
                      <a:pt x="124622" y="148960"/>
                    </a:lnTo>
                    <a:cubicBezTo>
                      <a:pt x="157943" y="123025"/>
                      <a:pt x="181268" y="113715"/>
                      <a:pt x="215922" y="113715"/>
                    </a:cubicBezTo>
                    <a:cubicBezTo>
                      <a:pt x="250576" y="113715"/>
                      <a:pt x="279233" y="124355"/>
                      <a:pt x="300558" y="144305"/>
                    </a:cubicBezTo>
                    <a:cubicBezTo>
                      <a:pt x="323217" y="166250"/>
                      <a:pt x="332547" y="191520"/>
                      <a:pt x="332547" y="232085"/>
                    </a:cubicBezTo>
                    <a:lnTo>
                      <a:pt x="332547" y="443555"/>
                    </a:lnTo>
                    <a:lnTo>
                      <a:pt x="207925" y="443555"/>
                    </a:lnTo>
                    <a:lnTo>
                      <a:pt x="207925" y="266095"/>
                    </a:lnTo>
                    <a:cubicBezTo>
                      <a:pt x="207925" y="230850"/>
                      <a:pt x="194597" y="213560"/>
                      <a:pt x="167939" y="213560"/>
                    </a:cubicBezTo>
                    <a:cubicBezTo>
                      <a:pt x="139950" y="213560"/>
                      <a:pt x="124622" y="232180"/>
                      <a:pt x="124622" y="266095"/>
                    </a:cubicBezTo>
                    <a:lnTo>
                      <a:pt x="124622" y="443650"/>
                    </a:lnTo>
                    <a:lnTo>
                      <a:pt x="0" y="443650"/>
                    </a:lnTo>
                    <a:lnTo>
                      <a:pt x="0"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8" name="Freeform 27">
                <a:extLst>
                  <a:ext uri="{FF2B5EF4-FFF2-40B4-BE49-F238E27FC236}">
                    <a16:creationId xmlns:a16="http://schemas.microsoft.com/office/drawing/2014/main" id="{DC8472A1-AE02-2747-9352-6B09650BDB13}"/>
                  </a:ext>
                </a:extLst>
              </p:cNvPr>
              <p:cNvSpPr/>
              <p:nvPr/>
            </p:nvSpPr>
            <p:spPr>
              <a:xfrm>
                <a:off x="8946571"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4"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9" name="Freeform 28">
                <a:extLst>
                  <a:ext uri="{FF2B5EF4-FFF2-40B4-BE49-F238E27FC236}">
                    <a16:creationId xmlns:a16="http://schemas.microsoft.com/office/drawing/2014/main" id="{EF11CD63-009D-D746-8E0F-34D3388A8787}"/>
                  </a:ext>
                </a:extLst>
              </p:cNvPr>
              <p:cNvSpPr/>
              <p:nvPr/>
            </p:nvSpPr>
            <p:spPr>
              <a:xfrm>
                <a:off x="9316438"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0" name="Freeform 29">
                <a:extLst>
                  <a:ext uri="{FF2B5EF4-FFF2-40B4-BE49-F238E27FC236}">
                    <a16:creationId xmlns:a16="http://schemas.microsoft.com/office/drawing/2014/main" id="{EFD39A06-0D3D-E94D-92E0-93C3F8CBE81B}"/>
                  </a:ext>
                </a:extLst>
              </p:cNvPr>
              <p:cNvSpPr/>
              <p:nvPr/>
            </p:nvSpPr>
            <p:spPr>
              <a:xfrm>
                <a:off x="9571013"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2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2"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1" name="Freeform 30">
                <a:extLst>
                  <a:ext uri="{FF2B5EF4-FFF2-40B4-BE49-F238E27FC236}">
                    <a16:creationId xmlns:a16="http://schemas.microsoft.com/office/drawing/2014/main" id="{E88E6729-2D53-3145-A357-415E7D7FCC87}"/>
                  </a:ext>
                </a:extLst>
              </p:cNvPr>
              <p:cNvSpPr/>
              <p:nvPr/>
            </p:nvSpPr>
            <p:spPr>
              <a:xfrm>
                <a:off x="9934882" y="7862820"/>
                <a:ext cx="355205" cy="321194"/>
              </a:xfrm>
              <a:custGeom>
                <a:avLst/>
                <a:gdLst>
                  <a:gd name="connsiteX0" fmla="*/ 109294 w 355205"/>
                  <a:gd name="connsiteY0" fmla="*/ 321195 h 321194"/>
                  <a:gd name="connsiteX1" fmla="*/ 0 w 355205"/>
                  <a:gd name="connsiteY1" fmla="*/ 0 h 321194"/>
                  <a:gd name="connsiteX2" fmla="*/ 123289 w 355205"/>
                  <a:gd name="connsiteY2" fmla="*/ 0 h 321194"/>
                  <a:gd name="connsiteX3" fmla="*/ 163275 w 355205"/>
                  <a:gd name="connsiteY3" fmla="*/ 131670 h 321194"/>
                  <a:gd name="connsiteX4" fmla="*/ 177269 w 355205"/>
                  <a:gd name="connsiteY4" fmla="*/ 185535 h 321194"/>
                  <a:gd name="connsiteX5" fmla="*/ 190598 w 355205"/>
                  <a:gd name="connsiteY5" fmla="*/ 131670 h 321194"/>
                  <a:gd name="connsiteX6" fmla="*/ 229251 w 355205"/>
                  <a:gd name="connsiteY6" fmla="*/ 0 h 321194"/>
                  <a:gd name="connsiteX7" fmla="*/ 355205 w 355205"/>
                  <a:gd name="connsiteY7" fmla="*/ 0 h 321194"/>
                  <a:gd name="connsiteX8" fmla="*/ 246578 w 355205"/>
                  <a:gd name="connsiteY8" fmla="*/ 321195 h 321194"/>
                  <a:gd name="connsiteX9" fmla="*/ 109294 w 355205"/>
                  <a:gd name="connsiteY9" fmla="*/ 321195 h 3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05" h="321194">
                    <a:moveTo>
                      <a:pt x="109294" y="321195"/>
                    </a:moveTo>
                    <a:lnTo>
                      <a:pt x="0" y="0"/>
                    </a:lnTo>
                    <a:lnTo>
                      <a:pt x="123289" y="0"/>
                    </a:lnTo>
                    <a:lnTo>
                      <a:pt x="163275" y="131670"/>
                    </a:lnTo>
                    <a:cubicBezTo>
                      <a:pt x="169272" y="150290"/>
                      <a:pt x="173937" y="168910"/>
                      <a:pt x="177269" y="185535"/>
                    </a:cubicBezTo>
                    <a:cubicBezTo>
                      <a:pt x="180602" y="169575"/>
                      <a:pt x="184600" y="152285"/>
                      <a:pt x="190598" y="131670"/>
                    </a:cubicBezTo>
                    <a:lnTo>
                      <a:pt x="229251" y="0"/>
                    </a:lnTo>
                    <a:lnTo>
                      <a:pt x="355205" y="0"/>
                    </a:lnTo>
                    <a:lnTo>
                      <a:pt x="246578" y="321195"/>
                    </a:lnTo>
                    <a:lnTo>
                      <a:pt x="109294" y="32119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2" name="Freeform 31">
                <a:extLst>
                  <a:ext uri="{FF2B5EF4-FFF2-40B4-BE49-F238E27FC236}">
                    <a16:creationId xmlns:a16="http://schemas.microsoft.com/office/drawing/2014/main" id="{D9EBC3FF-0B6A-5D45-B648-78F2037B1022}"/>
                  </a:ext>
                </a:extLst>
              </p:cNvPr>
              <p:cNvSpPr/>
              <p:nvPr/>
            </p:nvSpPr>
            <p:spPr>
              <a:xfrm>
                <a:off x="10293419"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1"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3" name="Freeform 32">
                <a:extLst>
                  <a:ext uri="{FF2B5EF4-FFF2-40B4-BE49-F238E27FC236}">
                    <a16:creationId xmlns:a16="http://schemas.microsoft.com/office/drawing/2014/main" id="{5F4FBB0B-08CA-F247-A9E0-6B81BAF30C8D}"/>
                  </a:ext>
                </a:extLst>
              </p:cNvPr>
              <p:cNvSpPr/>
              <p:nvPr/>
            </p:nvSpPr>
            <p:spPr>
              <a:xfrm>
                <a:off x="10697274" y="7854175"/>
                <a:ext cx="251909" cy="329839"/>
              </a:xfrm>
              <a:custGeom>
                <a:avLst/>
                <a:gdLst>
                  <a:gd name="connsiteX0" fmla="*/ 117958 w 251909"/>
                  <a:gd name="connsiteY0" fmla="*/ 8645 h 329839"/>
                  <a:gd name="connsiteX1" fmla="*/ 117958 w 251909"/>
                  <a:gd name="connsiteY1" fmla="*/ 53200 h 329839"/>
                  <a:gd name="connsiteX2" fmla="*/ 213256 w 251909"/>
                  <a:gd name="connsiteY2" fmla="*/ 0 h 329839"/>
                  <a:gd name="connsiteX3" fmla="*/ 251909 w 251909"/>
                  <a:gd name="connsiteY3" fmla="*/ 6650 h 329839"/>
                  <a:gd name="connsiteX4" fmla="*/ 251909 w 251909"/>
                  <a:gd name="connsiteY4" fmla="*/ 117705 h 329839"/>
                  <a:gd name="connsiteX5" fmla="*/ 201927 w 251909"/>
                  <a:gd name="connsiteY5" fmla="*/ 106400 h 329839"/>
                  <a:gd name="connsiteX6" fmla="*/ 124622 w 251909"/>
                  <a:gd name="connsiteY6" fmla="*/ 183540 h 329839"/>
                  <a:gd name="connsiteX7" fmla="*/ 124622 w 251909"/>
                  <a:gd name="connsiteY7" fmla="*/ 329840 h 329839"/>
                  <a:gd name="connsiteX8" fmla="*/ 0 w 251909"/>
                  <a:gd name="connsiteY8" fmla="*/ 329840 h 329839"/>
                  <a:gd name="connsiteX9" fmla="*/ 0 w 251909"/>
                  <a:gd name="connsiteY9" fmla="*/ 8645 h 329839"/>
                  <a:gd name="connsiteX10" fmla="*/ 117958 w 251909"/>
                  <a:gd name="connsiteY10" fmla="*/ 8645 h 32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39">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4" name="Freeform 33">
                <a:extLst>
                  <a:ext uri="{FF2B5EF4-FFF2-40B4-BE49-F238E27FC236}">
                    <a16:creationId xmlns:a16="http://schemas.microsoft.com/office/drawing/2014/main" id="{062FE8AC-106B-9C4F-A90D-09E5A62B683D}"/>
                  </a:ext>
                </a:extLst>
              </p:cNvPr>
              <p:cNvSpPr/>
              <p:nvPr/>
            </p:nvSpPr>
            <p:spPr>
              <a:xfrm>
                <a:off x="11179005" y="7740365"/>
                <a:ext cx="137950" cy="443555"/>
              </a:xfrm>
              <a:custGeom>
                <a:avLst/>
                <a:gdLst>
                  <a:gd name="connsiteX0" fmla="*/ 0 w 137950"/>
                  <a:gd name="connsiteY0" fmla="*/ 0 h 443555"/>
                  <a:gd name="connsiteX1" fmla="*/ 137950 w 137950"/>
                  <a:gd name="connsiteY1" fmla="*/ 0 h 443555"/>
                  <a:gd name="connsiteX2" fmla="*/ 137950 w 137950"/>
                  <a:gd name="connsiteY2" fmla="*/ 443555 h 443555"/>
                  <a:gd name="connsiteX3" fmla="*/ 0 w 137950"/>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37950" h="443555">
                    <a:moveTo>
                      <a:pt x="0" y="0"/>
                    </a:moveTo>
                    <a:lnTo>
                      <a:pt x="137950" y="0"/>
                    </a:lnTo>
                    <a:lnTo>
                      <a:pt x="137950"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5" name="Freeform 34">
                <a:extLst>
                  <a:ext uri="{FF2B5EF4-FFF2-40B4-BE49-F238E27FC236}">
                    <a16:creationId xmlns:a16="http://schemas.microsoft.com/office/drawing/2014/main" id="{4E9690A5-BDE6-5F47-8DDA-7BF2AC3A27C4}"/>
                  </a:ext>
                </a:extLst>
              </p:cNvPr>
              <p:cNvSpPr/>
              <p:nvPr/>
            </p:nvSpPr>
            <p:spPr>
              <a:xfrm>
                <a:off x="11350372"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6" name="Freeform 35">
                <a:extLst>
                  <a:ext uri="{FF2B5EF4-FFF2-40B4-BE49-F238E27FC236}">
                    <a16:creationId xmlns:a16="http://schemas.microsoft.com/office/drawing/2014/main" id="{96C9CADA-6581-6740-B8A6-7C6CCD197D2C}"/>
                  </a:ext>
                </a:extLst>
              </p:cNvPr>
              <p:cNvSpPr/>
              <p:nvPr/>
            </p:nvSpPr>
            <p:spPr>
              <a:xfrm>
                <a:off x="11767459" y="7740364"/>
                <a:ext cx="392620" cy="443649"/>
              </a:xfrm>
              <a:custGeom>
                <a:avLst/>
                <a:gdLst>
                  <a:gd name="connsiteX0" fmla="*/ 265238 w 392620"/>
                  <a:gd name="connsiteY0" fmla="*/ 443650 h 443649"/>
                  <a:gd name="connsiteX1" fmla="*/ 127287 w 392620"/>
                  <a:gd name="connsiteY1" fmla="*/ 443650 h 443649"/>
                  <a:gd name="connsiteX2" fmla="*/ 127287 w 392620"/>
                  <a:gd name="connsiteY2" fmla="*/ 117705 h 443649"/>
                  <a:gd name="connsiteX3" fmla="*/ 0 w 392620"/>
                  <a:gd name="connsiteY3" fmla="*/ 117705 h 443649"/>
                  <a:gd name="connsiteX4" fmla="*/ 0 w 392620"/>
                  <a:gd name="connsiteY4" fmla="*/ 0 h 443649"/>
                  <a:gd name="connsiteX5" fmla="*/ 392620 w 392620"/>
                  <a:gd name="connsiteY5" fmla="*/ 0 h 443649"/>
                  <a:gd name="connsiteX6" fmla="*/ 392620 w 392620"/>
                  <a:gd name="connsiteY6" fmla="*/ 117705 h 443649"/>
                  <a:gd name="connsiteX7" fmla="*/ 265238 w 392620"/>
                  <a:gd name="connsiteY7" fmla="*/ 11770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620" h="443649">
                    <a:moveTo>
                      <a:pt x="265238" y="443650"/>
                    </a:moveTo>
                    <a:lnTo>
                      <a:pt x="127287" y="443650"/>
                    </a:lnTo>
                    <a:lnTo>
                      <a:pt x="127287" y="117705"/>
                    </a:lnTo>
                    <a:lnTo>
                      <a:pt x="0" y="117705"/>
                    </a:lnTo>
                    <a:lnTo>
                      <a:pt x="0" y="0"/>
                    </a:lnTo>
                    <a:lnTo>
                      <a:pt x="392620" y="0"/>
                    </a:lnTo>
                    <a:lnTo>
                      <a:pt x="392620" y="117705"/>
                    </a:lnTo>
                    <a:lnTo>
                      <a:pt x="265238" y="11770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7" name="Freeform 36">
                <a:extLst>
                  <a:ext uri="{FF2B5EF4-FFF2-40B4-BE49-F238E27FC236}">
                    <a16:creationId xmlns:a16="http://schemas.microsoft.com/office/drawing/2014/main" id="{23608AF8-AAC8-494C-858B-3B1FB7F0C58E}"/>
                  </a:ext>
                </a:extLst>
              </p:cNvPr>
              <p:cNvSpPr/>
              <p:nvPr/>
            </p:nvSpPr>
            <p:spPr>
              <a:xfrm>
                <a:off x="12133327"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8" name="Freeform 37">
                <a:extLst>
                  <a:ext uri="{FF2B5EF4-FFF2-40B4-BE49-F238E27FC236}">
                    <a16:creationId xmlns:a16="http://schemas.microsoft.com/office/drawing/2014/main" id="{6CC0F904-3E46-C84B-AA13-CD172422EB35}"/>
                  </a:ext>
                </a:extLst>
              </p:cNvPr>
              <p:cNvSpPr/>
              <p:nvPr/>
            </p:nvSpPr>
            <p:spPr>
              <a:xfrm>
                <a:off x="12519855" y="7740364"/>
                <a:ext cx="361298" cy="443649"/>
              </a:xfrm>
              <a:custGeom>
                <a:avLst/>
                <a:gdLst>
                  <a:gd name="connsiteX0" fmla="*/ 361298 w 361298"/>
                  <a:gd name="connsiteY0" fmla="*/ 443650 h 443649"/>
                  <a:gd name="connsiteX1" fmla="*/ 213923 w 361298"/>
                  <a:gd name="connsiteY1" fmla="*/ 443650 h 443649"/>
                  <a:gd name="connsiteX2" fmla="*/ 147947 w 361298"/>
                  <a:gd name="connsiteY2" fmla="*/ 330600 h 443649"/>
                  <a:gd name="connsiteX3" fmla="*/ 124622 w 361298"/>
                  <a:gd name="connsiteY3" fmla="*/ 354540 h 443649"/>
                  <a:gd name="connsiteX4" fmla="*/ 124622 w 361298"/>
                  <a:gd name="connsiteY4" fmla="*/ 443650 h 443649"/>
                  <a:gd name="connsiteX5" fmla="*/ 0 w 361298"/>
                  <a:gd name="connsiteY5" fmla="*/ 443650 h 443649"/>
                  <a:gd name="connsiteX6" fmla="*/ 0 w 361298"/>
                  <a:gd name="connsiteY6" fmla="*/ 0 h 443649"/>
                  <a:gd name="connsiteX7" fmla="*/ 124622 w 361298"/>
                  <a:gd name="connsiteY7" fmla="*/ 0 h 443649"/>
                  <a:gd name="connsiteX8" fmla="*/ 124622 w 361298"/>
                  <a:gd name="connsiteY8" fmla="*/ 216220 h 443649"/>
                  <a:gd name="connsiteX9" fmla="*/ 205259 w 361298"/>
                  <a:gd name="connsiteY9" fmla="*/ 122360 h 443649"/>
                  <a:gd name="connsiteX10" fmla="*/ 349969 w 361298"/>
                  <a:gd name="connsiteY10" fmla="*/ 122360 h 443649"/>
                  <a:gd name="connsiteX11" fmla="*/ 228584 w 361298"/>
                  <a:gd name="connsiteY11" fmla="*/ 24671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298" h="443649">
                    <a:moveTo>
                      <a:pt x="361298" y="443650"/>
                    </a:moveTo>
                    <a:lnTo>
                      <a:pt x="213923" y="443650"/>
                    </a:lnTo>
                    <a:lnTo>
                      <a:pt x="147947" y="330600"/>
                    </a:lnTo>
                    <a:lnTo>
                      <a:pt x="124622" y="354540"/>
                    </a:lnTo>
                    <a:lnTo>
                      <a:pt x="124622" y="443650"/>
                    </a:lnTo>
                    <a:lnTo>
                      <a:pt x="0" y="443650"/>
                    </a:lnTo>
                    <a:lnTo>
                      <a:pt x="0" y="0"/>
                    </a:lnTo>
                    <a:lnTo>
                      <a:pt x="124622" y="0"/>
                    </a:lnTo>
                    <a:lnTo>
                      <a:pt x="124622" y="216220"/>
                    </a:lnTo>
                    <a:lnTo>
                      <a:pt x="205259" y="122360"/>
                    </a:lnTo>
                    <a:lnTo>
                      <a:pt x="349969" y="122360"/>
                    </a:lnTo>
                    <a:lnTo>
                      <a:pt x="228584" y="24671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9" name="Freeform 38">
                <a:extLst>
                  <a:ext uri="{FF2B5EF4-FFF2-40B4-BE49-F238E27FC236}">
                    <a16:creationId xmlns:a16="http://schemas.microsoft.com/office/drawing/2014/main" id="{CE7F629D-E79D-6F46-A4E0-A77D705C5B32}"/>
                  </a:ext>
                </a:extLst>
              </p:cNvPr>
              <p:cNvSpPr/>
              <p:nvPr/>
            </p:nvSpPr>
            <p:spPr>
              <a:xfrm>
                <a:off x="12859732"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8 w 359870"/>
                  <a:gd name="connsiteY10" fmla="*/ 132335 h 338484"/>
                  <a:gd name="connsiteX11" fmla="*/ 179268 w 359870"/>
                  <a:gd name="connsiteY11" fmla="*/ 81795 h 338484"/>
                  <a:gd name="connsiteX12" fmla="*/ 123955 w 359870"/>
                  <a:gd name="connsiteY12" fmla="*/ 132335 h 338484"/>
                  <a:gd name="connsiteX13" fmla="*/ 235248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1"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0" name="Freeform 39">
                <a:extLst>
                  <a:ext uri="{FF2B5EF4-FFF2-40B4-BE49-F238E27FC236}">
                    <a16:creationId xmlns:a16="http://schemas.microsoft.com/office/drawing/2014/main" id="{ADF925AF-FE42-334F-92F0-CF40F24AD7F4}"/>
                  </a:ext>
                </a:extLst>
              </p:cNvPr>
              <p:cNvSpPr/>
              <p:nvPr/>
            </p:nvSpPr>
            <p:spPr>
              <a:xfrm>
                <a:off x="13245593" y="7854175"/>
                <a:ext cx="329214" cy="338484"/>
              </a:xfrm>
              <a:custGeom>
                <a:avLst/>
                <a:gdLst>
                  <a:gd name="connsiteX0" fmla="*/ 201927 w 329214"/>
                  <a:gd name="connsiteY0" fmla="*/ 103075 h 338484"/>
                  <a:gd name="connsiteX1" fmla="*/ 161275 w 329214"/>
                  <a:gd name="connsiteY1" fmla="*/ 73150 h 338484"/>
                  <a:gd name="connsiteX2" fmla="*/ 128620 w 329214"/>
                  <a:gd name="connsiteY2" fmla="*/ 91105 h 338484"/>
                  <a:gd name="connsiteX3" fmla="*/ 159942 w 329214"/>
                  <a:gd name="connsiteY3" fmla="*/ 113050 h 338484"/>
                  <a:gd name="connsiteX4" fmla="*/ 217255 w 329214"/>
                  <a:gd name="connsiteY4" fmla="*/ 124355 h 338484"/>
                  <a:gd name="connsiteX5" fmla="*/ 296560 w 329214"/>
                  <a:gd name="connsiteY5" fmla="*/ 154280 h 338484"/>
                  <a:gd name="connsiteX6" fmla="*/ 329215 w 329214"/>
                  <a:gd name="connsiteY6" fmla="*/ 225435 h 338484"/>
                  <a:gd name="connsiteX7" fmla="*/ 164608 w 329214"/>
                  <a:gd name="connsiteY7" fmla="*/ 338485 h 338484"/>
                  <a:gd name="connsiteX8" fmla="*/ 29989 w 329214"/>
                  <a:gd name="connsiteY8" fmla="*/ 292600 h 338484"/>
                  <a:gd name="connsiteX9" fmla="*/ 0 w 329214"/>
                  <a:gd name="connsiteY9" fmla="*/ 220115 h 338484"/>
                  <a:gd name="connsiteX10" fmla="*/ 119291 w 329214"/>
                  <a:gd name="connsiteY10" fmla="*/ 220115 h 338484"/>
                  <a:gd name="connsiteX11" fmla="*/ 167273 w 329214"/>
                  <a:gd name="connsiteY11" fmla="*/ 258685 h 338484"/>
                  <a:gd name="connsiteX12" fmla="*/ 204593 w 329214"/>
                  <a:gd name="connsiteY12" fmla="*/ 235410 h 338484"/>
                  <a:gd name="connsiteX13" fmla="*/ 175271 w 329214"/>
                  <a:gd name="connsiteY13" fmla="*/ 213465 h 338484"/>
                  <a:gd name="connsiteX14" fmla="*/ 102630 w 329214"/>
                  <a:gd name="connsiteY14" fmla="*/ 196840 h 338484"/>
                  <a:gd name="connsiteX15" fmla="*/ 6664 w 329214"/>
                  <a:gd name="connsiteY15" fmla="*/ 103075 h 338484"/>
                  <a:gd name="connsiteX16" fmla="*/ 165940 w 329214"/>
                  <a:gd name="connsiteY16" fmla="*/ 0 h 338484"/>
                  <a:gd name="connsiteX17" fmla="*/ 317886 w 329214"/>
                  <a:gd name="connsiteY17" fmla="*/ 103075 h 338484"/>
                  <a:gd name="connsiteX18" fmla="*/ 201927 w 329214"/>
                  <a:gd name="connsiteY18" fmla="*/ 10307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4">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1" name="Freeform 40">
                <a:extLst>
                  <a:ext uri="{FF2B5EF4-FFF2-40B4-BE49-F238E27FC236}">
                    <a16:creationId xmlns:a16="http://schemas.microsoft.com/office/drawing/2014/main" id="{9489F419-63A0-7540-A641-336DA70D8EFC}"/>
                  </a:ext>
                </a:extLst>
              </p:cNvPr>
              <p:cNvSpPr/>
              <p:nvPr/>
            </p:nvSpPr>
            <p:spPr>
              <a:xfrm>
                <a:off x="13765406" y="7766965"/>
                <a:ext cx="229916" cy="421609"/>
              </a:xfrm>
              <a:custGeom>
                <a:avLst/>
                <a:gdLst>
                  <a:gd name="connsiteX0" fmla="*/ 229917 w 229916"/>
                  <a:gd name="connsiteY0" fmla="*/ 173565 h 421609"/>
                  <a:gd name="connsiteX1" fmla="*/ 171938 w 229916"/>
                  <a:gd name="connsiteY1" fmla="*/ 173565 h 421609"/>
                  <a:gd name="connsiteX2" fmla="*/ 171938 w 229916"/>
                  <a:gd name="connsiteY2" fmla="*/ 292600 h 421609"/>
                  <a:gd name="connsiteX3" fmla="*/ 205259 w 229916"/>
                  <a:gd name="connsiteY3" fmla="*/ 331170 h 421609"/>
                  <a:gd name="connsiteX4" fmla="*/ 229917 w 229916"/>
                  <a:gd name="connsiteY4" fmla="*/ 327180 h 421609"/>
                  <a:gd name="connsiteX5" fmla="*/ 229917 w 229916"/>
                  <a:gd name="connsiteY5" fmla="*/ 411635 h 421609"/>
                  <a:gd name="connsiteX6" fmla="*/ 161275 w 229916"/>
                  <a:gd name="connsiteY6" fmla="*/ 421610 h 421609"/>
                  <a:gd name="connsiteX7" fmla="*/ 74639 w 229916"/>
                  <a:gd name="connsiteY7" fmla="*/ 389025 h 421609"/>
                  <a:gd name="connsiteX8" fmla="*/ 47316 w 229916"/>
                  <a:gd name="connsiteY8" fmla="*/ 297255 h 421609"/>
                  <a:gd name="connsiteX9" fmla="*/ 47316 w 229916"/>
                  <a:gd name="connsiteY9" fmla="*/ 173565 h 421609"/>
                  <a:gd name="connsiteX10" fmla="*/ 0 w 229916"/>
                  <a:gd name="connsiteY10" fmla="*/ 173565 h 421609"/>
                  <a:gd name="connsiteX11" fmla="*/ 0 w 229916"/>
                  <a:gd name="connsiteY11" fmla="*/ 95760 h 421609"/>
                  <a:gd name="connsiteX12" fmla="*/ 47316 w 229916"/>
                  <a:gd name="connsiteY12" fmla="*/ 95760 h 421609"/>
                  <a:gd name="connsiteX13" fmla="*/ 47316 w 229916"/>
                  <a:gd name="connsiteY13" fmla="*/ 0 h 421609"/>
                  <a:gd name="connsiteX14" fmla="*/ 171938 w 229916"/>
                  <a:gd name="connsiteY14" fmla="*/ 0 h 421609"/>
                  <a:gd name="connsiteX15" fmla="*/ 171938 w 229916"/>
                  <a:gd name="connsiteY15" fmla="*/ 95760 h 421609"/>
                  <a:gd name="connsiteX16" fmla="*/ 229917 w 229916"/>
                  <a:gd name="connsiteY16" fmla="*/ 95760 h 421609"/>
                  <a:gd name="connsiteX17" fmla="*/ 229917 w 229916"/>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6"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1" y="421610"/>
                      <a:pt x="95299" y="410305"/>
                      <a:pt x="74639"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2" name="Freeform 41">
                <a:extLst>
                  <a:ext uri="{FF2B5EF4-FFF2-40B4-BE49-F238E27FC236}">
                    <a16:creationId xmlns:a16="http://schemas.microsoft.com/office/drawing/2014/main" id="{5D9D1E8D-E876-3B41-8B10-D2BCD1C1D450}"/>
                  </a:ext>
                </a:extLst>
              </p:cNvPr>
              <p:cNvSpPr/>
              <p:nvPr/>
            </p:nvSpPr>
            <p:spPr>
              <a:xfrm>
                <a:off x="14021980" y="7854175"/>
                <a:ext cx="360537" cy="338484"/>
              </a:xfrm>
              <a:custGeom>
                <a:avLst/>
                <a:gdLst>
                  <a:gd name="connsiteX0" fmla="*/ 360537 w 360537"/>
                  <a:gd name="connsiteY0" fmla="*/ 171570 h 338484"/>
                  <a:gd name="connsiteX1" fmla="*/ 179935 w 360537"/>
                  <a:gd name="connsiteY1" fmla="*/ 338485 h 338484"/>
                  <a:gd name="connsiteX2" fmla="*/ 0 w 360537"/>
                  <a:gd name="connsiteY2" fmla="*/ 168910 h 338484"/>
                  <a:gd name="connsiteX3" fmla="*/ 179935 w 360537"/>
                  <a:gd name="connsiteY3" fmla="*/ 0 h 338484"/>
                  <a:gd name="connsiteX4" fmla="*/ 360537 w 360537"/>
                  <a:gd name="connsiteY4" fmla="*/ 171570 h 338484"/>
                  <a:gd name="connsiteX5" fmla="*/ 124622 w 360537"/>
                  <a:gd name="connsiteY5" fmla="*/ 168910 h 338484"/>
                  <a:gd name="connsiteX6" fmla="*/ 180602 w 360537"/>
                  <a:gd name="connsiteY6" fmla="*/ 250040 h 338484"/>
                  <a:gd name="connsiteX7" fmla="*/ 235915 w 360537"/>
                  <a:gd name="connsiteY7" fmla="*/ 170240 h 338484"/>
                  <a:gd name="connsiteX8" fmla="*/ 179935 w 360537"/>
                  <a:gd name="connsiteY8" fmla="*/ 88445 h 338484"/>
                  <a:gd name="connsiteX9" fmla="*/ 124622 w 360537"/>
                  <a:gd name="connsiteY9" fmla="*/ 168910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537" h="338484">
                    <a:moveTo>
                      <a:pt x="360537" y="171570"/>
                    </a:moveTo>
                    <a:cubicBezTo>
                      <a:pt x="360537" y="266000"/>
                      <a:pt x="282565" y="338485"/>
                      <a:pt x="179935" y="338485"/>
                    </a:cubicBezTo>
                    <a:cubicBezTo>
                      <a:pt x="77306" y="338485"/>
                      <a:pt x="0" y="266000"/>
                      <a:pt x="0" y="168910"/>
                    </a:cubicBezTo>
                    <a:cubicBezTo>
                      <a:pt x="0" y="72485"/>
                      <a:pt x="77306" y="0"/>
                      <a:pt x="179935" y="0"/>
                    </a:cubicBezTo>
                    <a:cubicBezTo>
                      <a:pt x="284564" y="0"/>
                      <a:pt x="360537" y="71820"/>
                      <a:pt x="360537" y="171570"/>
                    </a:cubicBezTo>
                    <a:moveTo>
                      <a:pt x="124622" y="168910"/>
                    </a:moveTo>
                    <a:cubicBezTo>
                      <a:pt x="124622" y="222110"/>
                      <a:pt x="143949" y="250040"/>
                      <a:pt x="180602" y="250040"/>
                    </a:cubicBezTo>
                    <a:cubicBezTo>
                      <a:pt x="215923" y="250040"/>
                      <a:pt x="235915" y="222110"/>
                      <a:pt x="235915" y="170240"/>
                    </a:cubicBezTo>
                    <a:cubicBezTo>
                      <a:pt x="235915" y="116375"/>
                      <a:pt x="216589" y="88445"/>
                      <a:pt x="179935" y="88445"/>
                    </a:cubicBezTo>
                    <a:cubicBezTo>
                      <a:pt x="143949" y="88445"/>
                      <a:pt x="124622" y="116375"/>
                      <a:pt x="124622" y="16891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nvGrpSpPr>
            <p:cNvPr id="7" name="Group 6">
              <a:extLst>
                <a:ext uri="{FF2B5EF4-FFF2-40B4-BE49-F238E27FC236}">
                  <a16:creationId xmlns:a16="http://schemas.microsoft.com/office/drawing/2014/main" id="{E9B7BEFC-3EC0-5D40-93E1-810CF85A0F4D}"/>
                </a:ext>
              </a:extLst>
            </p:cNvPr>
            <p:cNvGrpSpPr/>
            <p:nvPr userDrawn="1"/>
          </p:nvGrpSpPr>
          <p:grpSpPr>
            <a:xfrm>
              <a:off x="7989584" y="8328986"/>
              <a:ext cx="6366276" cy="463504"/>
              <a:chOff x="7989583" y="8328985"/>
              <a:chExt cx="6366277" cy="463505"/>
            </a:xfrm>
            <a:solidFill>
              <a:schemeClr val="accent1"/>
            </a:solidFill>
          </p:grpSpPr>
          <p:sp>
            <p:nvSpPr>
              <p:cNvPr id="8" name="Freeform 7">
                <a:extLst>
                  <a:ext uri="{FF2B5EF4-FFF2-40B4-BE49-F238E27FC236}">
                    <a16:creationId xmlns:a16="http://schemas.microsoft.com/office/drawing/2014/main" id="{A7BDC143-6826-2B4B-B3D5-BC383A25D0A8}"/>
                  </a:ext>
                </a:extLst>
              </p:cNvPr>
              <p:cNvSpPr/>
              <p:nvPr/>
            </p:nvSpPr>
            <p:spPr>
              <a:xfrm>
                <a:off x="7989583" y="8338865"/>
                <a:ext cx="401188" cy="443554"/>
              </a:xfrm>
              <a:custGeom>
                <a:avLst/>
                <a:gdLst>
                  <a:gd name="connsiteX0" fmla="*/ 0 w 401188"/>
                  <a:gd name="connsiteY0" fmla="*/ 0 h 443554"/>
                  <a:gd name="connsiteX1" fmla="*/ 229917 w 401188"/>
                  <a:gd name="connsiteY1" fmla="*/ 0 h 443554"/>
                  <a:gd name="connsiteX2" fmla="*/ 345875 w 401188"/>
                  <a:gd name="connsiteY2" fmla="*/ 32585 h 443554"/>
                  <a:gd name="connsiteX3" fmla="*/ 379863 w 401188"/>
                  <a:gd name="connsiteY3" fmla="*/ 115710 h 443554"/>
                  <a:gd name="connsiteX4" fmla="*/ 329881 w 401188"/>
                  <a:gd name="connsiteY4" fmla="*/ 201495 h 443554"/>
                  <a:gd name="connsiteX5" fmla="*/ 401189 w 401188"/>
                  <a:gd name="connsiteY5" fmla="*/ 312550 h 443554"/>
                  <a:gd name="connsiteX6" fmla="*/ 362536 w 401188"/>
                  <a:gd name="connsiteY6" fmla="*/ 410305 h 443554"/>
                  <a:gd name="connsiteX7" fmla="*/ 245911 w 401188"/>
                  <a:gd name="connsiteY7" fmla="*/ 443555 h 443554"/>
                  <a:gd name="connsiteX8" fmla="*/ 0 w 401188"/>
                  <a:gd name="connsiteY8" fmla="*/ 443555 h 443554"/>
                  <a:gd name="connsiteX9" fmla="*/ 0 w 401188"/>
                  <a:gd name="connsiteY9" fmla="*/ 0 h 443554"/>
                  <a:gd name="connsiteX10" fmla="*/ 215922 w 401188"/>
                  <a:gd name="connsiteY10" fmla="*/ 167580 h 443554"/>
                  <a:gd name="connsiteX11" fmla="*/ 255241 w 401188"/>
                  <a:gd name="connsiteY11" fmla="*/ 134330 h 443554"/>
                  <a:gd name="connsiteX12" fmla="*/ 215922 w 401188"/>
                  <a:gd name="connsiteY12" fmla="*/ 101745 h 443554"/>
                  <a:gd name="connsiteX13" fmla="*/ 133285 w 401188"/>
                  <a:gd name="connsiteY13" fmla="*/ 101745 h 443554"/>
                  <a:gd name="connsiteX14" fmla="*/ 133285 w 401188"/>
                  <a:gd name="connsiteY14" fmla="*/ 167580 h 443554"/>
                  <a:gd name="connsiteX15" fmla="*/ 215922 w 401188"/>
                  <a:gd name="connsiteY15" fmla="*/ 167580 h 443554"/>
                  <a:gd name="connsiteX16" fmla="*/ 218588 w 401188"/>
                  <a:gd name="connsiteY16" fmla="*/ 335255 h 443554"/>
                  <a:gd name="connsiteX17" fmla="*/ 272568 w 401188"/>
                  <a:gd name="connsiteY17" fmla="*/ 296020 h 443554"/>
                  <a:gd name="connsiteX18" fmla="*/ 218588 w 401188"/>
                  <a:gd name="connsiteY18" fmla="*/ 257450 h 443554"/>
                  <a:gd name="connsiteX19" fmla="*/ 133285 w 401188"/>
                  <a:gd name="connsiteY19" fmla="*/ 257450 h 443554"/>
                  <a:gd name="connsiteX20" fmla="*/ 133285 w 401188"/>
                  <a:gd name="connsiteY20" fmla="*/ 335255 h 443554"/>
                  <a:gd name="connsiteX21" fmla="*/ 218588 w 401188"/>
                  <a:gd name="connsiteY21" fmla="*/ 335255 h 4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188" h="443554">
                    <a:moveTo>
                      <a:pt x="0" y="0"/>
                    </a:moveTo>
                    <a:lnTo>
                      <a:pt x="229917" y="0"/>
                    </a:lnTo>
                    <a:cubicBezTo>
                      <a:pt x="290562" y="0"/>
                      <a:pt x="319885" y="8645"/>
                      <a:pt x="345875" y="32585"/>
                    </a:cubicBezTo>
                    <a:cubicBezTo>
                      <a:pt x="367867" y="53200"/>
                      <a:pt x="379863" y="82460"/>
                      <a:pt x="379863" y="115710"/>
                    </a:cubicBezTo>
                    <a:cubicBezTo>
                      <a:pt x="379863" y="152950"/>
                      <a:pt x="365202" y="178885"/>
                      <a:pt x="329881" y="201495"/>
                    </a:cubicBezTo>
                    <a:cubicBezTo>
                      <a:pt x="377197" y="222775"/>
                      <a:pt x="401189" y="260015"/>
                      <a:pt x="401189" y="312550"/>
                    </a:cubicBezTo>
                    <a:cubicBezTo>
                      <a:pt x="401189" y="350455"/>
                      <a:pt x="387194" y="387030"/>
                      <a:pt x="362536" y="410305"/>
                    </a:cubicBezTo>
                    <a:cubicBezTo>
                      <a:pt x="337212" y="435575"/>
                      <a:pt x="309222" y="443555"/>
                      <a:pt x="245911" y="443555"/>
                    </a:cubicBezTo>
                    <a:lnTo>
                      <a:pt x="0" y="443555"/>
                    </a:lnTo>
                    <a:lnTo>
                      <a:pt x="0" y="0"/>
                    </a:lnTo>
                    <a:close/>
                    <a:moveTo>
                      <a:pt x="215922" y="167580"/>
                    </a:moveTo>
                    <a:cubicBezTo>
                      <a:pt x="241913" y="167580"/>
                      <a:pt x="255241" y="156275"/>
                      <a:pt x="255241" y="134330"/>
                    </a:cubicBezTo>
                    <a:cubicBezTo>
                      <a:pt x="255241" y="113050"/>
                      <a:pt x="241913" y="101745"/>
                      <a:pt x="215922" y="101745"/>
                    </a:cubicBezTo>
                    <a:lnTo>
                      <a:pt x="133285" y="101745"/>
                    </a:lnTo>
                    <a:lnTo>
                      <a:pt x="133285" y="167580"/>
                    </a:lnTo>
                    <a:lnTo>
                      <a:pt x="215922" y="167580"/>
                    </a:lnTo>
                    <a:close/>
                    <a:moveTo>
                      <a:pt x="218588" y="335255"/>
                    </a:moveTo>
                    <a:cubicBezTo>
                      <a:pt x="254575" y="335255"/>
                      <a:pt x="272568" y="321955"/>
                      <a:pt x="272568" y="296020"/>
                    </a:cubicBezTo>
                    <a:cubicBezTo>
                      <a:pt x="272568" y="270750"/>
                      <a:pt x="254575" y="257450"/>
                      <a:pt x="218588" y="257450"/>
                    </a:cubicBezTo>
                    <a:lnTo>
                      <a:pt x="133285" y="257450"/>
                    </a:lnTo>
                    <a:lnTo>
                      <a:pt x="133285" y="335255"/>
                    </a:lnTo>
                    <a:lnTo>
                      <a:pt x="218588" y="3352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 name="Freeform 8">
                <a:extLst>
                  <a:ext uri="{FF2B5EF4-FFF2-40B4-BE49-F238E27FC236}">
                    <a16:creationId xmlns:a16="http://schemas.microsoft.com/office/drawing/2014/main" id="{255DA149-2E7E-1A4B-9316-A0F1D15C80B1}"/>
                  </a:ext>
                </a:extLst>
              </p:cNvPr>
              <p:cNvSpPr/>
              <p:nvPr/>
            </p:nvSpPr>
            <p:spPr>
              <a:xfrm>
                <a:off x="8442753"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2 w 334546"/>
                  <a:gd name="connsiteY7" fmla="*/ 0 h 329935"/>
                  <a:gd name="connsiteX8" fmla="*/ 124622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6"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 name="Freeform 9">
                <a:extLst>
                  <a:ext uri="{FF2B5EF4-FFF2-40B4-BE49-F238E27FC236}">
                    <a16:creationId xmlns:a16="http://schemas.microsoft.com/office/drawing/2014/main" id="{61CE6B07-0A1C-A74E-B62E-6ABAD1E7E100}"/>
                  </a:ext>
                </a:extLst>
              </p:cNvPr>
              <p:cNvSpPr/>
              <p:nvPr/>
            </p:nvSpPr>
            <p:spPr>
              <a:xfrm>
                <a:off x="8829280" y="8338865"/>
                <a:ext cx="124621" cy="443649"/>
              </a:xfrm>
              <a:custGeom>
                <a:avLst/>
                <a:gdLst>
                  <a:gd name="connsiteX0" fmla="*/ 124622 w 124621"/>
                  <a:gd name="connsiteY0" fmla="*/ 88445 h 443649"/>
                  <a:gd name="connsiteX1" fmla="*/ 0 w 124621"/>
                  <a:gd name="connsiteY1" fmla="*/ 88445 h 443649"/>
                  <a:gd name="connsiteX2" fmla="*/ 0 w 124621"/>
                  <a:gd name="connsiteY2" fmla="*/ 0 h 443649"/>
                  <a:gd name="connsiteX3" fmla="*/ 124622 w 124621"/>
                  <a:gd name="connsiteY3" fmla="*/ 0 h 443649"/>
                  <a:gd name="connsiteX4" fmla="*/ 124622 w 124621"/>
                  <a:gd name="connsiteY4" fmla="*/ 88445 h 443649"/>
                  <a:gd name="connsiteX5" fmla="*/ 124622 w 124621"/>
                  <a:gd name="connsiteY5" fmla="*/ 443650 h 443649"/>
                  <a:gd name="connsiteX6" fmla="*/ 0 w 124621"/>
                  <a:gd name="connsiteY6" fmla="*/ 443650 h 443649"/>
                  <a:gd name="connsiteX7" fmla="*/ 0 w 124621"/>
                  <a:gd name="connsiteY7" fmla="*/ 122455 h 443649"/>
                  <a:gd name="connsiteX8" fmla="*/ 124622 w 124621"/>
                  <a:gd name="connsiteY8" fmla="*/ 122455 h 443649"/>
                  <a:gd name="connsiteX9" fmla="*/ 124622 w 124621"/>
                  <a:gd name="connsiteY9"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21" h="443649">
                    <a:moveTo>
                      <a:pt x="124622" y="88445"/>
                    </a:moveTo>
                    <a:lnTo>
                      <a:pt x="0" y="88445"/>
                    </a:lnTo>
                    <a:lnTo>
                      <a:pt x="0" y="0"/>
                    </a:lnTo>
                    <a:lnTo>
                      <a:pt x="124622" y="0"/>
                    </a:lnTo>
                    <a:lnTo>
                      <a:pt x="124622" y="88445"/>
                    </a:lnTo>
                    <a:close/>
                    <a:moveTo>
                      <a:pt x="124622" y="443650"/>
                    </a:moveTo>
                    <a:lnTo>
                      <a:pt x="0" y="443650"/>
                    </a:lnTo>
                    <a:lnTo>
                      <a:pt x="0" y="122455"/>
                    </a:lnTo>
                    <a:lnTo>
                      <a:pt x="124622" y="122455"/>
                    </a:lnTo>
                    <a:lnTo>
                      <a:pt x="124622"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1" name="Freeform 10">
                <a:extLst>
                  <a:ext uri="{FF2B5EF4-FFF2-40B4-BE49-F238E27FC236}">
                    <a16:creationId xmlns:a16="http://schemas.microsoft.com/office/drawing/2014/main" id="{4F523E31-4331-E448-AAFA-D6C56C718595}"/>
                  </a:ext>
                </a:extLst>
              </p:cNvPr>
              <p:cNvSpPr/>
              <p:nvPr/>
            </p:nvSpPr>
            <p:spPr>
              <a:xfrm>
                <a:off x="9005883" y="8338865"/>
                <a:ext cx="124621" cy="443555"/>
              </a:xfrm>
              <a:custGeom>
                <a:avLst/>
                <a:gdLst>
                  <a:gd name="connsiteX0" fmla="*/ 0 w 124621"/>
                  <a:gd name="connsiteY0" fmla="*/ 0 h 443555"/>
                  <a:gd name="connsiteX1" fmla="*/ 124622 w 124621"/>
                  <a:gd name="connsiteY1" fmla="*/ 0 h 443555"/>
                  <a:gd name="connsiteX2" fmla="*/ 124622 w 124621"/>
                  <a:gd name="connsiteY2" fmla="*/ 443555 h 443555"/>
                  <a:gd name="connsiteX3" fmla="*/ 0 w 124621"/>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24621" h="443555">
                    <a:moveTo>
                      <a:pt x="0" y="0"/>
                    </a:moveTo>
                    <a:lnTo>
                      <a:pt x="124622" y="0"/>
                    </a:lnTo>
                    <a:lnTo>
                      <a:pt x="124622"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2" name="Freeform 11">
                <a:extLst>
                  <a:ext uri="{FF2B5EF4-FFF2-40B4-BE49-F238E27FC236}">
                    <a16:creationId xmlns:a16="http://schemas.microsoft.com/office/drawing/2014/main" id="{6C8D6B0F-2022-3B41-9F84-7FB2416189B0}"/>
                  </a:ext>
                </a:extLst>
              </p:cNvPr>
              <p:cNvSpPr/>
              <p:nvPr/>
            </p:nvSpPr>
            <p:spPr>
              <a:xfrm>
                <a:off x="9179820" y="8338865"/>
                <a:ext cx="354538" cy="452295"/>
              </a:xfrm>
              <a:custGeom>
                <a:avLst/>
                <a:gdLst>
                  <a:gd name="connsiteX0" fmla="*/ 354539 w 354538"/>
                  <a:gd name="connsiteY0" fmla="*/ 443650 h 452295"/>
                  <a:gd name="connsiteX1" fmla="*/ 237248 w 354538"/>
                  <a:gd name="connsiteY1" fmla="*/ 443650 h 452295"/>
                  <a:gd name="connsiteX2" fmla="*/ 237248 w 354538"/>
                  <a:gd name="connsiteY2" fmla="*/ 414390 h 452295"/>
                  <a:gd name="connsiteX3" fmla="*/ 149946 w 354538"/>
                  <a:gd name="connsiteY3" fmla="*/ 452295 h 452295"/>
                  <a:gd name="connsiteX4" fmla="*/ 0 w 354538"/>
                  <a:gd name="connsiteY4" fmla="*/ 279395 h 452295"/>
                  <a:gd name="connsiteX5" fmla="*/ 139950 w 354538"/>
                  <a:gd name="connsiteY5" fmla="*/ 113810 h 452295"/>
                  <a:gd name="connsiteX6" fmla="*/ 229917 w 354538"/>
                  <a:gd name="connsiteY6" fmla="*/ 149720 h 452295"/>
                  <a:gd name="connsiteX7" fmla="*/ 229917 w 354538"/>
                  <a:gd name="connsiteY7" fmla="*/ 0 h 452295"/>
                  <a:gd name="connsiteX8" fmla="*/ 354539 w 354538"/>
                  <a:gd name="connsiteY8" fmla="*/ 0 h 452295"/>
                  <a:gd name="connsiteX9" fmla="*/ 354539 w 354538"/>
                  <a:gd name="connsiteY9" fmla="*/ 443650 h 452295"/>
                  <a:gd name="connsiteX10" fmla="*/ 124622 w 354538"/>
                  <a:gd name="connsiteY10" fmla="*/ 282720 h 452295"/>
                  <a:gd name="connsiteX11" fmla="*/ 179269 w 354538"/>
                  <a:gd name="connsiteY11" fmla="*/ 357200 h 452295"/>
                  <a:gd name="connsiteX12" fmla="*/ 234582 w 354538"/>
                  <a:gd name="connsiteY12" fmla="*/ 284050 h 452295"/>
                  <a:gd name="connsiteX13" fmla="*/ 179269 w 354538"/>
                  <a:gd name="connsiteY13" fmla="*/ 208905 h 452295"/>
                  <a:gd name="connsiteX14" fmla="*/ 124622 w 354538"/>
                  <a:gd name="connsiteY14" fmla="*/ 282720 h 45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38" h="452295">
                    <a:moveTo>
                      <a:pt x="354539" y="443650"/>
                    </a:moveTo>
                    <a:lnTo>
                      <a:pt x="237248" y="443650"/>
                    </a:lnTo>
                    <a:lnTo>
                      <a:pt x="237248" y="414390"/>
                    </a:lnTo>
                    <a:cubicBezTo>
                      <a:pt x="205926" y="444315"/>
                      <a:pt x="187266" y="452295"/>
                      <a:pt x="149946" y="452295"/>
                    </a:cubicBezTo>
                    <a:cubicBezTo>
                      <a:pt x="59312" y="452295"/>
                      <a:pt x="0" y="383800"/>
                      <a:pt x="0" y="279395"/>
                    </a:cubicBezTo>
                    <a:cubicBezTo>
                      <a:pt x="0" y="180310"/>
                      <a:pt x="55980" y="113810"/>
                      <a:pt x="139950" y="113810"/>
                    </a:cubicBezTo>
                    <a:cubicBezTo>
                      <a:pt x="175270" y="113810"/>
                      <a:pt x="199928" y="123785"/>
                      <a:pt x="229917" y="149720"/>
                    </a:cubicBezTo>
                    <a:lnTo>
                      <a:pt x="229917" y="0"/>
                    </a:lnTo>
                    <a:lnTo>
                      <a:pt x="354539" y="0"/>
                    </a:lnTo>
                    <a:lnTo>
                      <a:pt x="354539" y="443650"/>
                    </a:lnTo>
                    <a:close/>
                    <a:moveTo>
                      <a:pt x="124622" y="282720"/>
                    </a:moveTo>
                    <a:cubicBezTo>
                      <a:pt x="124622" y="329270"/>
                      <a:pt x="145281" y="357200"/>
                      <a:pt x="179269" y="357200"/>
                    </a:cubicBezTo>
                    <a:cubicBezTo>
                      <a:pt x="213256" y="357200"/>
                      <a:pt x="234582" y="328605"/>
                      <a:pt x="234582" y="284050"/>
                    </a:cubicBezTo>
                    <a:cubicBezTo>
                      <a:pt x="234582" y="236835"/>
                      <a:pt x="213923" y="208905"/>
                      <a:pt x="179269" y="208905"/>
                    </a:cubicBezTo>
                    <a:cubicBezTo>
                      <a:pt x="145281" y="208905"/>
                      <a:pt x="124622" y="236835"/>
                      <a:pt x="124622" y="28272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3" name="Freeform 12">
                <a:extLst>
                  <a:ext uri="{FF2B5EF4-FFF2-40B4-BE49-F238E27FC236}">
                    <a16:creationId xmlns:a16="http://schemas.microsoft.com/office/drawing/2014/main" id="{6BCA2F01-D6DF-A448-AF8E-E13B005D2EC4}"/>
                  </a:ext>
                </a:extLst>
              </p:cNvPr>
              <p:cNvSpPr/>
              <p:nvPr/>
            </p:nvSpPr>
            <p:spPr>
              <a:xfrm>
                <a:off x="9755613" y="8328985"/>
                <a:ext cx="438508" cy="463505"/>
              </a:xfrm>
              <a:custGeom>
                <a:avLst/>
                <a:gdLst>
                  <a:gd name="connsiteX0" fmla="*/ 438509 w 438508"/>
                  <a:gd name="connsiteY0" fmla="*/ 209475 h 463505"/>
                  <a:gd name="connsiteX1" fmla="*/ 438509 w 438508"/>
                  <a:gd name="connsiteY1" fmla="*/ 453530 h 463505"/>
                  <a:gd name="connsiteX2" fmla="*/ 350540 w 438508"/>
                  <a:gd name="connsiteY2" fmla="*/ 453530 h 463505"/>
                  <a:gd name="connsiteX3" fmla="*/ 341877 w 438508"/>
                  <a:gd name="connsiteY3" fmla="*/ 415625 h 463505"/>
                  <a:gd name="connsiteX4" fmla="*/ 210591 w 438508"/>
                  <a:gd name="connsiteY4" fmla="*/ 463505 h 463505"/>
                  <a:gd name="connsiteX5" fmla="*/ 0 w 438508"/>
                  <a:gd name="connsiteY5" fmla="*/ 232085 h 463505"/>
                  <a:gd name="connsiteX6" fmla="*/ 223253 w 438508"/>
                  <a:gd name="connsiteY6" fmla="*/ 0 h 463505"/>
                  <a:gd name="connsiteX7" fmla="*/ 429845 w 438508"/>
                  <a:gd name="connsiteY7" fmla="*/ 163590 h 463505"/>
                  <a:gd name="connsiteX8" fmla="*/ 297893 w 438508"/>
                  <a:gd name="connsiteY8" fmla="*/ 166250 h 463505"/>
                  <a:gd name="connsiteX9" fmla="*/ 224586 w 438508"/>
                  <a:gd name="connsiteY9" fmla="*/ 111055 h 463505"/>
                  <a:gd name="connsiteX10" fmla="*/ 137950 w 438508"/>
                  <a:gd name="connsiteY10" fmla="*/ 228760 h 463505"/>
                  <a:gd name="connsiteX11" fmla="*/ 233916 w 438508"/>
                  <a:gd name="connsiteY11" fmla="*/ 357105 h 463505"/>
                  <a:gd name="connsiteX12" fmla="*/ 310555 w 438508"/>
                  <a:gd name="connsiteY12" fmla="*/ 307230 h 463505"/>
                  <a:gd name="connsiteX13" fmla="*/ 252576 w 438508"/>
                  <a:gd name="connsiteY13" fmla="*/ 307230 h 463505"/>
                  <a:gd name="connsiteX14" fmla="*/ 252576 w 438508"/>
                  <a:gd name="connsiteY14" fmla="*/ 209475 h 463505"/>
                  <a:gd name="connsiteX15" fmla="*/ 438509 w 438508"/>
                  <a:gd name="connsiteY15" fmla="*/ 209475 h 46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508" h="463505">
                    <a:moveTo>
                      <a:pt x="438509" y="209475"/>
                    </a:moveTo>
                    <a:lnTo>
                      <a:pt x="438509" y="453530"/>
                    </a:lnTo>
                    <a:lnTo>
                      <a:pt x="350540" y="453530"/>
                    </a:lnTo>
                    <a:lnTo>
                      <a:pt x="341877" y="415625"/>
                    </a:lnTo>
                    <a:cubicBezTo>
                      <a:pt x="305223" y="448210"/>
                      <a:pt x="262572" y="463505"/>
                      <a:pt x="210591" y="463505"/>
                    </a:cubicBezTo>
                    <a:cubicBezTo>
                      <a:pt x="88635" y="463505"/>
                      <a:pt x="0" y="365750"/>
                      <a:pt x="0" y="232085"/>
                    </a:cubicBezTo>
                    <a:cubicBezTo>
                      <a:pt x="0" y="94430"/>
                      <a:pt x="90634" y="0"/>
                      <a:pt x="223253" y="0"/>
                    </a:cubicBezTo>
                    <a:cubicBezTo>
                      <a:pt x="332547" y="0"/>
                      <a:pt x="412518" y="63840"/>
                      <a:pt x="429845" y="163590"/>
                    </a:cubicBezTo>
                    <a:lnTo>
                      <a:pt x="297893" y="166250"/>
                    </a:lnTo>
                    <a:cubicBezTo>
                      <a:pt x="288563" y="131005"/>
                      <a:pt x="261906" y="111055"/>
                      <a:pt x="224586" y="111055"/>
                    </a:cubicBezTo>
                    <a:cubicBezTo>
                      <a:pt x="169272" y="111055"/>
                      <a:pt x="137950" y="153615"/>
                      <a:pt x="137950" y="228760"/>
                    </a:cubicBezTo>
                    <a:cubicBezTo>
                      <a:pt x="137950" y="311885"/>
                      <a:pt x="171938" y="357105"/>
                      <a:pt x="233916" y="357105"/>
                    </a:cubicBezTo>
                    <a:cubicBezTo>
                      <a:pt x="271236" y="357105"/>
                      <a:pt x="299226" y="339150"/>
                      <a:pt x="310555" y="307230"/>
                    </a:cubicBezTo>
                    <a:lnTo>
                      <a:pt x="252576" y="307230"/>
                    </a:lnTo>
                    <a:lnTo>
                      <a:pt x="252576" y="209475"/>
                    </a:lnTo>
                    <a:lnTo>
                      <a:pt x="438509" y="2094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 name="Freeform 13">
                <a:extLst>
                  <a:ext uri="{FF2B5EF4-FFF2-40B4-BE49-F238E27FC236}">
                    <a16:creationId xmlns:a16="http://schemas.microsoft.com/office/drawing/2014/main" id="{9B63A4CC-A56E-E142-BA4C-FBDF61D5AE7C}"/>
                  </a:ext>
                </a:extLst>
              </p:cNvPr>
              <p:cNvSpPr/>
              <p:nvPr/>
            </p:nvSpPr>
            <p:spPr>
              <a:xfrm>
                <a:off x="10246769" y="8452674"/>
                <a:ext cx="251909" cy="329840"/>
              </a:xfrm>
              <a:custGeom>
                <a:avLst/>
                <a:gdLst>
                  <a:gd name="connsiteX0" fmla="*/ 117958 w 251909"/>
                  <a:gd name="connsiteY0" fmla="*/ 8645 h 329840"/>
                  <a:gd name="connsiteX1" fmla="*/ 117958 w 251909"/>
                  <a:gd name="connsiteY1" fmla="*/ 53200 h 329840"/>
                  <a:gd name="connsiteX2" fmla="*/ 213256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 name="Freeform 14">
                <a:extLst>
                  <a:ext uri="{FF2B5EF4-FFF2-40B4-BE49-F238E27FC236}">
                    <a16:creationId xmlns:a16="http://schemas.microsoft.com/office/drawing/2014/main" id="{D4FA39A1-56E9-F94A-ABF6-9D9555CAF22D}"/>
                  </a:ext>
                </a:extLst>
              </p:cNvPr>
              <p:cNvSpPr/>
              <p:nvPr/>
            </p:nvSpPr>
            <p:spPr>
              <a:xfrm>
                <a:off x="10526668"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2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9 w 359870"/>
                  <a:gd name="connsiteY10" fmla="*/ 132335 h 338485"/>
                  <a:gd name="connsiteX11" fmla="*/ 179269 w 359870"/>
                  <a:gd name="connsiteY11" fmla="*/ 81795 h 338485"/>
                  <a:gd name="connsiteX12" fmla="*/ 123956 w 359870"/>
                  <a:gd name="connsiteY12" fmla="*/ 132335 h 338485"/>
                  <a:gd name="connsiteX13" fmla="*/ 235249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2"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3" y="0"/>
                      <a:pt x="180602" y="0"/>
                    </a:cubicBezTo>
                    <a:cubicBezTo>
                      <a:pt x="253909" y="0"/>
                      <a:pt x="313887" y="35245"/>
                      <a:pt x="342543" y="96425"/>
                    </a:cubicBezTo>
                    <a:cubicBezTo>
                      <a:pt x="354539" y="123025"/>
                      <a:pt x="359870" y="151620"/>
                      <a:pt x="359870" y="198835"/>
                    </a:cubicBezTo>
                    <a:lnTo>
                      <a:pt x="123289" y="198835"/>
                    </a:lnTo>
                    <a:close/>
                    <a:moveTo>
                      <a:pt x="235249" y="132335"/>
                    </a:moveTo>
                    <a:cubicBezTo>
                      <a:pt x="231917" y="101080"/>
                      <a:pt x="210591" y="81795"/>
                      <a:pt x="179269" y="81795"/>
                    </a:cubicBezTo>
                    <a:cubicBezTo>
                      <a:pt x="148613" y="81795"/>
                      <a:pt x="127288" y="101080"/>
                      <a:pt x="123956"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 name="Freeform 15">
                <a:extLst>
                  <a:ext uri="{FF2B5EF4-FFF2-40B4-BE49-F238E27FC236}">
                    <a16:creationId xmlns:a16="http://schemas.microsoft.com/office/drawing/2014/main" id="{7656E2D0-6320-4440-BE39-F459482F716F}"/>
                  </a:ext>
                </a:extLst>
              </p:cNvPr>
              <p:cNvSpPr/>
              <p:nvPr/>
            </p:nvSpPr>
            <p:spPr>
              <a:xfrm>
                <a:off x="10923097" y="8452674"/>
                <a:ext cx="350540" cy="338485"/>
              </a:xfrm>
              <a:custGeom>
                <a:avLst/>
                <a:gdLst>
                  <a:gd name="connsiteX0" fmla="*/ 14661 w 350540"/>
                  <a:gd name="connsiteY0" fmla="*/ 124355 h 338485"/>
                  <a:gd name="connsiteX1" fmla="*/ 47316 w 350540"/>
                  <a:gd name="connsiteY1" fmla="*/ 42560 h 338485"/>
                  <a:gd name="connsiteX2" fmla="*/ 179269 w 350540"/>
                  <a:gd name="connsiteY2" fmla="*/ 0 h 338485"/>
                  <a:gd name="connsiteX3" fmla="*/ 299225 w 350540"/>
                  <a:gd name="connsiteY3" fmla="*/ 32585 h 338485"/>
                  <a:gd name="connsiteX4" fmla="*/ 340544 w 350540"/>
                  <a:gd name="connsiteY4" fmla="*/ 131005 h 338485"/>
                  <a:gd name="connsiteX5" fmla="*/ 340544 w 350540"/>
                  <a:gd name="connsiteY5" fmla="*/ 281960 h 338485"/>
                  <a:gd name="connsiteX6" fmla="*/ 350540 w 350540"/>
                  <a:gd name="connsiteY6" fmla="*/ 329840 h 338485"/>
                  <a:gd name="connsiteX7" fmla="*/ 229917 w 350540"/>
                  <a:gd name="connsiteY7" fmla="*/ 329840 h 338485"/>
                  <a:gd name="connsiteX8" fmla="*/ 219254 w 350540"/>
                  <a:gd name="connsiteY8" fmla="*/ 297255 h 338485"/>
                  <a:gd name="connsiteX9" fmla="*/ 111960 w 350540"/>
                  <a:gd name="connsiteY9" fmla="*/ 338485 h 338485"/>
                  <a:gd name="connsiteX10" fmla="*/ 0 w 350540"/>
                  <a:gd name="connsiteY10" fmla="*/ 244720 h 338485"/>
                  <a:gd name="connsiteX11" fmla="*/ 89968 w 350540"/>
                  <a:gd name="connsiteY11" fmla="*/ 148960 h 338485"/>
                  <a:gd name="connsiteX12" fmla="*/ 183267 w 350540"/>
                  <a:gd name="connsiteY12" fmla="*/ 131005 h 338485"/>
                  <a:gd name="connsiteX13" fmla="*/ 218588 w 350540"/>
                  <a:gd name="connsiteY13" fmla="*/ 107065 h 338485"/>
                  <a:gd name="connsiteX14" fmla="*/ 176603 w 350540"/>
                  <a:gd name="connsiteY14" fmla="*/ 79800 h 338485"/>
                  <a:gd name="connsiteX15" fmla="*/ 128620 w 350540"/>
                  <a:gd name="connsiteY15" fmla="*/ 119700 h 338485"/>
                  <a:gd name="connsiteX16" fmla="*/ 128620 w 350540"/>
                  <a:gd name="connsiteY16" fmla="*/ 124355 h 338485"/>
                  <a:gd name="connsiteX17" fmla="*/ 14661 w 350540"/>
                  <a:gd name="connsiteY17" fmla="*/ 124355 h 338485"/>
                  <a:gd name="connsiteX18" fmla="*/ 167368 w 350540"/>
                  <a:gd name="connsiteY18" fmla="*/ 204155 h 338485"/>
                  <a:gd name="connsiteX19" fmla="*/ 131381 w 350540"/>
                  <a:gd name="connsiteY19" fmla="*/ 217455 h 338485"/>
                  <a:gd name="connsiteX20" fmla="*/ 119386 w 350540"/>
                  <a:gd name="connsiteY20" fmla="*/ 238070 h 338485"/>
                  <a:gd name="connsiteX21" fmla="*/ 154706 w 350540"/>
                  <a:gd name="connsiteY21" fmla="*/ 265335 h 338485"/>
                  <a:gd name="connsiteX22" fmla="*/ 220682 w 350540"/>
                  <a:gd name="connsiteY22" fmla="*/ 202825 h 338485"/>
                  <a:gd name="connsiteX23" fmla="*/ 220682 w 350540"/>
                  <a:gd name="connsiteY23" fmla="*/ 185535 h 338485"/>
                  <a:gd name="connsiteX24" fmla="*/ 167368 w 350540"/>
                  <a:gd name="connsiteY24" fmla="*/ 20415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5">
                    <a:moveTo>
                      <a:pt x="14661" y="124355"/>
                    </a:moveTo>
                    <a:cubicBezTo>
                      <a:pt x="17993"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368" y="204155"/>
                    </a:moveTo>
                    <a:cubicBezTo>
                      <a:pt x="138712" y="213465"/>
                      <a:pt x="138712" y="213465"/>
                      <a:pt x="131381" y="217455"/>
                    </a:cubicBezTo>
                    <a:cubicBezTo>
                      <a:pt x="123384" y="222110"/>
                      <a:pt x="119386" y="229425"/>
                      <a:pt x="119386" y="238070"/>
                    </a:cubicBezTo>
                    <a:cubicBezTo>
                      <a:pt x="119386" y="254695"/>
                      <a:pt x="133381" y="265335"/>
                      <a:pt x="154706" y="265335"/>
                    </a:cubicBezTo>
                    <a:cubicBezTo>
                      <a:pt x="193359" y="265335"/>
                      <a:pt x="220682" y="239400"/>
                      <a:pt x="220682" y="202825"/>
                    </a:cubicBezTo>
                    <a:lnTo>
                      <a:pt x="220682" y="185535"/>
                    </a:lnTo>
                    <a:lnTo>
                      <a:pt x="167368"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 name="Freeform 16">
                <a:extLst>
                  <a:ext uri="{FF2B5EF4-FFF2-40B4-BE49-F238E27FC236}">
                    <a16:creationId xmlns:a16="http://schemas.microsoft.com/office/drawing/2014/main" id="{A0B77454-A2D8-3A4A-891E-2A7769C1AA35}"/>
                  </a:ext>
                </a:extLst>
              </p:cNvPr>
              <p:cNvSpPr/>
              <p:nvPr/>
            </p:nvSpPr>
            <p:spPr>
              <a:xfrm>
                <a:off x="11299057"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5" y="331170"/>
                      <a:pt x="205259" y="331170"/>
                    </a:cubicBezTo>
                    <a:cubicBezTo>
                      <a:pt x="215256" y="331170"/>
                      <a:pt x="222587" y="329840"/>
                      <a:pt x="229917" y="327180"/>
                    </a:cubicBezTo>
                    <a:lnTo>
                      <a:pt x="229917" y="411635"/>
                    </a:lnTo>
                    <a:cubicBezTo>
                      <a:pt x="203260" y="418285"/>
                      <a:pt x="181935"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8" name="Freeform 17">
                <a:extLst>
                  <a:ext uri="{FF2B5EF4-FFF2-40B4-BE49-F238E27FC236}">
                    <a16:creationId xmlns:a16="http://schemas.microsoft.com/office/drawing/2014/main" id="{7B3B45D9-3B4E-3C4D-9CB4-A6CEA0F61F9C}"/>
                  </a:ext>
                </a:extLst>
              </p:cNvPr>
              <p:cNvSpPr/>
              <p:nvPr/>
            </p:nvSpPr>
            <p:spPr>
              <a:xfrm>
                <a:off x="11770125" y="8338865"/>
                <a:ext cx="355300" cy="443649"/>
              </a:xfrm>
              <a:custGeom>
                <a:avLst/>
                <a:gdLst>
                  <a:gd name="connsiteX0" fmla="*/ 355301 w 355300"/>
                  <a:gd name="connsiteY0" fmla="*/ 117800 h 443649"/>
                  <a:gd name="connsiteX1" fmla="*/ 133285 w 355300"/>
                  <a:gd name="connsiteY1" fmla="*/ 117800 h 443649"/>
                  <a:gd name="connsiteX2" fmla="*/ 133285 w 355300"/>
                  <a:gd name="connsiteY2" fmla="*/ 176320 h 443649"/>
                  <a:gd name="connsiteX3" fmla="*/ 314648 w 355300"/>
                  <a:gd name="connsiteY3" fmla="*/ 176320 h 443649"/>
                  <a:gd name="connsiteX4" fmla="*/ 314648 w 355300"/>
                  <a:gd name="connsiteY4" fmla="*/ 287375 h 443649"/>
                  <a:gd name="connsiteX5" fmla="*/ 133285 w 355300"/>
                  <a:gd name="connsiteY5" fmla="*/ 287375 h 443649"/>
                  <a:gd name="connsiteX6" fmla="*/ 133285 w 355300"/>
                  <a:gd name="connsiteY6" fmla="*/ 443650 h 443649"/>
                  <a:gd name="connsiteX7" fmla="*/ 0 w 355300"/>
                  <a:gd name="connsiteY7" fmla="*/ 443650 h 443649"/>
                  <a:gd name="connsiteX8" fmla="*/ 0 w 355300"/>
                  <a:gd name="connsiteY8" fmla="*/ 0 h 443649"/>
                  <a:gd name="connsiteX9" fmla="*/ 355301 w 355300"/>
                  <a:gd name="connsiteY9"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0" h="443649">
                    <a:moveTo>
                      <a:pt x="355301" y="117800"/>
                    </a:moveTo>
                    <a:lnTo>
                      <a:pt x="133285" y="117800"/>
                    </a:lnTo>
                    <a:lnTo>
                      <a:pt x="133285" y="176320"/>
                    </a:lnTo>
                    <a:lnTo>
                      <a:pt x="314648" y="176320"/>
                    </a:lnTo>
                    <a:lnTo>
                      <a:pt x="314648" y="287375"/>
                    </a:lnTo>
                    <a:lnTo>
                      <a:pt x="133285" y="287375"/>
                    </a:lnTo>
                    <a:lnTo>
                      <a:pt x="133285" y="443650"/>
                    </a:lnTo>
                    <a:lnTo>
                      <a:pt x="0" y="443650"/>
                    </a:lnTo>
                    <a:lnTo>
                      <a:pt x="0" y="0"/>
                    </a:lnTo>
                    <a:lnTo>
                      <a:pt x="355301"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9" name="Freeform 18">
                <a:extLst>
                  <a:ext uri="{FF2B5EF4-FFF2-40B4-BE49-F238E27FC236}">
                    <a16:creationId xmlns:a16="http://schemas.microsoft.com/office/drawing/2014/main" id="{9BA0B61F-FCEE-8D4F-B007-DDA63895EC77}"/>
                  </a:ext>
                </a:extLst>
              </p:cNvPr>
              <p:cNvSpPr/>
              <p:nvPr/>
            </p:nvSpPr>
            <p:spPr>
              <a:xfrm>
                <a:off x="12161413" y="8461225"/>
                <a:ext cx="334545" cy="329935"/>
              </a:xfrm>
              <a:custGeom>
                <a:avLst/>
                <a:gdLst>
                  <a:gd name="connsiteX0" fmla="*/ 334546 w 334545"/>
                  <a:gd name="connsiteY0" fmla="*/ 321290 h 329935"/>
                  <a:gd name="connsiteX1" fmla="*/ 216589 w 334545"/>
                  <a:gd name="connsiteY1" fmla="*/ 321290 h 329935"/>
                  <a:gd name="connsiteX2" fmla="*/ 216589 w 334545"/>
                  <a:gd name="connsiteY2" fmla="*/ 280060 h 329935"/>
                  <a:gd name="connsiteX3" fmla="*/ 117957 w 334545"/>
                  <a:gd name="connsiteY3" fmla="*/ 329935 h 329935"/>
                  <a:gd name="connsiteX4" fmla="*/ 27990 w 334545"/>
                  <a:gd name="connsiteY4" fmla="*/ 288705 h 329935"/>
                  <a:gd name="connsiteX5" fmla="*/ 0 w 334545"/>
                  <a:gd name="connsiteY5" fmla="*/ 188955 h 329935"/>
                  <a:gd name="connsiteX6" fmla="*/ 0 w 334545"/>
                  <a:gd name="connsiteY6" fmla="*/ 0 h 329935"/>
                  <a:gd name="connsiteX7" fmla="*/ 124622 w 334545"/>
                  <a:gd name="connsiteY7" fmla="*/ 0 h 329935"/>
                  <a:gd name="connsiteX8" fmla="*/ 124622 w 334545"/>
                  <a:gd name="connsiteY8" fmla="*/ 168910 h 329935"/>
                  <a:gd name="connsiteX9" fmla="*/ 166607 w 334545"/>
                  <a:gd name="connsiteY9" fmla="*/ 224770 h 329935"/>
                  <a:gd name="connsiteX10" fmla="*/ 209924 w 334545"/>
                  <a:gd name="connsiteY10" fmla="*/ 174895 h 329935"/>
                  <a:gd name="connsiteX11" fmla="*/ 209924 w 334545"/>
                  <a:gd name="connsiteY11" fmla="*/ 0 h 329935"/>
                  <a:gd name="connsiteX12" fmla="*/ 334546 w 334545"/>
                  <a:gd name="connsiteY12" fmla="*/ 0 h 329935"/>
                  <a:gd name="connsiteX13" fmla="*/ 334546 w 334545"/>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5" h="329935">
                    <a:moveTo>
                      <a:pt x="334546" y="321290"/>
                    </a:moveTo>
                    <a:lnTo>
                      <a:pt x="216589" y="321290"/>
                    </a:lnTo>
                    <a:lnTo>
                      <a:pt x="216589" y="280060"/>
                    </a:lnTo>
                    <a:cubicBezTo>
                      <a:pt x="188599" y="315305"/>
                      <a:pt x="159276" y="329935"/>
                      <a:pt x="117957" y="329935"/>
                    </a:cubicBezTo>
                    <a:cubicBezTo>
                      <a:pt x="81304" y="329935"/>
                      <a:pt x="49315"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0" name="Freeform 19">
                <a:extLst>
                  <a:ext uri="{FF2B5EF4-FFF2-40B4-BE49-F238E27FC236}">
                    <a16:creationId xmlns:a16="http://schemas.microsoft.com/office/drawing/2014/main" id="{93002333-44BC-A242-93C1-B5F391BB4D90}"/>
                  </a:ext>
                </a:extLst>
              </p:cNvPr>
              <p:cNvSpPr/>
              <p:nvPr/>
            </p:nvSpPr>
            <p:spPr>
              <a:xfrm>
                <a:off x="12526519"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1" name="Freeform 20">
                <a:extLst>
                  <a:ext uri="{FF2B5EF4-FFF2-40B4-BE49-F238E27FC236}">
                    <a16:creationId xmlns:a16="http://schemas.microsoft.com/office/drawing/2014/main" id="{536903BA-BD4E-C74D-B2D7-CC508E48B31B}"/>
                  </a:ext>
                </a:extLst>
              </p:cNvPr>
              <p:cNvSpPr/>
              <p:nvPr/>
            </p:nvSpPr>
            <p:spPr>
              <a:xfrm>
                <a:off x="12786521"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1 w 334546"/>
                  <a:gd name="connsiteY7" fmla="*/ 0 h 329935"/>
                  <a:gd name="connsiteX8" fmla="*/ 124621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5" y="315305"/>
                      <a:pt x="27990" y="288705"/>
                    </a:cubicBezTo>
                    <a:cubicBezTo>
                      <a:pt x="7997" y="264100"/>
                      <a:pt x="0" y="235505"/>
                      <a:pt x="0" y="188955"/>
                    </a:cubicBezTo>
                    <a:lnTo>
                      <a:pt x="0" y="0"/>
                    </a:lnTo>
                    <a:lnTo>
                      <a:pt x="124621" y="0"/>
                    </a:lnTo>
                    <a:lnTo>
                      <a:pt x="124621" y="168910"/>
                    </a:lnTo>
                    <a:cubicBezTo>
                      <a:pt x="124621"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2" name="Freeform 21">
                <a:extLst>
                  <a:ext uri="{FF2B5EF4-FFF2-40B4-BE49-F238E27FC236}">
                    <a16:creationId xmlns:a16="http://schemas.microsoft.com/office/drawing/2014/main" id="{2656EE04-6EDB-7B42-A794-F482E0EC949C}"/>
                  </a:ext>
                </a:extLst>
              </p:cNvPr>
              <p:cNvSpPr/>
              <p:nvPr/>
            </p:nvSpPr>
            <p:spPr>
              <a:xfrm>
                <a:off x="13174286" y="8452674"/>
                <a:ext cx="251909" cy="329840"/>
              </a:xfrm>
              <a:custGeom>
                <a:avLst/>
                <a:gdLst>
                  <a:gd name="connsiteX0" fmla="*/ 117958 w 251909"/>
                  <a:gd name="connsiteY0" fmla="*/ 8645 h 329840"/>
                  <a:gd name="connsiteX1" fmla="*/ 117958 w 251909"/>
                  <a:gd name="connsiteY1" fmla="*/ 53200 h 329840"/>
                  <a:gd name="connsiteX2" fmla="*/ 213257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6" y="0"/>
                      <a:pt x="213257" y="0"/>
                    </a:cubicBezTo>
                    <a:cubicBezTo>
                      <a:pt x="225918"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3" name="Freeform 22">
                <a:extLst>
                  <a:ext uri="{FF2B5EF4-FFF2-40B4-BE49-F238E27FC236}">
                    <a16:creationId xmlns:a16="http://schemas.microsoft.com/office/drawing/2014/main" id="{BC5074DF-D8BC-B349-A445-5390161C2156}"/>
                  </a:ext>
                </a:extLst>
              </p:cNvPr>
              <p:cNvSpPr/>
              <p:nvPr/>
            </p:nvSpPr>
            <p:spPr>
              <a:xfrm>
                <a:off x="13454185"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1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8 w 359870"/>
                  <a:gd name="connsiteY10" fmla="*/ 132335 h 338485"/>
                  <a:gd name="connsiteX11" fmla="*/ 179268 w 359870"/>
                  <a:gd name="connsiteY11" fmla="*/ 81795 h 338485"/>
                  <a:gd name="connsiteX12" fmla="*/ 123955 w 359870"/>
                  <a:gd name="connsiteY12" fmla="*/ 132335 h 338485"/>
                  <a:gd name="connsiteX13" fmla="*/ 235248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1" y="252035"/>
                      <a:pt x="187932" y="252035"/>
                    </a:cubicBezTo>
                    <a:cubicBezTo>
                      <a:pt x="209258" y="252035"/>
                      <a:pt x="223919" y="245385"/>
                      <a:pt x="233249" y="230755"/>
                    </a:cubicBezTo>
                    <a:lnTo>
                      <a:pt x="354539" y="230755"/>
                    </a:lnTo>
                    <a:cubicBezTo>
                      <a:pt x="339878" y="293265"/>
                      <a:pt x="267903"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4" name="Freeform 23">
                <a:extLst>
                  <a:ext uri="{FF2B5EF4-FFF2-40B4-BE49-F238E27FC236}">
                    <a16:creationId xmlns:a16="http://schemas.microsoft.com/office/drawing/2014/main" id="{0ADA5C9F-8789-6F43-AA36-5CF22A04C9B3}"/>
                  </a:ext>
                </a:extLst>
              </p:cNvPr>
              <p:cNvSpPr/>
              <p:nvPr/>
            </p:nvSpPr>
            <p:spPr>
              <a:xfrm>
                <a:off x="13846043" y="8452674"/>
                <a:ext cx="329214" cy="338485"/>
              </a:xfrm>
              <a:custGeom>
                <a:avLst/>
                <a:gdLst>
                  <a:gd name="connsiteX0" fmla="*/ 201927 w 329214"/>
                  <a:gd name="connsiteY0" fmla="*/ 103075 h 338485"/>
                  <a:gd name="connsiteX1" fmla="*/ 161275 w 329214"/>
                  <a:gd name="connsiteY1" fmla="*/ 73150 h 338485"/>
                  <a:gd name="connsiteX2" fmla="*/ 128620 w 329214"/>
                  <a:gd name="connsiteY2" fmla="*/ 91105 h 338485"/>
                  <a:gd name="connsiteX3" fmla="*/ 159942 w 329214"/>
                  <a:gd name="connsiteY3" fmla="*/ 113050 h 338485"/>
                  <a:gd name="connsiteX4" fmla="*/ 217255 w 329214"/>
                  <a:gd name="connsiteY4" fmla="*/ 124355 h 338485"/>
                  <a:gd name="connsiteX5" fmla="*/ 296560 w 329214"/>
                  <a:gd name="connsiteY5" fmla="*/ 154280 h 338485"/>
                  <a:gd name="connsiteX6" fmla="*/ 329215 w 329214"/>
                  <a:gd name="connsiteY6" fmla="*/ 225435 h 338485"/>
                  <a:gd name="connsiteX7" fmla="*/ 164608 w 329214"/>
                  <a:gd name="connsiteY7" fmla="*/ 338485 h 338485"/>
                  <a:gd name="connsiteX8" fmla="*/ 29989 w 329214"/>
                  <a:gd name="connsiteY8" fmla="*/ 292600 h 338485"/>
                  <a:gd name="connsiteX9" fmla="*/ 0 w 329214"/>
                  <a:gd name="connsiteY9" fmla="*/ 220115 h 338485"/>
                  <a:gd name="connsiteX10" fmla="*/ 119291 w 329214"/>
                  <a:gd name="connsiteY10" fmla="*/ 220115 h 338485"/>
                  <a:gd name="connsiteX11" fmla="*/ 167273 w 329214"/>
                  <a:gd name="connsiteY11" fmla="*/ 258685 h 338485"/>
                  <a:gd name="connsiteX12" fmla="*/ 204593 w 329214"/>
                  <a:gd name="connsiteY12" fmla="*/ 235410 h 338485"/>
                  <a:gd name="connsiteX13" fmla="*/ 175271 w 329214"/>
                  <a:gd name="connsiteY13" fmla="*/ 213465 h 338485"/>
                  <a:gd name="connsiteX14" fmla="*/ 102630 w 329214"/>
                  <a:gd name="connsiteY14" fmla="*/ 196840 h 338485"/>
                  <a:gd name="connsiteX15" fmla="*/ 6664 w 329214"/>
                  <a:gd name="connsiteY15" fmla="*/ 103075 h 338485"/>
                  <a:gd name="connsiteX16" fmla="*/ 165940 w 329214"/>
                  <a:gd name="connsiteY16" fmla="*/ 0 h 338485"/>
                  <a:gd name="connsiteX17" fmla="*/ 317886 w 329214"/>
                  <a:gd name="connsiteY17" fmla="*/ 103075 h 338485"/>
                  <a:gd name="connsiteX18" fmla="*/ 201927 w 329214"/>
                  <a:gd name="connsiteY18" fmla="*/ 10307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5">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5" name="Freeform 24">
                <a:extLst>
                  <a:ext uri="{FF2B5EF4-FFF2-40B4-BE49-F238E27FC236}">
                    <a16:creationId xmlns:a16="http://schemas.microsoft.com/office/drawing/2014/main" id="{2FF2845D-836B-4946-9D22-B46176A98044}"/>
                  </a:ext>
                </a:extLst>
              </p:cNvPr>
              <p:cNvSpPr/>
              <p:nvPr/>
            </p:nvSpPr>
            <p:spPr>
              <a:xfrm>
                <a:off x="14227240" y="8654170"/>
                <a:ext cx="128620" cy="128345"/>
              </a:xfrm>
              <a:custGeom>
                <a:avLst/>
                <a:gdLst>
                  <a:gd name="connsiteX0" fmla="*/ 0 w 128620"/>
                  <a:gd name="connsiteY0" fmla="*/ 0 h 128345"/>
                  <a:gd name="connsiteX1" fmla="*/ 128621 w 128620"/>
                  <a:gd name="connsiteY1" fmla="*/ 0 h 128345"/>
                  <a:gd name="connsiteX2" fmla="*/ 128621 w 128620"/>
                  <a:gd name="connsiteY2" fmla="*/ 128345 h 128345"/>
                  <a:gd name="connsiteX3" fmla="*/ 0 w 128620"/>
                  <a:gd name="connsiteY3" fmla="*/ 128345 h 128345"/>
                </a:gdLst>
                <a:ahLst/>
                <a:cxnLst>
                  <a:cxn ang="0">
                    <a:pos x="connsiteX0" y="connsiteY0"/>
                  </a:cxn>
                  <a:cxn ang="0">
                    <a:pos x="connsiteX1" y="connsiteY1"/>
                  </a:cxn>
                  <a:cxn ang="0">
                    <a:pos x="connsiteX2" y="connsiteY2"/>
                  </a:cxn>
                  <a:cxn ang="0">
                    <a:pos x="connsiteX3" y="connsiteY3"/>
                  </a:cxn>
                </a:cxnLst>
                <a:rect l="l" t="t" r="r" b="b"/>
                <a:pathLst>
                  <a:path w="128620" h="128345">
                    <a:moveTo>
                      <a:pt x="0" y="0"/>
                    </a:moveTo>
                    <a:lnTo>
                      <a:pt x="128621" y="0"/>
                    </a:lnTo>
                    <a:lnTo>
                      <a:pt x="128621" y="128345"/>
                    </a:lnTo>
                    <a:lnTo>
                      <a:pt x="0" y="1283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grpSp>
        <p:nvGrpSpPr>
          <p:cNvPr id="43" name="Group 42">
            <a:extLst>
              <a:ext uri="{FF2B5EF4-FFF2-40B4-BE49-F238E27FC236}">
                <a16:creationId xmlns:a16="http://schemas.microsoft.com/office/drawing/2014/main" id="{E042F0B0-CCE5-264D-A96A-FE3C8121904F}"/>
              </a:ext>
            </a:extLst>
          </p:cNvPr>
          <p:cNvGrpSpPr/>
          <p:nvPr userDrawn="1"/>
        </p:nvGrpSpPr>
        <p:grpSpPr>
          <a:xfrm>
            <a:off x="363881" y="6093628"/>
            <a:ext cx="2219130" cy="482140"/>
            <a:chOff x="363881" y="6093628"/>
            <a:chExt cx="2219130" cy="482140"/>
          </a:xfrm>
        </p:grpSpPr>
        <p:sp>
          <p:nvSpPr>
            <p:cNvPr id="44" name="Freeform 43">
              <a:extLst>
                <a:ext uri="{FF2B5EF4-FFF2-40B4-BE49-F238E27FC236}">
                  <a16:creationId xmlns:a16="http://schemas.microsoft.com/office/drawing/2014/main" id="{09E3022B-1B28-824D-86C5-571CD9E1C787}"/>
                </a:ext>
              </a:extLst>
            </p:cNvPr>
            <p:cNvSpPr/>
            <p:nvPr/>
          </p:nvSpPr>
          <p:spPr>
            <a:xfrm>
              <a:off x="363881" y="6093628"/>
              <a:ext cx="795126" cy="482140"/>
            </a:xfrm>
            <a:custGeom>
              <a:avLst/>
              <a:gdLst>
                <a:gd name="connsiteX0" fmla="*/ 1746694 w 1796129"/>
                <a:gd name="connsiteY0" fmla="*/ 497649 h 1089118"/>
                <a:gd name="connsiteX1" fmla="*/ 1253966 w 1796129"/>
                <a:gd name="connsiteY1" fmla="*/ 998759 h 1089118"/>
                <a:gd name="connsiteX2" fmla="*/ 1254443 w 1796129"/>
                <a:gd name="connsiteY2" fmla="*/ 999235 h 1089118"/>
                <a:gd name="connsiteX3" fmla="*/ 1227392 w 1796129"/>
                <a:gd name="connsiteY3" fmla="*/ 1015809 h 1089118"/>
                <a:gd name="connsiteX4" fmla="*/ 1187482 w 1796129"/>
                <a:gd name="connsiteY4" fmla="*/ 1023047 h 1089118"/>
                <a:gd name="connsiteX5" fmla="*/ 1147477 w 1796129"/>
                <a:gd name="connsiteY5" fmla="*/ 1015809 h 1089118"/>
                <a:gd name="connsiteX6" fmla="*/ 1120426 w 1796129"/>
                <a:gd name="connsiteY6" fmla="*/ 999235 h 1089118"/>
                <a:gd name="connsiteX7" fmla="*/ 1120902 w 1796129"/>
                <a:gd name="connsiteY7" fmla="*/ 998759 h 1089118"/>
                <a:gd name="connsiteX8" fmla="*/ 575120 w 1796129"/>
                <a:gd name="connsiteY8" fmla="*/ 447166 h 1089118"/>
                <a:gd name="connsiteX9" fmla="*/ 597408 w 1796129"/>
                <a:gd name="connsiteY9" fmla="*/ 424687 h 1089118"/>
                <a:gd name="connsiteX10" fmla="*/ 596932 w 1796129"/>
                <a:gd name="connsiteY10" fmla="*/ 424211 h 1089118"/>
                <a:gd name="connsiteX11" fmla="*/ 663607 w 1796129"/>
                <a:gd name="connsiteY11" fmla="*/ 389921 h 1089118"/>
                <a:gd name="connsiteX12" fmla="*/ 701897 w 1796129"/>
                <a:gd name="connsiteY12" fmla="*/ 400017 h 1089118"/>
                <a:gd name="connsiteX13" fmla="*/ 701612 w 1796129"/>
                <a:gd name="connsiteY13" fmla="*/ 400303 h 1089118"/>
                <a:gd name="connsiteX14" fmla="*/ 1027462 w 1796129"/>
                <a:gd name="connsiteY14" fmla="*/ 729963 h 1089118"/>
                <a:gd name="connsiteX15" fmla="*/ 1029081 w 1796129"/>
                <a:gd name="connsiteY15" fmla="*/ 728344 h 1089118"/>
                <a:gd name="connsiteX16" fmla="*/ 1130237 w 1796129"/>
                <a:gd name="connsiteY16" fmla="*/ 771778 h 1089118"/>
                <a:gd name="connsiteX17" fmla="*/ 1248632 w 1796129"/>
                <a:gd name="connsiteY17" fmla="*/ 713866 h 1089118"/>
                <a:gd name="connsiteX18" fmla="*/ 1608296 w 1796129"/>
                <a:gd name="connsiteY18" fmla="*/ 354012 h 1089118"/>
                <a:gd name="connsiteX19" fmla="*/ 1310735 w 1796129"/>
                <a:gd name="connsiteY19" fmla="*/ 40925 h 1089118"/>
                <a:gd name="connsiteX20" fmla="*/ 1207675 w 1796129"/>
                <a:gd name="connsiteY20" fmla="*/ 158 h 1089118"/>
                <a:gd name="connsiteX21" fmla="*/ 1098899 w 1796129"/>
                <a:gd name="connsiteY21" fmla="*/ 23589 h 1089118"/>
                <a:gd name="connsiteX22" fmla="*/ 1015270 w 1796129"/>
                <a:gd name="connsiteY22" fmla="*/ 158 h 1089118"/>
                <a:gd name="connsiteX23" fmla="*/ 906399 w 1796129"/>
                <a:gd name="connsiteY23" fmla="*/ 23589 h 1089118"/>
                <a:gd name="connsiteX24" fmla="*/ 822770 w 1796129"/>
                <a:gd name="connsiteY24" fmla="*/ 158 h 1089118"/>
                <a:gd name="connsiteX25" fmla="*/ 709613 w 1796129"/>
                <a:gd name="connsiteY25" fmla="*/ 26352 h 1089118"/>
                <a:gd name="connsiteX26" fmla="*/ 622078 w 1796129"/>
                <a:gd name="connsiteY26" fmla="*/ 158 h 1089118"/>
                <a:gd name="connsiteX27" fmla="*/ 608743 w 1796129"/>
                <a:gd name="connsiteY27" fmla="*/ 63 h 1089118"/>
                <a:gd name="connsiteX28" fmla="*/ 595408 w 1796129"/>
                <a:gd name="connsiteY28" fmla="*/ 158 h 1089118"/>
                <a:gd name="connsiteX29" fmla="*/ 492347 w 1796129"/>
                <a:gd name="connsiteY29" fmla="*/ 40925 h 1089118"/>
                <a:gd name="connsiteX30" fmla="*/ 0 w 1796129"/>
                <a:gd name="connsiteY30" fmla="*/ 541654 h 1089118"/>
                <a:gd name="connsiteX31" fmla="*/ 49530 w 1796129"/>
                <a:gd name="connsiteY31" fmla="*/ 591470 h 1089118"/>
                <a:gd name="connsiteX32" fmla="*/ 542258 w 1796129"/>
                <a:gd name="connsiteY32" fmla="*/ 90360 h 1089118"/>
                <a:gd name="connsiteX33" fmla="*/ 541782 w 1796129"/>
                <a:gd name="connsiteY33" fmla="*/ 89883 h 1089118"/>
                <a:gd name="connsiteX34" fmla="*/ 568833 w 1796129"/>
                <a:gd name="connsiteY34" fmla="*/ 73310 h 1089118"/>
                <a:gd name="connsiteX35" fmla="*/ 608838 w 1796129"/>
                <a:gd name="connsiteY35" fmla="*/ 66071 h 1089118"/>
                <a:gd name="connsiteX36" fmla="*/ 648748 w 1796129"/>
                <a:gd name="connsiteY36" fmla="*/ 73310 h 1089118"/>
                <a:gd name="connsiteX37" fmla="*/ 675799 w 1796129"/>
                <a:gd name="connsiteY37" fmla="*/ 89883 h 1089118"/>
                <a:gd name="connsiteX38" fmla="*/ 675323 w 1796129"/>
                <a:gd name="connsiteY38" fmla="*/ 90360 h 1089118"/>
                <a:gd name="connsiteX39" fmla="*/ 1221105 w 1796129"/>
                <a:gd name="connsiteY39" fmla="*/ 641952 h 1089118"/>
                <a:gd name="connsiteX40" fmla="*/ 1198817 w 1796129"/>
                <a:gd name="connsiteY40" fmla="*/ 664431 h 1089118"/>
                <a:gd name="connsiteX41" fmla="*/ 1199293 w 1796129"/>
                <a:gd name="connsiteY41" fmla="*/ 664908 h 1089118"/>
                <a:gd name="connsiteX42" fmla="*/ 1132618 w 1796129"/>
                <a:gd name="connsiteY42" fmla="*/ 699198 h 1089118"/>
                <a:gd name="connsiteX43" fmla="*/ 1065371 w 1796129"/>
                <a:gd name="connsiteY43" fmla="*/ 664908 h 1089118"/>
                <a:gd name="connsiteX44" fmla="*/ 1065848 w 1796129"/>
                <a:gd name="connsiteY44" fmla="*/ 664431 h 1089118"/>
                <a:gd name="connsiteX45" fmla="*/ 780479 w 1796129"/>
                <a:gd name="connsiteY45" fmla="*/ 375252 h 1089118"/>
                <a:gd name="connsiteX46" fmla="*/ 666083 w 1796129"/>
                <a:gd name="connsiteY46" fmla="*/ 317340 h 1089118"/>
                <a:gd name="connsiteX47" fmla="*/ 547688 w 1796129"/>
                <a:gd name="connsiteY47" fmla="*/ 375252 h 1089118"/>
                <a:gd name="connsiteX48" fmla="*/ 188024 w 1796129"/>
                <a:gd name="connsiteY48" fmla="*/ 735107 h 1089118"/>
                <a:gd name="connsiteX49" fmla="*/ 485489 w 1796129"/>
                <a:gd name="connsiteY49" fmla="*/ 1048194 h 1089118"/>
                <a:gd name="connsiteX50" fmla="*/ 588550 w 1796129"/>
                <a:gd name="connsiteY50" fmla="*/ 1088961 h 1089118"/>
                <a:gd name="connsiteX51" fmla="*/ 697325 w 1796129"/>
                <a:gd name="connsiteY51" fmla="*/ 1065529 h 1089118"/>
                <a:gd name="connsiteX52" fmla="*/ 780955 w 1796129"/>
                <a:gd name="connsiteY52" fmla="*/ 1088961 h 1089118"/>
                <a:gd name="connsiteX53" fmla="*/ 889730 w 1796129"/>
                <a:gd name="connsiteY53" fmla="*/ 1065529 h 1089118"/>
                <a:gd name="connsiteX54" fmla="*/ 973360 w 1796129"/>
                <a:gd name="connsiteY54" fmla="*/ 1088961 h 1089118"/>
                <a:gd name="connsiteX55" fmla="*/ 1086517 w 1796129"/>
                <a:gd name="connsiteY55" fmla="*/ 1062767 h 1089118"/>
                <a:gd name="connsiteX56" fmla="*/ 1174052 w 1796129"/>
                <a:gd name="connsiteY56" fmla="*/ 1088961 h 1089118"/>
                <a:gd name="connsiteX57" fmla="*/ 1187387 w 1796129"/>
                <a:gd name="connsiteY57" fmla="*/ 1089056 h 1089118"/>
                <a:gd name="connsiteX58" fmla="*/ 1200722 w 1796129"/>
                <a:gd name="connsiteY58" fmla="*/ 1088961 h 1089118"/>
                <a:gd name="connsiteX59" fmla="*/ 1303782 w 1796129"/>
                <a:gd name="connsiteY59" fmla="*/ 1048194 h 1089118"/>
                <a:gd name="connsiteX60" fmla="*/ 1796129 w 1796129"/>
                <a:gd name="connsiteY60" fmla="*/ 547464 h 1089118"/>
                <a:gd name="connsiteX61" fmla="*/ 1746694 w 1796129"/>
                <a:gd name="connsiteY61" fmla="*/ 497649 h 1089118"/>
                <a:gd name="connsiteX62" fmla="*/ 1204627 w 1796129"/>
                <a:gd name="connsiteY62" fmla="*/ 66357 h 1089118"/>
                <a:gd name="connsiteX63" fmla="*/ 1261301 w 1796129"/>
                <a:gd name="connsiteY63" fmla="*/ 89883 h 1089118"/>
                <a:gd name="connsiteX64" fmla="*/ 1260824 w 1796129"/>
                <a:gd name="connsiteY64" fmla="*/ 90360 h 1089118"/>
                <a:gd name="connsiteX65" fmla="*/ 1317879 w 1796129"/>
                <a:gd name="connsiteY65" fmla="*/ 147795 h 1089118"/>
                <a:gd name="connsiteX66" fmla="*/ 1325975 w 1796129"/>
                <a:gd name="connsiteY66" fmla="*/ 155987 h 1089118"/>
                <a:gd name="connsiteX67" fmla="*/ 1514189 w 1796129"/>
                <a:gd name="connsiteY67" fmla="*/ 345725 h 1089118"/>
                <a:gd name="connsiteX68" fmla="*/ 1467517 w 1796129"/>
                <a:gd name="connsiteY68" fmla="*/ 392874 h 1089118"/>
                <a:gd name="connsiteX69" fmla="*/ 1151477 w 1796129"/>
                <a:gd name="connsiteY69" fmla="*/ 74358 h 1089118"/>
                <a:gd name="connsiteX70" fmla="*/ 1204627 w 1796129"/>
                <a:gd name="connsiteY70" fmla="*/ 66357 h 1089118"/>
                <a:gd name="connsiteX71" fmla="*/ 1012127 w 1796129"/>
                <a:gd name="connsiteY71" fmla="*/ 66357 h 1089118"/>
                <a:gd name="connsiteX72" fmla="*/ 1068800 w 1796129"/>
                <a:gd name="connsiteY72" fmla="*/ 89883 h 1089118"/>
                <a:gd name="connsiteX73" fmla="*/ 1068324 w 1796129"/>
                <a:gd name="connsiteY73" fmla="*/ 90360 h 1089118"/>
                <a:gd name="connsiteX74" fmla="*/ 1125379 w 1796129"/>
                <a:gd name="connsiteY74" fmla="*/ 147795 h 1089118"/>
                <a:gd name="connsiteX75" fmla="*/ 1133475 w 1796129"/>
                <a:gd name="connsiteY75" fmla="*/ 155987 h 1089118"/>
                <a:gd name="connsiteX76" fmla="*/ 1418082 w 1796129"/>
                <a:gd name="connsiteY76" fmla="*/ 442880 h 1089118"/>
                <a:gd name="connsiteX77" fmla="*/ 1371410 w 1796129"/>
                <a:gd name="connsiteY77" fmla="*/ 490029 h 1089118"/>
                <a:gd name="connsiteX78" fmla="*/ 958977 w 1796129"/>
                <a:gd name="connsiteY78" fmla="*/ 74358 h 1089118"/>
                <a:gd name="connsiteX79" fmla="*/ 1012127 w 1796129"/>
                <a:gd name="connsiteY79" fmla="*/ 66357 h 1089118"/>
                <a:gd name="connsiteX80" fmla="*/ 760667 w 1796129"/>
                <a:gd name="connsiteY80" fmla="*/ 76834 h 1089118"/>
                <a:gd name="connsiteX81" fmla="*/ 819722 w 1796129"/>
                <a:gd name="connsiteY81" fmla="*/ 66357 h 1089118"/>
                <a:gd name="connsiteX82" fmla="*/ 876395 w 1796129"/>
                <a:gd name="connsiteY82" fmla="*/ 89883 h 1089118"/>
                <a:gd name="connsiteX83" fmla="*/ 875919 w 1796129"/>
                <a:gd name="connsiteY83" fmla="*/ 90360 h 1089118"/>
                <a:gd name="connsiteX84" fmla="*/ 932974 w 1796129"/>
                <a:gd name="connsiteY84" fmla="*/ 147795 h 1089118"/>
                <a:gd name="connsiteX85" fmla="*/ 941070 w 1796129"/>
                <a:gd name="connsiteY85" fmla="*/ 155987 h 1089118"/>
                <a:gd name="connsiteX86" fmla="*/ 1322070 w 1796129"/>
                <a:gd name="connsiteY86" fmla="*/ 539940 h 1089118"/>
                <a:gd name="connsiteX87" fmla="*/ 1270540 w 1796129"/>
                <a:gd name="connsiteY87" fmla="*/ 591946 h 1089118"/>
                <a:gd name="connsiteX88" fmla="*/ 760667 w 1796129"/>
                <a:gd name="connsiteY88" fmla="*/ 76834 h 1089118"/>
                <a:gd name="connsiteX89" fmla="*/ 591598 w 1796129"/>
                <a:gd name="connsiteY89" fmla="*/ 1022762 h 1089118"/>
                <a:gd name="connsiteX90" fmla="*/ 534924 w 1796129"/>
                <a:gd name="connsiteY90" fmla="*/ 999235 h 1089118"/>
                <a:gd name="connsiteX91" fmla="*/ 535400 w 1796129"/>
                <a:gd name="connsiteY91" fmla="*/ 998759 h 1089118"/>
                <a:gd name="connsiteX92" fmla="*/ 478346 w 1796129"/>
                <a:gd name="connsiteY92" fmla="*/ 941323 h 1089118"/>
                <a:gd name="connsiteX93" fmla="*/ 470249 w 1796129"/>
                <a:gd name="connsiteY93" fmla="*/ 933132 h 1089118"/>
                <a:gd name="connsiteX94" fmla="*/ 282035 w 1796129"/>
                <a:gd name="connsiteY94" fmla="*/ 743394 h 1089118"/>
                <a:gd name="connsiteX95" fmla="*/ 328708 w 1796129"/>
                <a:gd name="connsiteY95" fmla="*/ 696245 h 1089118"/>
                <a:gd name="connsiteX96" fmla="*/ 644747 w 1796129"/>
                <a:gd name="connsiteY96" fmla="*/ 1014761 h 1089118"/>
                <a:gd name="connsiteX97" fmla="*/ 591598 w 1796129"/>
                <a:gd name="connsiteY97" fmla="*/ 1022762 h 1089118"/>
                <a:gd name="connsiteX98" fmla="*/ 784098 w 1796129"/>
                <a:gd name="connsiteY98" fmla="*/ 1022762 h 1089118"/>
                <a:gd name="connsiteX99" fmla="*/ 727424 w 1796129"/>
                <a:gd name="connsiteY99" fmla="*/ 999235 h 1089118"/>
                <a:gd name="connsiteX100" fmla="*/ 727901 w 1796129"/>
                <a:gd name="connsiteY100" fmla="*/ 998759 h 1089118"/>
                <a:gd name="connsiteX101" fmla="*/ 670846 w 1796129"/>
                <a:gd name="connsiteY101" fmla="*/ 941323 h 1089118"/>
                <a:gd name="connsiteX102" fmla="*/ 662750 w 1796129"/>
                <a:gd name="connsiteY102" fmla="*/ 933132 h 1089118"/>
                <a:gd name="connsiteX103" fmla="*/ 378143 w 1796129"/>
                <a:gd name="connsiteY103" fmla="*/ 646239 h 1089118"/>
                <a:gd name="connsiteX104" fmla="*/ 424815 w 1796129"/>
                <a:gd name="connsiteY104" fmla="*/ 599090 h 1089118"/>
                <a:gd name="connsiteX105" fmla="*/ 837248 w 1796129"/>
                <a:gd name="connsiteY105" fmla="*/ 1014761 h 1089118"/>
                <a:gd name="connsiteX106" fmla="*/ 784098 w 1796129"/>
                <a:gd name="connsiteY106" fmla="*/ 1022762 h 1089118"/>
                <a:gd name="connsiteX107" fmla="*/ 976503 w 1796129"/>
                <a:gd name="connsiteY107" fmla="*/ 1022762 h 1089118"/>
                <a:gd name="connsiteX108" fmla="*/ 919829 w 1796129"/>
                <a:gd name="connsiteY108" fmla="*/ 999235 h 1089118"/>
                <a:gd name="connsiteX109" fmla="*/ 920306 w 1796129"/>
                <a:gd name="connsiteY109" fmla="*/ 998759 h 1089118"/>
                <a:gd name="connsiteX110" fmla="*/ 863251 w 1796129"/>
                <a:gd name="connsiteY110" fmla="*/ 941323 h 1089118"/>
                <a:gd name="connsiteX111" fmla="*/ 855155 w 1796129"/>
                <a:gd name="connsiteY111" fmla="*/ 933132 h 1089118"/>
                <a:gd name="connsiteX112" fmla="*/ 474155 w 1796129"/>
                <a:gd name="connsiteY112" fmla="*/ 549179 h 1089118"/>
                <a:gd name="connsiteX113" fmla="*/ 525685 w 1796129"/>
                <a:gd name="connsiteY113" fmla="*/ 497077 h 1089118"/>
                <a:gd name="connsiteX114" fmla="*/ 1035558 w 1796129"/>
                <a:gd name="connsiteY114" fmla="*/ 1012380 h 1089118"/>
                <a:gd name="connsiteX115" fmla="*/ 976503 w 1796129"/>
                <a:gd name="connsiteY115" fmla="*/ 1022762 h 10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796129" h="1089118">
                  <a:moveTo>
                    <a:pt x="1746694" y="497649"/>
                  </a:moveTo>
                  <a:lnTo>
                    <a:pt x="1253966" y="998759"/>
                  </a:lnTo>
                  <a:lnTo>
                    <a:pt x="1254443" y="999235"/>
                  </a:lnTo>
                  <a:cubicBezTo>
                    <a:pt x="1246251" y="1006188"/>
                    <a:pt x="1237202" y="1011808"/>
                    <a:pt x="1227392" y="1015809"/>
                  </a:cubicBezTo>
                  <a:cubicBezTo>
                    <a:pt x="1214438" y="1020380"/>
                    <a:pt x="1200817" y="1022857"/>
                    <a:pt x="1187482" y="1023047"/>
                  </a:cubicBezTo>
                  <a:cubicBezTo>
                    <a:pt x="1174052" y="1022857"/>
                    <a:pt x="1160431" y="1020380"/>
                    <a:pt x="1147477" y="1015809"/>
                  </a:cubicBezTo>
                  <a:cubicBezTo>
                    <a:pt x="1137666" y="1011808"/>
                    <a:pt x="1128617" y="1006188"/>
                    <a:pt x="1120426" y="999235"/>
                  </a:cubicBezTo>
                  <a:lnTo>
                    <a:pt x="1120902" y="998759"/>
                  </a:lnTo>
                  <a:lnTo>
                    <a:pt x="575120" y="447166"/>
                  </a:lnTo>
                  <a:lnTo>
                    <a:pt x="597408" y="424687"/>
                  </a:lnTo>
                  <a:lnTo>
                    <a:pt x="596932" y="424211"/>
                  </a:lnTo>
                  <a:cubicBezTo>
                    <a:pt x="605123" y="417258"/>
                    <a:pt x="632365" y="389159"/>
                    <a:pt x="663607" y="389921"/>
                  </a:cubicBezTo>
                  <a:cubicBezTo>
                    <a:pt x="678847" y="389254"/>
                    <a:pt x="691610" y="393921"/>
                    <a:pt x="701897" y="400017"/>
                  </a:cubicBezTo>
                  <a:lnTo>
                    <a:pt x="701612" y="400303"/>
                  </a:lnTo>
                  <a:lnTo>
                    <a:pt x="1027462" y="729963"/>
                  </a:lnTo>
                  <a:lnTo>
                    <a:pt x="1029081" y="728344"/>
                  </a:lnTo>
                  <a:cubicBezTo>
                    <a:pt x="1050417" y="749775"/>
                    <a:pt x="1081850" y="771778"/>
                    <a:pt x="1130237" y="771778"/>
                  </a:cubicBezTo>
                  <a:cubicBezTo>
                    <a:pt x="1176052" y="771778"/>
                    <a:pt x="1227773" y="738441"/>
                    <a:pt x="1248632" y="713866"/>
                  </a:cubicBezTo>
                  <a:lnTo>
                    <a:pt x="1608296" y="354012"/>
                  </a:lnTo>
                  <a:lnTo>
                    <a:pt x="1310735" y="40925"/>
                  </a:lnTo>
                  <a:cubicBezTo>
                    <a:pt x="1289780" y="16350"/>
                    <a:pt x="1255395" y="1872"/>
                    <a:pt x="1207675" y="158"/>
                  </a:cubicBezTo>
                  <a:cubicBezTo>
                    <a:pt x="1173671" y="-1080"/>
                    <a:pt x="1129570" y="4825"/>
                    <a:pt x="1098899" y="23589"/>
                  </a:cubicBezTo>
                  <a:cubicBezTo>
                    <a:pt x="1078230" y="9588"/>
                    <a:pt x="1050417" y="1396"/>
                    <a:pt x="1015270" y="158"/>
                  </a:cubicBezTo>
                  <a:cubicBezTo>
                    <a:pt x="981266" y="-1080"/>
                    <a:pt x="937165" y="4825"/>
                    <a:pt x="906399" y="23589"/>
                  </a:cubicBezTo>
                  <a:cubicBezTo>
                    <a:pt x="885730" y="9588"/>
                    <a:pt x="857917" y="1396"/>
                    <a:pt x="822770" y="158"/>
                  </a:cubicBezTo>
                  <a:cubicBezTo>
                    <a:pt x="787146" y="-1080"/>
                    <a:pt x="740378" y="5397"/>
                    <a:pt x="709613" y="26352"/>
                  </a:cubicBezTo>
                  <a:cubicBezTo>
                    <a:pt x="688658" y="10635"/>
                    <a:pt x="659511" y="1491"/>
                    <a:pt x="622078" y="158"/>
                  </a:cubicBezTo>
                  <a:cubicBezTo>
                    <a:pt x="617792" y="-33"/>
                    <a:pt x="613315" y="-33"/>
                    <a:pt x="608743" y="63"/>
                  </a:cubicBezTo>
                  <a:cubicBezTo>
                    <a:pt x="604171" y="-33"/>
                    <a:pt x="599694" y="63"/>
                    <a:pt x="595408" y="158"/>
                  </a:cubicBezTo>
                  <a:cubicBezTo>
                    <a:pt x="547688" y="1872"/>
                    <a:pt x="513207" y="16350"/>
                    <a:pt x="492347" y="40925"/>
                  </a:cubicBezTo>
                  <a:lnTo>
                    <a:pt x="0" y="541654"/>
                  </a:lnTo>
                  <a:lnTo>
                    <a:pt x="49530" y="591470"/>
                  </a:lnTo>
                  <a:lnTo>
                    <a:pt x="542258" y="90360"/>
                  </a:lnTo>
                  <a:lnTo>
                    <a:pt x="541782" y="89883"/>
                  </a:lnTo>
                  <a:cubicBezTo>
                    <a:pt x="549878" y="82930"/>
                    <a:pt x="559022" y="77310"/>
                    <a:pt x="568833" y="73310"/>
                  </a:cubicBezTo>
                  <a:cubicBezTo>
                    <a:pt x="581787" y="68738"/>
                    <a:pt x="595408" y="66261"/>
                    <a:pt x="608838" y="66071"/>
                  </a:cubicBezTo>
                  <a:cubicBezTo>
                    <a:pt x="622268" y="66261"/>
                    <a:pt x="635889" y="68738"/>
                    <a:pt x="648748" y="73310"/>
                  </a:cubicBezTo>
                  <a:cubicBezTo>
                    <a:pt x="658559" y="77310"/>
                    <a:pt x="667607" y="82930"/>
                    <a:pt x="675799" y="89883"/>
                  </a:cubicBezTo>
                  <a:lnTo>
                    <a:pt x="675323" y="90360"/>
                  </a:lnTo>
                  <a:lnTo>
                    <a:pt x="1221105" y="641952"/>
                  </a:lnTo>
                  <a:lnTo>
                    <a:pt x="1198817" y="664431"/>
                  </a:lnTo>
                  <a:lnTo>
                    <a:pt x="1199293" y="664908"/>
                  </a:lnTo>
                  <a:cubicBezTo>
                    <a:pt x="1191197" y="671861"/>
                    <a:pt x="1163955" y="699960"/>
                    <a:pt x="1132618" y="699198"/>
                  </a:cubicBezTo>
                  <a:cubicBezTo>
                    <a:pt x="1095947" y="700722"/>
                    <a:pt x="1073468" y="671861"/>
                    <a:pt x="1065371" y="664908"/>
                  </a:cubicBezTo>
                  <a:lnTo>
                    <a:pt x="1065848" y="664431"/>
                  </a:lnTo>
                  <a:lnTo>
                    <a:pt x="780479" y="375252"/>
                  </a:lnTo>
                  <a:cubicBezTo>
                    <a:pt x="759619" y="350678"/>
                    <a:pt x="725615" y="317340"/>
                    <a:pt x="666083" y="317340"/>
                  </a:cubicBezTo>
                  <a:cubicBezTo>
                    <a:pt x="620268" y="317340"/>
                    <a:pt x="568547" y="350678"/>
                    <a:pt x="547688" y="375252"/>
                  </a:cubicBezTo>
                  <a:lnTo>
                    <a:pt x="188024" y="735107"/>
                  </a:lnTo>
                  <a:lnTo>
                    <a:pt x="485489" y="1048194"/>
                  </a:lnTo>
                  <a:cubicBezTo>
                    <a:pt x="506444" y="1072768"/>
                    <a:pt x="540830" y="1087246"/>
                    <a:pt x="588550" y="1088961"/>
                  </a:cubicBezTo>
                  <a:cubicBezTo>
                    <a:pt x="622554" y="1090199"/>
                    <a:pt x="666655" y="1084293"/>
                    <a:pt x="697325" y="1065529"/>
                  </a:cubicBezTo>
                  <a:cubicBezTo>
                    <a:pt x="717995" y="1079531"/>
                    <a:pt x="745808" y="1087722"/>
                    <a:pt x="780955" y="1088961"/>
                  </a:cubicBezTo>
                  <a:cubicBezTo>
                    <a:pt x="814959" y="1090199"/>
                    <a:pt x="859060" y="1084293"/>
                    <a:pt x="889730" y="1065529"/>
                  </a:cubicBezTo>
                  <a:cubicBezTo>
                    <a:pt x="910400" y="1079531"/>
                    <a:pt x="938213" y="1087722"/>
                    <a:pt x="973360" y="1088961"/>
                  </a:cubicBezTo>
                  <a:cubicBezTo>
                    <a:pt x="1008983" y="1090199"/>
                    <a:pt x="1055751" y="1083722"/>
                    <a:pt x="1086517" y="1062767"/>
                  </a:cubicBezTo>
                  <a:cubicBezTo>
                    <a:pt x="1107472" y="1078483"/>
                    <a:pt x="1136618" y="1087627"/>
                    <a:pt x="1174052" y="1088961"/>
                  </a:cubicBezTo>
                  <a:cubicBezTo>
                    <a:pt x="1178338" y="1089151"/>
                    <a:pt x="1182815" y="1089151"/>
                    <a:pt x="1187387" y="1089056"/>
                  </a:cubicBezTo>
                  <a:cubicBezTo>
                    <a:pt x="1191959" y="1089151"/>
                    <a:pt x="1196435" y="1089056"/>
                    <a:pt x="1200722" y="1088961"/>
                  </a:cubicBezTo>
                  <a:cubicBezTo>
                    <a:pt x="1248442" y="1087246"/>
                    <a:pt x="1282922" y="1072768"/>
                    <a:pt x="1303782" y="1048194"/>
                  </a:cubicBezTo>
                  <a:lnTo>
                    <a:pt x="1796129" y="547464"/>
                  </a:lnTo>
                  <a:lnTo>
                    <a:pt x="1746694" y="497649"/>
                  </a:lnTo>
                  <a:close/>
                  <a:moveTo>
                    <a:pt x="1204627" y="66357"/>
                  </a:moveTo>
                  <a:cubicBezTo>
                    <a:pt x="1225963" y="67881"/>
                    <a:pt x="1245394" y="76358"/>
                    <a:pt x="1261301" y="89883"/>
                  </a:cubicBezTo>
                  <a:lnTo>
                    <a:pt x="1260824" y="90360"/>
                  </a:lnTo>
                  <a:lnTo>
                    <a:pt x="1317879" y="147795"/>
                  </a:lnTo>
                  <a:lnTo>
                    <a:pt x="1325975" y="155987"/>
                  </a:lnTo>
                  <a:lnTo>
                    <a:pt x="1514189" y="345725"/>
                  </a:lnTo>
                  <a:lnTo>
                    <a:pt x="1467517" y="392874"/>
                  </a:lnTo>
                  <a:lnTo>
                    <a:pt x="1151477" y="74358"/>
                  </a:lnTo>
                  <a:cubicBezTo>
                    <a:pt x="1168527" y="67976"/>
                    <a:pt x="1187006" y="65118"/>
                    <a:pt x="1204627" y="66357"/>
                  </a:cubicBezTo>
                  <a:close/>
                  <a:moveTo>
                    <a:pt x="1012127" y="66357"/>
                  </a:moveTo>
                  <a:cubicBezTo>
                    <a:pt x="1033463" y="67881"/>
                    <a:pt x="1052894" y="76358"/>
                    <a:pt x="1068800" y="89883"/>
                  </a:cubicBezTo>
                  <a:lnTo>
                    <a:pt x="1068324" y="90360"/>
                  </a:lnTo>
                  <a:lnTo>
                    <a:pt x="1125379" y="147795"/>
                  </a:lnTo>
                  <a:lnTo>
                    <a:pt x="1133475" y="155987"/>
                  </a:lnTo>
                  <a:lnTo>
                    <a:pt x="1418082" y="442880"/>
                  </a:lnTo>
                  <a:lnTo>
                    <a:pt x="1371410" y="490029"/>
                  </a:lnTo>
                  <a:lnTo>
                    <a:pt x="958977" y="74358"/>
                  </a:lnTo>
                  <a:cubicBezTo>
                    <a:pt x="976122" y="67976"/>
                    <a:pt x="994505" y="65118"/>
                    <a:pt x="1012127" y="66357"/>
                  </a:cubicBezTo>
                  <a:close/>
                  <a:moveTo>
                    <a:pt x="760667" y="76834"/>
                  </a:moveTo>
                  <a:cubicBezTo>
                    <a:pt x="779336" y="68643"/>
                    <a:pt x="800005" y="65023"/>
                    <a:pt x="819722" y="66357"/>
                  </a:cubicBezTo>
                  <a:cubicBezTo>
                    <a:pt x="841058" y="67881"/>
                    <a:pt x="860488" y="76358"/>
                    <a:pt x="876395" y="89883"/>
                  </a:cubicBezTo>
                  <a:lnTo>
                    <a:pt x="875919" y="90360"/>
                  </a:lnTo>
                  <a:lnTo>
                    <a:pt x="932974" y="147795"/>
                  </a:lnTo>
                  <a:lnTo>
                    <a:pt x="941070" y="155987"/>
                  </a:lnTo>
                  <a:lnTo>
                    <a:pt x="1322070" y="539940"/>
                  </a:lnTo>
                  <a:lnTo>
                    <a:pt x="1270540" y="591946"/>
                  </a:lnTo>
                  <a:lnTo>
                    <a:pt x="760667" y="76834"/>
                  </a:lnTo>
                  <a:close/>
                  <a:moveTo>
                    <a:pt x="591598" y="1022762"/>
                  </a:moveTo>
                  <a:cubicBezTo>
                    <a:pt x="570262" y="1021238"/>
                    <a:pt x="550831" y="1012761"/>
                    <a:pt x="534924" y="999235"/>
                  </a:cubicBezTo>
                  <a:lnTo>
                    <a:pt x="535400" y="998759"/>
                  </a:lnTo>
                  <a:lnTo>
                    <a:pt x="478346" y="941323"/>
                  </a:lnTo>
                  <a:lnTo>
                    <a:pt x="470249" y="933132"/>
                  </a:lnTo>
                  <a:lnTo>
                    <a:pt x="282035" y="743394"/>
                  </a:lnTo>
                  <a:lnTo>
                    <a:pt x="328708" y="696245"/>
                  </a:lnTo>
                  <a:lnTo>
                    <a:pt x="644747" y="1014761"/>
                  </a:lnTo>
                  <a:cubicBezTo>
                    <a:pt x="627698" y="1021238"/>
                    <a:pt x="609314" y="1024000"/>
                    <a:pt x="591598" y="1022762"/>
                  </a:cubicBezTo>
                  <a:close/>
                  <a:moveTo>
                    <a:pt x="784098" y="1022762"/>
                  </a:moveTo>
                  <a:cubicBezTo>
                    <a:pt x="762762" y="1021238"/>
                    <a:pt x="743331" y="1012761"/>
                    <a:pt x="727424" y="999235"/>
                  </a:cubicBezTo>
                  <a:lnTo>
                    <a:pt x="727901" y="998759"/>
                  </a:lnTo>
                  <a:lnTo>
                    <a:pt x="670846" y="941323"/>
                  </a:lnTo>
                  <a:lnTo>
                    <a:pt x="662750" y="933132"/>
                  </a:lnTo>
                  <a:lnTo>
                    <a:pt x="378143" y="646239"/>
                  </a:lnTo>
                  <a:lnTo>
                    <a:pt x="424815" y="599090"/>
                  </a:lnTo>
                  <a:lnTo>
                    <a:pt x="837248" y="1014761"/>
                  </a:lnTo>
                  <a:cubicBezTo>
                    <a:pt x="820103" y="1021238"/>
                    <a:pt x="801719" y="1024000"/>
                    <a:pt x="784098" y="1022762"/>
                  </a:cubicBezTo>
                  <a:close/>
                  <a:moveTo>
                    <a:pt x="976503" y="1022762"/>
                  </a:moveTo>
                  <a:cubicBezTo>
                    <a:pt x="955167" y="1021238"/>
                    <a:pt x="935736" y="1012761"/>
                    <a:pt x="919829" y="999235"/>
                  </a:cubicBezTo>
                  <a:lnTo>
                    <a:pt x="920306" y="998759"/>
                  </a:lnTo>
                  <a:lnTo>
                    <a:pt x="863251" y="941323"/>
                  </a:lnTo>
                  <a:lnTo>
                    <a:pt x="855155" y="933132"/>
                  </a:lnTo>
                  <a:lnTo>
                    <a:pt x="474155" y="549179"/>
                  </a:lnTo>
                  <a:lnTo>
                    <a:pt x="525685" y="497077"/>
                  </a:lnTo>
                  <a:lnTo>
                    <a:pt x="1035558" y="1012380"/>
                  </a:lnTo>
                  <a:cubicBezTo>
                    <a:pt x="1016889" y="1020476"/>
                    <a:pt x="996220" y="1024191"/>
                    <a:pt x="976503" y="1022762"/>
                  </a:cubicBezTo>
                  <a:close/>
                </a:path>
              </a:pathLst>
            </a:custGeom>
            <a:solidFill>
              <a:schemeClr val="accent1"/>
            </a:solidFill>
            <a:ln w="9525" cap="flat">
              <a:noFill/>
              <a:prstDash val="solid"/>
              <a:miter/>
            </a:ln>
          </p:spPr>
          <p:txBody>
            <a:bodyPr rtlCol="0" anchor="ctr"/>
            <a:lstStyle/>
            <a:p>
              <a:endParaRPr lang="en-US" b="0" i="0">
                <a:latin typeface="Arial" panose="020B0604020202020204" pitchFamily="34" charset="0"/>
              </a:endParaRPr>
            </a:p>
          </p:txBody>
        </p:sp>
        <p:grpSp>
          <p:nvGrpSpPr>
            <p:cNvPr id="45" name="Group 44">
              <a:extLst>
                <a:ext uri="{FF2B5EF4-FFF2-40B4-BE49-F238E27FC236}">
                  <a16:creationId xmlns:a16="http://schemas.microsoft.com/office/drawing/2014/main" id="{D513D633-1893-B942-8D56-ED6B64170637}"/>
                </a:ext>
              </a:extLst>
            </p:cNvPr>
            <p:cNvGrpSpPr/>
            <p:nvPr userDrawn="1"/>
          </p:nvGrpSpPr>
          <p:grpSpPr>
            <a:xfrm>
              <a:off x="1215214" y="6234480"/>
              <a:ext cx="1367797" cy="210040"/>
              <a:chOff x="1215214" y="6300582"/>
              <a:chExt cx="1367797" cy="210040"/>
            </a:xfrm>
            <a:solidFill>
              <a:schemeClr val="bg2"/>
            </a:solidFill>
          </p:grpSpPr>
          <p:sp>
            <p:nvSpPr>
              <p:cNvPr id="46" name="Freeform 45">
                <a:extLst>
                  <a:ext uri="{FF2B5EF4-FFF2-40B4-BE49-F238E27FC236}">
                    <a16:creationId xmlns:a16="http://schemas.microsoft.com/office/drawing/2014/main" id="{53394ABC-7491-FC49-9935-1644A3A43DB7}"/>
                  </a:ext>
                </a:extLst>
              </p:cNvPr>
              <p:cNvSpPr/>
              <p:nvPr/>
            </p:nvSpPr>
            <p:spPr>
              <a:xfrm>
                <a:off x="1216741"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90 w 199052"/>
                  <a:gd name="connsiteY3" fmla="*/ 93631 h 198405"/>
                  <a:gd name="connsiteX4" fmla="*/ 149904 w 199052"/>
                  <a:gd name="connsiteY4" fmla="*/ 91345 h 198405"/>
                  <a:gd name="connsiteX5" fmla="*/ 152190 w 199052"/>
                  <a:gd name="connsiteY5" fmla="*/ 89059 h 198405"/>
                  <a:gd name="connsiteX6" fmla="*/ 157809 w 199052"/>
                  <a:gd name="connsiteY6" fmla="*/ 89059 h 198405"/>
                  <a:gd name="connsiteX7" fmla="*/ 191337 w 199052"/>
                  <a:gd name="connsiteY7" fmla="*/ 51530 h 198405"/>
                  <a:gd name="connsiteX8" fmla="*/ 191337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7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1 w 199052"/>
                  <a:gd name="connsiteY23" fmla="*/ 198406 h 198405"/>
                  <a:gd name="connsiteX24" fmla="*/ 153618 w 199052"/>
                  <a:gd name="connsiteY24" fmla="*/ 198406 h 198405"/>
                  <a:gd name="connsiteX25" fmla="*/ 199052 w 199052"/>
                  <a:gd name="connsiteY25" fmla="*/ 151447 h 198405"/>
                  <a:gd name="connsiteX26" fmla="*/ 199052 w 199052"/>
                  <a:gd name="connsiteY26" fmla="*/ 131826 h 198405"/>
                  <a:gd name="connsiteX27" fmla="*/ 153618 w 199052"/>
                  <a:gd name="connsiteY27" fmla="*/ 93917 h 198405"/>
                  <a:gd name="connsiteX28" fmla="*/ 147522 w 199052"/>
                  <a:gd name="connsiteY28" fmla="*/ 140208 h 198405"/>
                  <a:gd name="connsiteX29" fmla="*/ 119328 w 199052"/>
                  <a:gd name="connsiteY29" fmla="*/ 165830 h 198405"/>
                  <a:gd name="connsiteX30" fmla="*/ 75132 w 199052"/>
                  <a:gd name="connsiteY30" fmla="*/ 165830 h 198405"/>
                  <a:gd name="connsiteX31" fmla="*/ 73418 w 199052"/>
                  <a:gd name="connsiteY31" fmla="*/ 165449 h 198405"/>
                  <a:gd name="connsiteX32" fmla="*/ 72465 w 199052"/>
                  <a:gd name="connsiteY32" fmla="*/ 163544 h 198405"/>
                  <a:gd name="connsiteX33" fmla="*/ 72465 w 199052"/>
                  <a:gd name="connsiteY33" fmla="*/ 35719 h 198405"/>
                  <a:gd name="connsiteX34" fmla="*/ 73227 w 199052"/>
                  <a:gd name="connsiteY34" fmla="*/ 33052 h 198405"/>
                  <a:gd name="connsiteX35" fmla="*/ 75704 w 199052"/>
                  <a:gd name="connsiteY35" fmla="*/ 32480 h 198405"/>
                  <a:gd name="connsiteX36" fmla="*/ 119328 w 199052"/>
                  <a:gd name="connsiteY36" fmla="*/ 32480 h 198405"/>
                  <a:gd name="connsiteX37" fmla="*/ 138188 w 199052"/>
                  <a:gd name="connsiteY37" fmla="*/ 49435 h 198405"/>
                  <a:gd name="connsiteX38" fmla="*/ 138188 w 199052"/>
                  <a:gd name="connsiteY38" fmla="*/ 60770 h 198405"/>
                  <a:gd name="connsiteX39" fmla="*/ 118947 w 199052"/>
                  <a:gd name="connsiteY39" fmla="*/ 79534 h 198405"/>
                  <a:gd name="connsiteX40" fmla="*/ 99135 w 199052"/>
                  <a:gd name="connsiteY40" fmla="*/ 79724 h 198405"/>
                  <a:gd name="connsiteX41" fmla="*/ 93039 w 199052"/>
                  <a:gd name="connsiteY41" fmla="*/ 85820 h 198405"/>
                  <a:gd name="connsiteX42" fmla="*/ 93039 w 199052"/>
                  <a:gd name="connsiteY42" fmla="*/ 107156 h 198405"/>
                  <a:gd name="connsiteX43" fmla="*/ 99135 w 199052"/>
                  <a:gd name="connsiteY43" fmla="*/ 113252 h 198405"/>
                  <a:gd name="connsiteX44" fmla="*/ 121329 w 199052"/>
                  <a:gd name="connsiteY44" fmla="*/ 113252 h 198405"/>
                  <a:gd name="connsiteX45" fmla="*/ 147522 w 199052"/>
                  <a:gd name="connsiteY45" fmla="*/ 131540 h 198405"/>
                  <a:gd name="connsiteX46" fmla="*/ 147522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90" y="93631"/>
                    </a:lnTo>
                    <a:cubicBezTo>
                      <a:pt x="150951" y="93631"/>
                      <a:pt x="149904" y="92583"/>
                      <a:pt x="149904" y="91345"/>
                    </a:cubicBezTo>
                    <a:cubicBezTo>
                      <a:pt x="149904" y="90106"/>
                      <a:pt x="150951" y="89059"/>
                      <a:pt x="152190" y="89059"/>
                    </a:cubicBezTo>
                    <a:lnTo>
                      <a:pt x="157809" y="89059"/>
                    </a:lnTo>
                    <a:cubicBezTo>
                      <a:pt x="176669" y="86963"/>
                      <a:pt x="191337" y="70961"/>
                      <a:pt x="191337" y="51530"/>
                    </a:cubicBezTo>
                    <a:lnTo>
                      <a:pt x="191337" y="37814"/>
                    </a:lnTo>
                    <a:cubicBezTo>
                      <a:pt x="191337" y="16954"/>
                      <a:pt x="174383" y="95"/>
                      <a:pt x="153618" y="95"/>
                    </a:cubicBezTo>
                    <a:lnTo>
                      <a:pt x="1885" y="0"/>
                    </a:lnTo>
                    <a:cubicBezTo>
                      <a:pt x="837" y="0"/>
                      <a:pt x="75" y="857"/>
                      <a:pt x="75" y="1810"/>
                    </a:cubicBezTo>
                    <a:cubicBezTo>
                      <a:pt x="75" y="1810"/>
                      <a:pt x="-20" y="25717"/>
                      <a:pt x="75" y="25717"/>
                    </a:cubicBezTo>
                    <a:cubicBezTo>
                      <a:pt x="75" y="25717"/>
                      <a:pt x="-115" y="27051"/>
                      <a:pt x="837" y="27813"/>
                    </a:cubicBezTo>
                    <a:cubicBezTo>
                      <a:pt x="1409" y="28194"/>
                      <a:pt x="3123" y="28384"/>
                      <a:pt x="3123" y="28384"/>
                    </a:cubicBezTo>
                    <a:cubicBezTo>
                      <a:pt x="10172" y="29146"/>
                      <a:pt x="21221" y="34862"/>
                      <a:pt x="21221" y="39529"/>
                    </a:cubicBezTo>
                    <a:lnTo>
                      <a:pt x="21221" y="158115"/>
                    </a:lnTo>
                    <a:cubicBezTo>
                      <a:pt x="21030"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3" y="198310"/>
                      <a:pt x="1885" y="198310"/>
                    </a:cubicBezTo>
                    <a:lnTo>
                      <a:pt x="21221" y="198310"/>
                    </a:lnTo>
                    <a:cubicBezTo>
                      <a:pt x="21792" y="198310"/>
                      <a:pt x="22364" y="198406"/>
                      <a:pt x="23031" y="198406"/>
                    </a:cubicBezTo>
                    <a:lnTo>
                      <a:pt x="153618" y="198406"/>
                    </a:lnTo>
                    <a:cubicBezTo>
                      <a:pt x="180383" y="198406"/>
                      <a:pt x="199052" y="172307"/>
                      <a:pt x="199052" y="151447"/>
                    </a:cubicBezTo>
                    <a:lnTo>
                      <a:pt x="199052" y="131826"/>
                    </a:lnTo>
                    <a:cubicBezTo>
                      <a:pt x="199148" y="110871"/>
                      <a:pt x="187337" y="93917"/>
                      <a:pt x="153618" y="93917"/>
                    </a:cubicBezTo>
                    <a:close/>
                    <a:moveTo>
                      <a:pt x="147522" y="140208"/>
                    </a:moveTo>
                    <a:cubicBezTo>
                      <a:pt x="147713" y="160115"/>
                      <a:pt x="135711" y="165830"/>
                      <a:pt x="119328" y="165830"/>
                    </a:cubicBezTo>
                    <a:lnTo>
                      <a:pt x="75132" y="165830"/>
                    </a:lnTo>
                    <a:lnTo>
                      <a:pt x="73418" y="165449"/>
                    </a:lnTo>
                    <a:cubicBezTo>
                      <a:pt x="72465" y="164497"/>
                      <a:pt x="72465" y="163544"/>
                      <a:pt x="72465" y="163544"/>
                    </a:cubicBezTo>
                    <a:lnTo>
                      <a:pt x="72465" y="35719"/>
                    </a:lnTo>
                    <a:cubicBezTo>
                      <a:pt x="72465" y="35719"/>
                      <a:pt x="72465" y="33623"/>
                      <a:pt x="73227" y="33052"/>
                    </a:cubicBezTo>
                    <a:cubicBezTo>
                      <a:pt x="73989" y="32480"/>
                      <a:pt x="75704" y="32480"/>
                      <a:pt x="75704" y="32480"/>
                    </a:cubicBezTo>
                    <a:lnTo>
                      <a:pt x="119328" y="32480"/>
                    </a:lnTo>
                    <a:cubicBezTo>
                      <a:pt x="128758" y="32480"/>
                      <a:pt x="138188" y="40100"/>
                      <a:pt x="138188" y="49435"/>
                    </a:cubicBezTo>
                    <a:lnTo>
                      <a:pt x="138188" y="60770"/>
                    </a:lnTo>
                    <a:cubicBezTo>
                      <a:pt x="138378" y="66104"/>
                      <a:pt x="130091" y="80200"/>
                      <a:pt x="118947" y="79534"/>
                    </a:cubicBezTo>
                    <a:lnTo>
                      <a:pt x="99135" y="79724"/>
                    </a:lnTo>
                    <a:cubicBezTo>
                      <a:pt x="95801" y="79724"/>
                      <a:pt x="93039" y="82487"/>
                      <a:pt x="93039" y="85820"/>
                    </a:cubicBezTo>
                    <a:lnTo>
                      <a:pt x="93039" y="107156"/>
                    </a:lnTo>
                    <a:cubicBezTo>
                      <a:pt x="93039" y="110490"/>
                      <a:pt x="95801" y="113252"/>
                      <a:pt x="99135" y="113252"/>
                    </a:cubicBezTo>
                    <a:lnTo>
                      <a:pt x="121329" y="113252"/>
                    </a:lnTo>
                    <a:cubicBezTo>
                      <a:pt x="142188" y="114491"/>
                      <a:pt x="147427" y="126397"/>
                      <a:pt x="147522" y="131540"/>
                    </a:cubicBezTo>
                    <a:lnTo>
                      <a:pt x="147522"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47" name="Freeform 46">
                <a:extLst>
                  <a:ext uri="{FF2B5EF4-FFF2-40B4-BE49-F238E27FC236}">
                    <a16:creationId xmlns:a16="http://schemas.microsoft.com/office/drawing/2014/main" id="{CBAEDE70-0DA3-8A4A-A5CE-8E3EFC15080D}"/>
                  </a:ext>
                </a:extLst>
              </p:cNvPr>
              <p:cNvSpPr/>
              <p:nvPr/>
            </p:nvSpPr>
            <p:spPr>
              <a:xfrm>
                <a:off x="2417589"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89 w 199052"/>
                  <a:gd name="connsiteY3" fmla="*/ 93631 h 198405"/>
                  <a:gd name="connsiteX4" fmla="*/ 149903 w 199052"/>
                  <a:gd name="connsiteY4" fmla="*/ 91345 h 198405"/>
                  <a:gd name="connsiteX5" fmla="*/ 152189 w 199052"/>
                  <a:gd name="connsiteY5" fmla="*/ 89059 h 198405"/>
                  <a:gd name="connsiteX6" fmla="*/ 157809 w 199052"/>
                  <a:gd name="connsiteY6" fmla="*/ 89059 h 198405"/>
                  <a:gd name="connsiteX7" fmla="*/ 191338 w 199052"/>
                  <a:gd name="connsiteY7" fmla="*/ 51530 h 198405"/>
                  <a:gd name="connsiteX8" fmla="*/ 191338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8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0 w 199052"/>
                  <a:gd name="connsiteY23" fmla="*/ 198406 h 198405"/>
                  <a:gd name="connsiteX24" fmla="*/ 153618 w 199052"/>
                  <a:gd name="connsiteY24" fmla="*/ 198406 h 198405"/>
                  <a:gd name="connsiteX25" fmla="*/ 199053 w 199052"/>
                  <a:gd name="connsiteY25" fmla="*/ 151447 h 198405"/>
                  <a:gd name="connsiteX26" fmla="*/ 199053 w 199052"/>
                  <a:gd name="connsiteY26" fmla="*/ 131826 h 198405"/>
                  <a:gd name="connsiteX27" fmla="*/ 153618 w 199052"/>
                  <a:gd name="connsiteY27" fmla="*/ 93917 h 198405"/>
                  <a:gd name="connsiteX28" fmla="*/ 147427 w 199052"/>
                  <a:gd name="connsiteY28" fmla="*/ 140208 h 198405"/>
                  <a:gd name="connsiteX29" fmla="*/ 119233 w 199052"/>
                  <a:gd name="connsiteY29" fmla="*/ 165830 h 198405"/>
                  <a:gd name="connsiteX30" fmla="*/ 75037 w 199052"/>
                  <a:gd name="connsiteY30" fmla="*/ 165830 h 198405"/>
                  <a:gd name="connsiteX31" fmla="*/ 73323 w 199052"/>
                  <a:gd name="connsiteY31" fmla="*/ 165449 h 198405"/>
                  <a:gd name="connsiteX32" fmla="*/ 72370 w 199052"/>
                  <a:gd name="connsiteY32" fmla="*/ 163544 h 198405"/>
                  <a:gd name="connsiteX33" fmla="*/ 72370 w 199052"/>
                  <a:gd name="connsiteY33" fmla="*/ 35719 h 198405"/>
                  <a:gd name="connsiteX34" fmla="*/ 73132 w 199052"/>
                  <a:gd name="connsiteY34" fmla="*/ 33052 h 198405"/>
                  <a:gd name="connsiteX35" fmla="*/ 75609 w 199052"/>
                  <a:gd name="connsiteY35" fmla="*/ 32480 h 198405"/>
                  <a:gd name="connsiteX36" fmla="*/ 119233 w 199052"/>
                  <a:gd name="connsiteY36" fmla="*/ 32480 h 198405"/>
                  <a:gd name="connsiteX37" fmla="*/ 138093 w 199052"/>
                  <a:gd name="connsiteY37" fmla="*/ 49435 h 198405"/>
                  <a:gd name="connsiteX38" fmla="*/ 138093 w 199052"/>
                  <a:gd name="connsiteY38" fmla="*/ 60770 h 198405"/>
                  <a:gd name="connsiteX39" fmla="*/ 118852 w 199052"/>
                  <a:gd name="connsiteY39" fmla="*/ 79534 h 198405"/>
                  <a:gd name="connsiteX40" fmla="*/ 99040 w 199052"/>
                  <a:gd name="connsiteY40" fmla="*/ 79724 h 198405"/>
                  <a:gd name="connsiteX41" fmla="*/ 92944 w 199052"/>
                  <a:gd name="connsiteY41" fmla="*/ 85820 h 198405"/>
                  <a:gd name="connsiteX42" fmla="*/ 92944 w 199052"/>
                  <a:gd name="connsiteY42" fmla="*/ 107156 h 198405"/>
                  <a:gd name="connsiteX43" fmla="*/ 99040 w 199052"/>
                  <a:gd name="connsiteY43" fmla="*/ 113252 h 198405"/>
                  <a:gd name="connsiteX44" fmla="*/ 121233 w 199052"/>
                  <a:gd name="connsiteY44" fmla="*/ 113252 h 198405"/>
                  <a:gd name="connsiteX45" fmla="*/ 147427 w 199052"/>
                  <a:gd name="connsiteY45" fmla="*/ 131540 h 198405"/>
                  <a:gd name="connsiteX46" fmla="*/ 147427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89" y="93631"/>
                    </a:lnTo>
                    <a:cubicBezTo>
                      <a:pt x="150951" y="93631"/>
                      <a:pt x="149903" y="92583"/>
                      <a:pt x="149903" y="91345"/>
                    </a:cubicBezTo>
                    <a:cubicBezTo>
                      <a:pt x="149903" y="90106"/>
                      <a:pt x="150951" y="89059"/>
                      <a:pt x="152189" y="89059"/>
                    </a:cubicBezTo>
                    <a:lnTo>
                      <a:pt x="157809" y="89059"/>
                    </a:lnTo>
                    <a:cubicBezTo>
                      <a:pt x="176669" y="86963"/>
                      <a:pt x="191338" y="70961"/>
                      <a:pt x="191338" y="51530"/>
                    </a:cubicBezTo>
                    <a:lnTo>
                      <a:pt x="191338" y="37814"/>
                    </a:lnTo>
                    <a:cubicBezTo>
                      <a:pt x="191338" y="16954"/>
                      <a:pt x="174478" y="95"/>
                      <a:pt x="153618" y="95"/>
                    </a:cubicBezTo>
                    <a:lnTo>
                      <a:pt x="1885" y="0"/>
                    </a:lnTo>
                    <a:cubicBezTo>
                      <a:pt x="838" y="0"/>
                      <a:pt x="75" y="857"/>
                      <a:pt x="75" y="1810"/>
                    </a:cubicBezTo>
                    <a:cubicBezTo>
                      <a:pt x="75" y="1810"/>
                      <a:pt x="-20" y="25717"/>
                      <a:pt x="75" y="25717"/>
                    </a:cubicBezTo>
                    <a:cubicBezTo>
                      <a:pt x="75" y="25717"/>
                      <a:pt x="-115" y="27051"/>
                      <a:pt x="838" y="27813"/>
                    </a:cubicBezTo>
                    <a:cubicBezTo>
                      <a:pt x="1409" y="28194"/>
                      <a:pt x="3123" y="28384"/>
                      <a:pt x="3123" y="28384"/>
                    </a:cubicBezTo>
                    <a:cubicBezTo>
                      <a:pt x="10172" y="29146"/>
                      <a:pt x="21221" y="34862"/>
                      <a:pt x="21221" y="39529"/>
                    </a:cubicBezTo>
                    <a:lnTo>
                      <a:pt x="21221" y="158115"/>
                    </a:lnTo>
                    <a:cubicBezTo>
                      <a:pt x="21031"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2" y="198310"/>
                      <a:pt x="1885" y="198310"/>
                    </a:cubicBezTo>
                    <a:lnTo>
                      <a:pt x="21221" y="198310"/>
                    </a:lnTo>
                    <a:cubicBezTo>
                      <a:pt x="21792" y="198310"/>
                      <a:pt x="22364" y="198406"/>
                      <a:pt x="23030" y="198406"/>
                    </a:cubicBezTo>
                    <a:lnTo>
                      <a:pt x="153618" y="198406"/>
                    </a:lnTo>
                    <a:cubicBezTo>
                      <a:pt x="180384" y="198406"/>
                      <a:pt x="199053" y="172307"/>
                      <a:pt x="199053" y="151447"/>
                    </a:cubicBezTo>
                    <a:lnTo>
                      <a:pt x="199053" y="131826"/>
                    </a:lnTo>
                    <a:cubicBezTo>
                      <a:pt x="199053" y="110871"/>
                      <a:pt x="187241" y="93917"/>
                      <a:pt x="153618" y="93917"/>
                    </a:cubicBezTo>
                    <a:close/>
                    <a:moveTo>
                      <a:pt x="147427" y="140208"/>
                    </a:moveTo>
                    <a:cubicBezTo>
                      <a:pt x="147618" y="160115"/>
                      <a:pt x="135616" y="165830"/>
                      <a:pt x="119233" y="165830"/>
                    </a:cubicBezTo>
                    <a:lnTo>
                      <a:pt x="75037" y="165830"/>
                    </a:lnTo>
                    <a:lnTo>
                      <a:pt x="73323" y="165449"/>
                    </a:lnTo>
                    <a:cubicBezTo>
                      <a:pt x="72370" y="164497"/>
                      <a:pt x="72370" y="163544"/>
                      <a:pt x="72370" y="163544"/>
                    </a:cubicBezTo>
                    <a:lnTo>
                      <a:pt x="72370" y="35719"/>
                    </a:lnTo>
                    <a:cubicBezTo>
                      <a:pt x="72370" y="35719"/>
                      <a:pt x="72370" y="33623"/>
                      <a:pt x="73132" y="33052"/>
                    </a:cubicBezTo>
                    <a:cubicBezTo>
                      <a:pt x="73894" y="32480"/>
                      <a:pt x="75609" y="32480"/>
                      <a:pt x="75609" y="32480"/>
                    </a:cubicBezTo>
                    <a:lnTo>
                      <a:pt x="119233" y="32480"/>
                    </a:lnTo>
                    <a:cubicBezTo>
                      <a:pt x="128663" y="32480"/>
                      <a:pt x="138093" y="40100"/>
                      <a:pt x="138093" y="49435"/>
                    </a:cubicBezTo>
                    <a:lnTo>
                      <a:pt x="138093" y="60770"/>
                    </a:lnTo>
                    <a:cubicBezTo>
                      <a:pt x="138283" y="66104"/>
                      <a:pt x="129901" y="80200"/>
                      <a:pt x="118852" y="79534"/>
                    </a:cubicBezTo>
                    <a:lnTo>
                      <a:pt x="99040" y="79724"/>
                    </a:lnTo>
                    <a:cubicBezTo>
                      <a:pt x="95706" y="79724"/>
                      <a:pt x="92944" y="82487"/>
                      <a:pt x="92944" y="85820"/>
                    </a:cubicBezTo>
                    <a:lnTo>
                      <a:pt x="92944" y="107156"/>
                    </a:lnTo>
                    <a:cubicBezTo>
                      <a:pt x="92944" y="110490"/>
                      <a:pt x="95706" y="113252"/>
                      <a:pt x="99040" y="113252"/>
                    </a:cubicBezTo>
                    <a:lnTo>
                      <a:pt x="121233" y="113252"/>
                    </a:lnTo>
                    <a:cubicBezTo>
                      <a:pt x="142093" y="114491"/>
                      <a:pt x="147237" y="126397"/>
                      <a:pt x="147427" y="131540"/>
                    </a:cubicBezTo>
                    <a:lnTo>
                      <a:pt x="147427"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48" name="Freeform 47">
                <a:extLst>
                  <a:ext uri="{FF2B5EF4-FFF2-40B4-BE49-F238E27FC236}">
                    <a16:creationId xmlns:a16="http://schemas.microsoft.com/office/drawing/2014/main" id="{1493537E-BDD4-8B4B-A83C-0B1E24E55200}"/>
                  </a:ext>
                </a:extLst>
              </p:cNvPr>
              <p:cNvSpPr/>
              <p:nvPr/>
            </p:nvSpPr>
            <p:spPr>
              <a:xfrm>
                <a:off x="1399859" y="6302443"/>
                <a:ext cx="87290" cy="87921"/>
              </a:xfrm>
              <a:custGeom>
                <a:avLst/>
                <a:gdLst>
                  <a:gd name="connsiteX0" fmla="*/ 191167 w 197182"/>
                  <a:gd name="connsiteY0" fmla="*/ 11 h 198607"/>
                  <a:gd name="connsiteX1" fmla="*/ 130492 w 197182"/>
                  <a:gd name="connsiteY1" fmla="*/ 11 h 198607"/>
                  <a:gd name="connsiteX2" fmla="*/ 124396 w 197182"/>
                  <a:gd name="connsiteY2" fmla="*/ 6107 h 198607"/>
                  <a:gd name="connsiteX3" fmla="*/ 124396 w 197182"/>
                  <a:gd name="connsiteY3" fmla="*/ 20395 h 198607"/>
                  <a:gd name="connsiteX4" fmla="*/ 129921 w 197182"/>
                  <a:gd name="connsiteY4" fmla="*/ 22205 h 198607"/>
                  <a:gd name="connsiteX5" fmla="*/ 134874 w 197182"/>
                  <a:gd name="connsiteY5" fmla="*/ 25253 h 198607"/>
                  <a:gd name="connsiteX6" fmla="*/ 135826 w 197182"/>
                  <a:gd name="connsiteY6" fmla="*/ 27539 h 198607"/>
                  <a:gd name="connsiteX7" fmla="*/ 133350 w 197182"/>
                  <a:gd name="connsiteY7" fmla="*/ 36492 h 198607"/>
                  <a:gd name="connsiteX8" fmla="*/ 112490 w 197182"/>
                  <a:gd name="connsiteY8" fmla="*/ 70877 h 198607"/>
                  <a:gd name="connsiteX9" fmla="*/ 105537 w 197182"/>
                  <a:gd name="connsiteY9" fmla="*/ 75449 h 198607"/>
                  <a:gd name="connsiteX10" fmla="*/ 105061 w 197182"/>
                  <a:gd name="connsiteY10" fmla="*/ 75449 h 198607"/>
                  <a:gd name="connsiteX11" fmla="*/ 99250 w 197182"/>
                  <a:gd name="connsiteY11" fmla="*/ 71163 h 198607"/>
                  <a:gd name="connsiteX12" fmla="*/ 76390 w 197182"/>
                  <a:gd name="connsiteY12" fmla="*/ 38111 h 198607"/>
                  <a:gd name="connsiteX13" fmla="*/ 76009 w 197182"/>
                  <a:gd name="connsiteY13" fmla="*/ 24872 h 198607"/>
                  <a:gd name="connsiteX14" fmla="*/ 83153 w 197182"/>
                  <a:gd name="connsiteY14" fmla="*/ 21538 h 198607"/>
                  <a:gd name="connsiteX15" fmla="*/ 87058 w 197182"/>
                  <a:gd name="connsiteY15" fmla="*/ 16680 h 198607"/>
                  <a:gd name="connsiteX16" fmla="*/ 87058 w 197182"/>
                  <a:gd name="connsiteY16" fmla="*/ 4774 h 198607"/>
                  <a:gd name="connsiteX17" fmla="*/ 82963 w 197182"/>
                  <a:gd name="connsiteY17" fmla="*/ 11 h 198607"/>
                  <a:gd name="connsiteX18" fmla="*/ 6096 w 197182"/>
                  <a:gd name="connsiteY18" fmla="*/ 11 h 198607"/>
                  <a:gd name="connsiteX19" fmla="*/ 0 w 197182"/>
                  <a:gd name="connsiteY19" fmla="*/ 3726 h 198607"/>
                  <a:gd name="connsiteX20" fmla="*/ 0 w 197182"/>
                  <a:gd name="connsiteY20" fmla="*/ 19347 h 198607"/>
                  <a:gd name="connsiteX21" fmla="*/ 3429 w 197182"/>
                  <a:gd name="connsiteY21" fmla="*/ 26396 h 198607"/>
                  <a:gd name="connsiteX22" fmla="*/ 17431 w 197182"/>
                  <a:gd name="connsiteY22" fmla="*/ 33349 h 198607"/>
                  <a:gd name="connsiteX23" fmla="*/ 71533 w 197182"/>
                  <a:gd name="connsiteY23" fmla="*/ 110597 h 198607"/>
                  <a:gd name="connsiteX24" fmla="*/ 71533 w 197182"/>
                  <a:gd name="connsiteY24" fmla="*/ 162794 h 198607"/>
                  <a:gd name="connsiteX25" fmla="*/ 61055 w 197182"/>
                  <a:gd name="connsiteY25" fmla="*/ 167937 h 198607"/>
                  <a:gd name="connsiteX26" fmla="*/ 56007 w 197182"/>
                  <a:gd name="connsiteY26" fmla="*/ 168985 h 198607"/>
                  <a:gd name="connsiteX27" fmla="*/ 54197 w 197182"/>
                  <a:gd name="connsiteY27" fmla="*/ 170509 h 198607"/>
                  <a:gd name="connsiteX28" fmla="*/ 54102 w 197182"/>
                  <a:gd name="connsiteY28" fmla="*/ 170509 h 198607"/>
                  <a:gd name="connsiteX29" fmla="*/ 54102 w 197182"/>
                  <a:gd name="connsiteY29" fmla="*/ 170795 h 198607"/>
                  <a:gd name="connsiteX30" fmla="*/ 54102 w 197182"/>
                  <a:gd name="connsiteY30" fmla="*/ 196798 h 198607"/>
                  <a:gd name="connsiteX31" fmla="*/ 54102 w 197182"/>
                  <a:gd name="connsiteY31" fmla="*/ 197084 h 198607"/>
                  <a:gd name="connsiteX32" fmla="*/ 54197 w 197182"/>
                  <a:gd name="connsiteY32" fmla="*/ 197084 h 198607"/>
                  <a:gd name="connsiteX33" fmla="*/ 56007 w 197182"/>
                  <a:gd name="connsiteY33" fmla="*/ 198608 h 198607"/>
                  <a:gd name="connsiteX34" fmla="*/ 140779 w 197182"/>
                  <a:gd name="connsiteY34" fmla="*/ 198608 h 198607"/>
                  <a:gd name="connsiteX35" fmla="*/ 142589 w 197182"/>
                  <a:gd name="connsiteY35" fmla="*/ 197084 h 198607"/>
                  <a:gd name="connsiteX36" fmla="*/ 142684 w 197182"/>
                  <a:gd name="connsiteY36" fmla="*/ 197084 h 198607"/>
                  <a:gd name="connsiteX37" fmla="*/ 142684 w 197182"/>
                  <a:gd name="connsiteY37" fmla="*/ 196798 h 198607"/>
                  <a:gd name="connsiteX38" fmla="*/ 142684 w 197182"/>
                  <a:gd name="connsiteY38" fmla="*/ 170795 h 198607"/>
                  <a:gd name="connsiteX39" fmla="*/ 142684 w 197182"/>
                  <a:gd name="connsiteY39" fmla="*/ 170509 h 198607"/>
                  <a:gd name="connsiteX40" fmla="*/ 142589 w 197182"/>
                  <a:gd name="connsiteY40" fmla="*/ 170509 h 198607"/>
                  <a:gd name="connsiteX41" fmla="*/ 140779 w 197182"/>
                  <a:gd name="connsiteY41" fmla="*/ 168985 h 198607"/>
                  <a:gd name="connsiteX42" fmla="*/ 138589 w 197182"/>
                  <a:gd name="connsiteY42" fmla="*/ 168985 h 198607"/>
                  <a:gd name="connsiteX43" fmla="*/ 122777 w 197182"/>
                  <a:gd name="connsiteY43" fmla="*/ 160698 h 198607"/>
                  <a:gd name="connsiteX44" fmla="*/ 122777 w 197182"/>
                  <a:gd name="connsiteY44" fmla="*/ 115454 h 198607"/>
                  <a:gd name="connsiteX45" fmla="*/ 167068 w 197182"/>
                  <a:gd name="connsiteY45" fmla="*/ 46874 h 198607"/>
                  <a:gd name="connsiteX46" fmla="*/ 177260 w 197182"/>
                  <a:gd name="connsiteY46" fmla="*/ 33635 h 198607"/>
                  <a:gd name="connsiteX47" fmla="*/ 185547 w 197182"/>
                  <a:gd name="connsiteY47" fmla="*/ 28015 h 198607"/>
                  <a:gd name="connsiteX48" fmla="*/ 192214 w 197182"/>
                  <a:gd name="connsiteY48" fmla="*/ 26967 h 198607"/>
                  <a:gd name="connsiteX49" fmla="*/ 197167 w 197182"/>
                  <a:gd name="connsiteY49" fmla="*/ 21919 h 198607"/>
                  <a:gd name="connsiteX50" fmla="*/ 197167 w 197182"/>
                  <a:gd name="connsiteY50" fmla="*/ 6107 h 198607"/>
                  <a:gd name="connsiteX51" fmla="*/ 191167 w 197182"/>
                  <a:gd name="connsiteY51" fmla="*/ 11 h 1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7182" h="198607">
                    <a:moveTo>
                      <a:pt x="191167" y="11"/>
                    </a:moveTo>
                    <a:lnTo>
                      <a:pt x="130492" y="11"/>
                    </a:lnTo>
                    <a:cubicBezTo>
                      <a:pt x="125158" y="-84"/>
                      <a:pt x="124492" y="297"/>
                      <a:pt x="124396" y="6107"/>
                    </a:cubicBezTo>
                    <a:lnTo>
                      <a:pt x="124396" y="20395"/>
                    </a:lnTo>
                    <a:cubicBezTo>
                      <a:pt x="124492" y="23443"/>
                      <a:pt x="129921" y="22205"/>
                      <a:pt x="129921" y="22205"/>
                    </a:cubicBezTo>
                    <a:cubicBezTo>
                      <a:pt x="129921" y="22205"/>
                      <a:pt x="133159" y="22395"/>
                      <a:pt x="134874" y="25253"/>
                    </a:cubicBezTo>
                    <a:cubicBezTo>
                      <a:pt x="135255" y="25919"/>
                      <a:pt x="135826" y="27539"/>
                      <a:pt x="135826" y="27539"/>
                    </a:cubicBezTo>
                    <a:cubicBezTo>
                      <a:pt x="135826" y="27539"/>
                      <a:pt x="135922" y="31920"/>
                      <a:pt x="133350" y="36492"/>
                    </a:cubicBezTo>
                    <a:cubicBezTo>
                      <a:pt x="130492" y="41636"/>
                      <a:pt x="117919" y="62495"/>
                      <a:pt x="112490" y="70877"/>
                    </a:cubicBezTo>
                    <a:cubicBezTo>
                      <a:pt x="111823" y="73544"/>
                      <a:pt x="108394" y="75449"/>
                      <a:pt x="105537" y="75449"/>
                    </a:cubicBezTo>
                    <a:lnTo>
                      <a:pt x="105061" y="75449"/>
                    </a:lnTo>
                    <a:cubicBezTo>
                      <a:pt x="102298" y="75449"/>
                      <a:pt x="100489" y="73354"/>
                      <a:pt x="99250" y="71163"/>
                    </a:cubicBezTo>
                    <a:lnTo>
                      <a:pt x="76390" y="38111"/>
                    </a:lnTo>
                    <a:cubicBezTo>
                      <a:pt x="76390" y="38111"/>
                      <a:pt x="72676" y="30872"/>
                      <a:pt x="76009" y="24872"/>
                    </a:cubicBezTo>
                    <a:cubicBezTo>
                      <a:pt x="77343" y="22490"/>
                      <a:pt x="81915" y="21538"/>
                      <a:pt x="83153" y="21538"/>
                    </a:cubicBezTo>
                    <a:cubicBezTo>
                      <a:pt x="85725" y="21538"/>
                      <a:pt x="87058" y="21252"/>
                      <a:pt x="87058" y="16680"/>
                    </a:cubicBezTo>
                    <a:cubicBezTo>
                      <a:pt x="87058" y="15347"/>
                      <a:pt x="87058" y="4774"/>
                      <a:pt x="87058" y="4774"/>
                    </a:cubicBezTo>
                    <a:cubicBezTo>
                      <a:pt x="87058" y="2774"/>
                      <a:pt x="86392" y="11"/>
                      <a:pt x="82963" y="11"/>
                    </a:cubicBezTo>
                    <a:lnTo>
                      <a:pt x="6096" y="11"/>
                    </a:lnTo>
                    <a:cubicBezTo>
                      <a:pt x="2762" y="11"/>
                      <a:pt x="0" y="392"/>
                      <a:pt x="0" y="3726"/>
                    </a:cubicBezTo>
                    <a:lnTo>
                      <a:pt x="0" y="19347"/>
                    </a:lnTo>
                    <a:cubicBezTo>
                      <a:pt x="286" y="25062"/>
                      <a:pt x="-667" y="26205"/>
                      <a:pt x="3429" y="26396"/>
                    </a:cubicBezTo>
                    <a:cubicBezTo>
                      <a:pt x="10477" y="26681"/>
                      <a:pt x="17431" y="33349"/>
                      <a:pt x="17431" y="33349"/>
                    </a:cubicBezTo>
                    <a:lnTo>
                      <a:pt x="71533" y="110597"/>
                    </a:lnTo>
                    <a:lnTo>
                      <a:pt x="71533" y="162794"/>
                    </a:lnTo>
                    <a:cubicBezTo>
                      <a:pt x="71723" y="165461"/>
                      <a:pt x="65437" y="167175"/>
                      <a:pt x="61055" y="167937"/>
                    </a:cubicBezTo>
                    <a:lnTo>
                      <a:pt x="56007" y="168985"/>
                    </a:lnTo>
                    <a:cubicBezTo>
                      <a:pt x="55054" y="168985"/>
                      <a:pt x="54388" y="169652"/>
                      <a:pt x="54197" y="170509"/>
                    </a:cubicBezTo>
                    <a:cubicBezTo>
                      <a:pt x="54197" y="170509"/>
                      <a:pt x="54197" y="170509"/>
                      <a:pt x="54102" y="170509"/>
                    </a:cubicBezTo>
                    <a:lnTo>
                      <a:pt x="54102" y="170795"/>
                    </a:lnTo>
                    <a:lnTo>
                      <a:pt x="54102" y="196798"/>
                    </a:lnTo>
                    <a:lnTo>
                      <a:pt x="54102" y="197084"/>
                    </a:lnTo>
                    <a:lnTo>
                      <a:pt x="54197" y="197084"/>
                    </a:lnTo>
                    <a:cubicBezTo>
                      <a:pt x="54292" y="197941"/>
                      <a:pt x="55054" y="198608"/>
                      <a:pt x="56007" y="198608"/>
                    </a:cubicBezTo>
                    <a:lnTo>
                      <a:pt x="140779" y="198608"/>
                    </a:lnTo>
                    <a:cubicBezTo>
                      <a:pt x="141732" y="198608"/>
                      <a:pt x="142399" y="197941"/>
                      <a:pt x="142589" y="197084"/>
                    </a:cubicBezTo>
                    <a:lnTo>
                      <a:pt x="142684" y="197084"/>
                    </a:lnTo>
                    <a:lnTo>
                      <a:pt x="142684" y="196798"/>
                    </a:lnTo>
                    <a:lnTo>
                      <a:pt x="142684" y="170795"/>
                    </a:lnTo>
                    <a:lnTo>
                      <a:pt x="142684" y="170509"/>
                    </a:lnTo>
                    <a:cubicBezTo>
                      <a:pt x="142684" y="170509"/>
                      <a:pt x="142684" y="170509"/>
                      <a:pt x="142589" y="170509"/>
                    </a:cubicBezTo>
                    <a:cubicBezTo>
                      <a:pt x="142399" y="169652"/>
                      <a:pt x="141732" y="168985"/>
                      <a:pt x="140779" y="168985"/>
                    </a:cubicBezTo>
                    <a:lnTo>
                      <a:pt x="138589" y="168985"/>
                    </a:lnTo>
                    <a:cubicBezTo>
                      <a:pt x="131921" y="167937"/>
                      <a:pt x="123158" y="163937"/>
                      <a:pt x="122777" y="160698"/>
                    </a:cubicBezTo>
                    <a:lnTo>
                      <a:pt x="122777" y="115454"/>
                    </a:lnTo>
                    <a:lnTo>
                      <a:pt x="167068" y="46874"/>
                    </a:lnTo>
                    <a:cubicBezTo>
                      <a:pt x="167068" y="46874"/>
                      <a:pt x="174879" y="36397"/>
                      <a:pt x="177260" y="33635"/>
                    </a:cubicBezTo>
                    <a:cubicBezTo>
                      <a:pt x="180022" y="30491"/>
                      <a:pt x="182975" y="28872"/>
                      <a:pt x="185547" y="28015"/>
                    </a:cubicBezTo>
                    <a:lnTo>
                      <a:pt x="192214" y="26967"/>
                    </a:lnTo>
                    <a:cubicBezTo>
                      <a:pt x="197263" y="27253"/>
                      <a:pt x="197167" y="25253"/>
                      <a:pt x="197167" y="21919"/>
                    </a:cubicBezTo>
                    <a:lnTo>
                      <a:pt x="197167" y="6107"/>
                    </a:lnTo>
                    <a:cubicBezTo>
                      <a:pt x="197358" y="583"/>
                      <a:pt x="195739" y="11"/>
                      <a:pt x="191167" y="11"/>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49" name="Freeform 48">
                <a:extLst>
                  <a:ext uri="{FF2B5EF4-FFF2-40B4-BE49-F238E27FC236}">
                    <a16:creationId xmlns:a16="http://schemas.microsoft.com/office/drawing/2014/main" id="{A447E43B-2D0D-3044-A714-C15F8A572F86}"/>
                  </a:ext>
                </a:extLst>
              </p:cNvPr>
              <p:cNvSpPr/>
              <p:nvPr/>
            </p:nvSpPr>
            <p:spPr>
              <a:xfrm>
                <a:off x="2248578" y="6302743"/>
                <a:ext cx="71625" cy="87157"/>
              </a:xfrm>
              <a:custGeom>
                <a:avLst/>
                <a:gdLst>
                  <a:gd name="connsiteX0" fmla="*/ 161258 w 161795"/>
                  <a:gd name="connsiteY0" fmla="*/ 166116 h 196881"/>
                  <a:gd name="connsiteX1" fmla="*/ 161258 w 161795"/>
                  <a:gd name="connsiteY1" fmla="*/ 124968 h 196881"/>
                  <a:gd name="connsiteX2" fmla="*/ 155163 w 161795"/>
                  <a:gd name="connsiteY2" fmla="*/ 118872 h 196881"/>
                  <a:gd name="connsiteX3" fmla="*/ 139351 w 161795"/>
                  <a:gd name="connsiteY3" fmla="*/ 118872 h 196881"/>
                  <a:gd name="connsiteX4" fmla="*/ 133255 w 161795"/>
                  <a:gd name="connsiteY4" fmla="*/ 124968 h 196881"/>
                  <a:gd name="connsiteX5" fmla="*/ 133255 w 161795"/>
                  <a:gd name="connsiteY5" fmla="*/ 132874 h 196881"/>
                  <a:gd name="connsiteX6" fmla="*/ 130683 w 161795"/>
                  <a:gd name="connsiteY6" fmla="*/ 143351 h 196881"/>
                  <a:gd name="connsiteX7" fmla="*/ 112395 w 161795"/>
                  <a:gd name="connsiteY7" fmla="*/ 160115 h 196881"/>
                  <a:gd name="connsiteX8" fmla="*/ 89440 w 161795"/>
                  <a:gd name="connsiteY8" fmla="*/ 162687 h 196881"/>
                  <a:gd name="connsiteX9" fmla="*/ 89440 w 161795"/>
                  <a:gd name="connsiteY9" fmla="*/ 162782 h 196881"/>
                  <a:gd name="connsiteX10" fmla="*/ 68485 w 161795"/>
                  <a:gd name="connsiteY10" fmla="*/ 162782 h 196881"/>
                  <a:gd name="connsiteX11" fmla="*/ 64484 w 161795"/>
                  <a:gd name="connsiteY11" fmla="*/ 157639 h 196881"/>
                  <a:gd name="connsiteX12" fmla="*/ 64484 w 161795"/>
                  <a:gd name="connsiteY12" fmla="*/ 39243 h 196881"/>
                  <a:gd name="connsiteX13" fmla="*/ 83534 w 161795"/>
                  <a:gd name="connsiteY13" fmla="*/ 28480 h 196881"/>
                  <a:gd name="connsiteX14" fmla="*/ 85440 w 161795"/>
                  <a:gd name="connsiteY14" fmla="*/ 27718 h 196881"/>
                  <a:gd name="connsiteX15" fmla="*/ 85820 w 161795"/>
                  <a:gd name="connsiteY15" fmla="*/ 25813 h 196881"/>
                  <a:gd name="connsiteX16" fmla="*/ 85630 w 161795"/>
                  <a:gd name="connsiteY16" fmla="*/ 1810 h 196881"/>
                  <a:gd name="connsiteX17" fmla="*/ 83820 w 161795"/>
                  <a:gd name="connsiteY17" fmla="*/ 0 h 196881"/>
                  <a:gd name="connsiteX18" fmla="*/ 2000 w 161795"/>
                  <a:gd name="connsiteY18" fmla="*/ 0 h 196881"/>
                  <a:gd name="connsiteX19" fmla="*/ 191 w 161795"/>
                  <a:gd name="connsiteY19" fmla="*/ 1810 h 196881"/>
                  <a:gd name="connsiteX20" fmla="*/ 0 w 161795"/>
                  <a:gd name="connsiteY20" fmla="*/ 25813 h 196881"/>
                  <a:gd name="connsiteX21" fmla="*/ 381 w 161795"/>
                  <a:gd name="connsiteY21" fmla="*/ 27718 h 196881"/>
                  <a:gd name="connsiteX22" fmla="*/ 2286 w 161795"/>
                  <a:gd name="connsiteY22" fmla="*/ 28480 h 196881"/>
                  <a:gd name="connsiteX23" fmla="*/ 21336 w 161795"/>
                  <a:gd name="connsiteY23" fmla="*/ 39243 h 196881"/>
                  <a:gd name="connsiteX24" fmla="*/ 21336 w 161795"/>
                  <a:gd name="connsiteY24" fmla="*/ 157639 h 196881"/>
                  <a:gd name="connsiteX25" fmla="*/ 2286 w 161795"/>
                  <a:gd name="connsiteY25" fmla="*/ 168402 h 196881"/>
                  <a:gd name="connsiteX26" fmla="*/ 381 w 161795"/>
                  <a:gd name="connsiteY26" fmla="*/ 169164 h 196881"/>
                  <a:gd name="connsiteX27" fmla="*/ 0 w 161795"/>
                  <a:gd name="connsiteY27" fmla="*/ 171069 h 196881"/>
                  <a:gd name="connsiteX28" fmla="*/ 191 w 161795"/>
                  <a:gd name="connsiteY28" fmla="*/ 195072 h 196881"/>
                  <a:gd name="connsiteX29" fmla="*/ 2000 w 161795"/>
                  <a:gd name="connsiteY29" fmla="*/ 196882 h 196881"/>
                  <a:gd name="connsiteX30" fmla="*/ 67437 w 161795"/>
                  <a:gd name="connsiteY30" fmla="*/ 196882 h 196881"/>
                  <a:gd name="connsiteX31" fmla="*/ 67533 w 161795"/>
                  <a:gd name="connsiteY31" fmla="*/ 196882 h 196881"/>
                  <a:gd name="connsiteX32" fmla="*/ 155639 w 161795"/>
                  <a:gd name="connsiteY32" fmla="*/ 196882 h 196881"/>
                  <a:gd name="connsiteX33" fmla="*/ 161735 w 161795"/>
                  <a:gd name="connsiteY33" fmla="*/ 190786 h 196881"/>
                  <a:gd name="connsiteX34" fmla="*/ 161735 w 161795"/>
                  <a:gd name="connsiteY34" fmla="*/ 168878 h 196881"/>
                  <a:gd name="connsiteX35" fmla="*/ 161258 w 161795"/>
                  <a:gd name="connsiteY35" fmla="*/ 166116 h 19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881">
                    <a:moveTo>
                      <a:pt x="161258" y="166116"/>
                    </a:moveTo>
                    <a:lnTo>
                      <a:pt x="161258" y="124968"/>
                    </a:lnTo>
                    <a:cubicBezTo>
                      <a:pt x="161258" y="121634"/>
                      <a:pt x="158496" y="118872"/>
                      <a:pt x="155163" y="118872"/>
                    </a:cubicBezTo>
                    <a:lnTo>
                      <a:pt x="139351" y="118872"/>
                    </a:lnTo>
                    <a:cubicBezTo>
                      <a:pt x="136017" y="118872"/>
                      <a:pt x="133255" y="121634"/>
                      <a:pt x="133255" y="124968"/>
                    </a:cubicBezTo>
                    <a:lnTo>
                      <a:pt x="133255" y="132874"/>
                    </a:lnTo>
                    <a:cubicBezTo>
                      <a:pt x="132969" y="136493"/>
                      <a:pt x="132112" y="140399"/>
                      <a:pt x="130683" y="143351"/>
                    </a:cubicBezTo>
                    <a:cubicBezTo>
                      <a:pt x="126588" y="151543"/>
                      <a:pt x="116396" y="158591"/>
                      <a:pt x="112395" y="160115"/>
                    </a:cubicBezTo>
                    <a:cubicBezTo>
                      <a:pt x="102394" y="163830"/>
                      <a:pt x="89440" y="162687"/>
                      <a:pt x="89440" y="162687"/>
                    </a:cubicBezTo>
                    <a:lnTo>
                      <a:pt x="89440" y="162782"/>
                    </a:lnTo>
                    <a:lnTo>
                      <a:pt x="68485" y="162782"/>
                    </a:lnTo>
                    <a:cubicBezTo>
                      <a:pt x="66104" y="161163"/>
                      <a:pt x="64484" y="159353"/>
                      <a:pt x="64484" y="157639"/>
                    </a:cubicBezTo>
                    <a:lnTo>
                      <a:pt x="64484" y="39243"/>
                    </a:lnTo>
                    <a:cubicBezTo>
                      <a:pt x="64484" y="34576"/>
                      <a:pt x="75248" y="29813"/>
                      <a:pt x="83534" y="28480"/>
                    </a:cubicBezTo>
                    <a:cubicBezTo>
                      <a:pt x="83534" y="28480"/>
                      <a:pt x="84868" y="28575"/>
                      <a:pt x="85440" y="27718"/>
                    </a:cubicBezTo>
                    <a:cubicBezTo>
                      <a:pt x="86011" y="26861"/>
                      <a:pt x="85725" y="25813"/>
                      <a:pt x="85820" y="25813"/>
                    </a:cubicBezTo>
                    <a:lnTo>
                      <a:pt x="85630" y="1810"/>
                    </a:lnTo>
                    <a:cubicBezTo>
                      <a:pt x="85630" y="762"/>
                      <a:pt x="84773" y="0"/>
                      <a:pt x="83820" y="0"/>
                    </a:cubicBezTo>
                    <a:lnTo>
                      <a:pt x="2000" y="0"/>
                    </a:lnTo>
                    <a:cubicBezTo>
                      <a:pt x="953" y="0"/>
                      <a:pt x="191" y="857"/>
                      <a:pt x="191" y="1810"/>
                    </a:cubicBezTo>
                    <a:lnTo>
                      <a:pt x="0" y="25813"/>
                    </a:lnTo>
                    <a:cubicBezTo>
                      <a:pt x="95" y="25813"/>
                      <a:pt x="-190" y="26861"/>
                      <a:pt x="381" y="27718"/>
                    </a:cubicBezTo>
                    <a:cubicBezTo>
                      <a:pt x="953" y="28575"/>
                      <a:pt x="2286" y="28480"/>
                      <a:pt x="2286" y="28480"/>
                    </a:cubicBezTo>
                    <a:cubicBezTo>
                      <a:pt x="10573" y="29813"/>
                      <a:pt x="21336" y="34576"/>
                      <a:pt x="21336" y="39243"/>
                    </a:cubicBezTo>
                    <a:lnTo>
                      <a:pt x="21336" y="157639"/>
                    </a:lnTo>
                    <a:cubicBezTo>
                      <a:pt x="21336" y="162306"/>
                      <a:pt x="10478" y="167069"/>
                      <a:pt x="2286" y="168402"/>
                    </a:cubicBezTo>
                    <a:cubicBezTo>
                      <a:pt x="2286" y="168402"/>
                      <a:pt x="953" y="168307"/>
                      <a:pt x="381" y="169164"/>
                    </a:cubicBezTo>
                    <a:cubicBezTo>
                      <a:pt x="-190" y="170021"/>
                      <a:pt x="95" y="171069"/>
                      <a:pt x="0" y="171069"/>
                    </a:cubicBezTo>
                    <a:lnTo>
                      <a:pt x="191" y="195072"/>
                    </a:lnTo>
                    <a:cubicBezTo>
                      <a:pt x="191" y="196120"/>
                      <a:pt x="1048" y="196882"/>
                      <a:pt x="2000" y="196882"/>
                    </a:cubicBezTo>
                    <a:lnTo>
                      <a:pt x="67437" y="196882"/>
                    </a:lnTo>
                    <a:cubicBezTo>
                      <a:pt x="67437" y="196882"/>
                      <a:pt x="67533" y="196882"/>
                      <a:pt x="67533" y="196882"/>
                    </a:cubicBezTo>
                    <a:lnTo>
                      <a:pt x="155639" y="196882"/>
                    </a:lnTo>
                    <a:cubicBezTo>
                      <a:pt x="158972" y="196882"/>
                      <a:pt x="161735" y="194120"/>
                      <a:pt x="161735" y="190786"/>
                    </a:cubicBezTo>
                    <a:lnTo>
                      <a:pt x="161735" y="168878"/>
                    </a:lnTo>
                    <a:cubicBezTo>
                      <a:pt x="161925" y="167831"/>
                      <a:pt x="161640" y="166878"/>
                      <a:pt x="161258" y="1661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0" name="Freeform 49">
                <a:extLst>
                  <a:ext uri="{FF2B5EF4-FFF2-40B4-BE49-F238E27FC236}">
                    <a16:creationId xmlns:a16="http://schemas.microsoft.com/office/drawing/2014/main" id="{C4438720-886C-3E4B-B6E5-F082F26D9B25}"/>
                  </a:ext>
                </a:extLst>
              </p:cNvPr>
              <p:cNvSpPr/>
              <p:nvPr/>
            </p:nvSpPr>
            <p:spPr>
              <a:xfrm>
                <a:off x="1972728" y="6302911"/>
                <a:ext cx="71625" cy="86988"/>
              </a:xfrm>
              <a:custGeom>
                <a:avLst/>
                <a:gdLst>
                  <a:gd name="connsiteX0" fmla="*/ 161258 w 161795"/>
                  <a:gd name="connsiteY0" fmla="*/ 165735 h 196500"/>
                  <a:gd name="connsiteX1" fmla="*/ 161258 w 161795"/>
                  <a:gd name="connsiteY1" fmla="*/ 124587 h 196500"/>
                  <a:gd name="connsiteX2" fmla="*/ 155162 w 161795"/>
                  <a:gd name="connsiteY2" fmla="*/ 118491 h 196500"/>
                  <a:gd name="connsiteX3" fmla="*/ 139351 w 161795"/>
                  <a:gd name="connsiteY3" fmla="*/ 118491 h 196500"/>
                  <a:gd name="connsiteX4" fmla="*/ 133255 w 161795"/>
                  <a:gd name="connsiteY4" fmla="*/ 124587 h 196500"/>
                  <a:gd name="connsiteX5" fmla="*/ 133255 w 161795"/>
                  <a:gd name="connsiteY5" fmla="*/ 132493 h 196500"/>
                  <a:gd name="connsiteX6" fmla="*/ 130683 w 161795"/>
                  <a:gd name="connsiteY6" fmla="*/ 142970 h 196500"/>
                  <a:gd name="connsiteX7" fmla="*/ 112395 w 161795"/>
                  <a:gd name="connsiteY7" fmla="*/ 159734 h 196500"/>
                  <a:gd name="connsiteX8" fmla="*/ 89440 w 161795"/>
                  <a:gd name="connsiteY8" fmla="*/ 162306 h 196500"/>
                  <a:gd name="connsiteX9" fmla="*/ 89440 w 161795"/>
                  <a:gd name="connsiteY9" fmla="*/ 162401 h 196500"/>
                  <a:gd name="connsiteX10" fmla="*/ 68485 w 161795"/>
                  <a:gd name="connsiteY10" fmla="*/ 162401 h 196500"/>
                  <a:gd name="connsiteX11" fmla="*/ 64484 w 161795"/>
                  <a:gd name="connsiteY11" fmla="*/ 157258 h 196500"/>
                  <a:gd name="connsiteX12" fmla="*/ 64484 w 161795"/>
                  <a:gd name="connsiteY12" fmla="*/ 39243 h 196500"/>
                  <a:gd name="connsiteX13" fmla="*/ 83534 w 161795"/>
                  <a:gd name="connsiteY13" fmla="*/ 28480 h 196500"/>
                  <a:gd name="connsiteX14" fmla="*/ 85439 w 161795"/>
                  <a:gd name="connsiteY14" fmla="*/ 27718 h 196500"/>
                  <a:gd name="connsiteX15" fmla="*/ 85820 w 161795"/>
                  <a:gd name="connsiteY15" fmla="*/ 25813 h 196500"/>
                  <a:gd name="connsiteX16" fmla="*/ 85630 w 161795"/>
                  <a:gd name="connsiteY16" fmla="*/ 1810 h 196500"/>
                  <a:gd name="connsiteX17" fmla="*/ 83820 w 161795"/>
                  <a:gd name="connsiteY17" fmla="*/ 0 h 196500"/>
                  <a:gd name="connsiteX18" fmla="*/ 2000 w 161795"/>
                  <a:gd name="connsiteY18" fmla="*/ 0 h 196500"/>
                  <a:gd name="connsiteX19" fmla="*/ 190 w 161795"/>
                  <a:gd name="connsiteY19" fmla="*/ 1810 h 196500"/>
                  <a:gd name="connsiteX20" fmla="*/ 0 w 161795"/>
                  <a:gd name="connsiteY20" fmla="*/ 25813 h 196500"/>
                  <a:gd name="connsiteX21" fmla="*/ 381 w 161795"/>
                  <a:gd name="connsiteY21" fmla="*/ 27718 h 196500"/>
                  <a:gd name="connsiteX22" fmla="*/ 2286 w 161795"/>
                  <a:gd name="connsiteY22" fmla="*/ 28480 h 196500"/>
                  <a:gd name="connsiteX23" fmla="*/ 21336 w 161795"/>
                  <a:gd name="connsiteY23" fmla="*/ 39243 h 196500"/>
                  <a:gd name="connsiteX24" fmla="*/ 21336 w 161795"/>
                  <a:gd name="connsiteY24" fmla="*/ 157258 h 196500"/>
                  <a:gd name="connsiteX25" fmla="*/ 2286 w 161795"/>
                  <a:gd name="connsiteY25" fmla="*/ 168021 h 196500"/>
                  <a:gd name="connsiteX26" fmla="*/ 381 w 161795"/>
                  <a:gd name="connsiteY26" fmla="*/ 168783 h 196500"/>
                  <a:gd name="connsiteX27" fmla="*/ 0 w 161795"/>
                  <a:gd name="connsiteY27" fmla="*/ 170688 h 196500"/>
                  <a:gd name="connsiteX28" fmla="*/ 190 w 161795"/>
                  <a:gd name="connsiteY28" fmla="*/ 194691 h 196500"/>
                  <a:gd name="connsiteX29" fmla="*/ 2000 w 161795"/>
                  <a:gd name="connsiteY29" fmla="*/ 196501 h 196500"/>
                  <a:gd name="connsiteX30" fmla="*/ 67437 w 161795"/>
                  <a:gd name="connsiteY30" fmla="*/ 196501 h 196500"/>
                  <a:gd name="connsiteX31" fmla="*/ 67532 w 161795"/>
                  <a:gd name="connsiteY31" fmla="*/ 196501 h 196500"/>
                  <a:gd name="connsiteX32" fmla="*/ 155638 w 161795"/>
                  <a:gd name="connsiteY32" fmla="*/ 196501 h 196500"/>
                  <a:gd name="connsiteX33" fmla="*/ 161735 w 161795"/>
                  <a:gd name="connsiteY33" fmla="*/ 190405 h 196500"/>
                  <a:gd name="connsiteX34" fmla="*/ 161735 w 161795"/>
                  <a:gd name="connsiteY34" fmla="*/ 168497 h 196500"/>
                  <a:gd name="connsiteX35" fmla="*/ 161258 w 161795"/>
                  <a:gd name="connsiteY35" fmla="*/ 165735 h 19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500">
                    <a:moveTo>
                      <a:pt x="161258" y="165735"/>
                    </a:moveTo>
                    <a:lnTo>
                      <a:pt x="161258" y="124587"/>
                    </a:lnTo>
                    <a:cubicBezTo>
                      <a:pt x="161258" y="121253"/>
                      <a:pt x="158496" y="118491"/>
                      <a:pt x="155162" y="118491"/>
                    </a:cubicBezTo>
                    <a:lnTo>
                      <a:pt x="139351" y="118491"/>
                    </a:lnTo>
                    <a:cubicBezTo>
                      <a:pt x="136017" y="118491"/>
                      <a:pt x="133255" y="121253"/>
                      <a:pt x="133255" y="124587"/>
                    </a:cubicBezTo>
                    <a:lnTo>
                      <a:pt x="133255" y="132493"/>
                    </a:lnTo>
                    <a:cubicBezTo>
                      <a:pt x="132969" y="136112"/>
                      <a:pt x="132112" y="140017"/>
                      <a:pt x="130683" y="142970"/>
                    </a:cubicBezTo>
                    <a:cubicBezTo>
                      <a:pt x="126587" y="151162"/>
                      <a:pt x="116396" y="158210"/>
                      <a:pt x="112395" y="159734"/>
                    </a:cubicBezTo>
                    <a:cubicBezTo>
                      <a:pt x="102489" y="163449"/>
                      <a:pt x="89440" y="162306"/>
                      <a:pt x="89440" y="162306"/>
                    </a:cubicBezTo>
                    <a:lnTo>
                      <a:pt x="89440" y="162401"/>
                    </a:lnTo>
                    <a:lnTo>
                      <a:pt x="68485" y="162401"/>
                    </a:lnTo>
                    <a:cubicBezTo>
                      <a:pt x="66104" y="160782"/>
                      <a:pt x="64484" y="158972"/>
                      <a:pt x="64484" y="157258"/>
                    </a:cubicBezTo>
                    <a:lnTo>
                      <a:pt x="64484" y="39243"/>
                    </a:lnTo>
                    <a:cubicBezTo>
                      <a:pt x="64484" y="34576"/>
                      <a:pt x="75247" y="29813"/>
                      <a:pt x="83534" y="28480"/>
                    </a:cubicBezTo>
                    <a:cubicBezTo>
                      <a:pt x="83534" y="28480"/>
                      <a:pt x="84868" y="28480"/>
                      <a:pt x="85439" y="27718"/>
                    </a:cubicBezTo>
                    <a:cubicBezTo>
                      <a:pt x="86011" y="26956"/>
                      <a:pt x="85725" y="25813"/>
                      <a:pt x="85820" y="25813"/>
                    </a:cubicBezTo>
                    <a:lnTo>
                      <a:pt x="85630" y="1810"/>
                    </a:lnTo>
                    <a:cubicBezTo>
                      <a:pt x="85630" y="762"/>
                      <a:pt x="84772" y="0"/>
                      <a:pt x="83820" y="0"/>
                    </a:cubicBezTo>
                    <a:lnTo>
                      <a:pt x="2000" y="0"/>
                    </a:lnTo>
                    <a:cubicBezTo>
                      <a:pt x="953" y="0"/>
                      <a:pt x="190" y="857"/>
                      <a:pt x="190" y="1810"/>
                    </a:cubicBezTo>
                    <a:lnTo>
                      <a:pt x="0" y="25813"/>
                    </a:lnTo>
                    <a:cubicBezTo>
                      <a:pt x="95" y="25813"/>
                      <a:pt x="-190" y="26956"/>
                      <a:pt x="381" y="27718"/>
                    </a:cubicBezTo>
                    <a:cubicBezTo>
                      <a:pt x="953" y="28575"/>
                      <a:pt x="2286" y="28480"/>
                      <a:pt x="2286" y="28480"/>
                    </a:cubicBezTo>
                    <a:cubicBezTo>
                      <a:pt x="10573" y="29813"/>
                      <a:pt x="21336" y="34576"/>
                      <a:pt x="21336" y="39243"/>
                    </a:cubicBezTo>
                    <a:lnTo>
                      <a:pt x="21336" y="157258"/>
                    </a:lnTo>
                    <a:cubicBezTo>
                      <a:pt x="21336" y="161925"/>
                      <a:pt x="10573" y="166688"/>
                      <a:pt x="2286" y="168021"/>
                    </a:cubicBezTo>
                    <a:cubicBezTo>
                      <a:pt x="2286" y="168021"/>
                      <a:pt x="953" y="167926"/>
                      <a:pt x="381" y="168783"/>
                    </a:cubicBezTo>
                    <a:cubicBezTo>
                      <a:pt x="-190" y="169640"/>
                      <a:pt x="95" y="170688"/>
                      <a:pt x="0" y="170688"/>
                    </a:cubicBezTo>
                    <a:lnTo>
                      <a:pt x="190" y="194691"/>
                    </a:lnTo>
                    <a:cubicBezTo>
                      <a:pt x="190" y="195739"/>
                      <a:pt x="1048" y="196501"/>
                      <a:pt x="2000" y="196501"/>
                    </a:cubicBezTo>
                    <a:lnTo>
                      <a:pt x="67437" y="196501"/>
                    </a:lnTo>
                    <a:cubicBezTo>
                      <a:pt x="67437" y="196501"/>
                      <a:pt x="67532" y="196501"/>
                      <a:pt x="67532" y="196501"/>
                    </a:cubicBezTo>
                    <a:lnTo>
                      <a:pt x="155638" y="196501"/>
                    </a:lnTo>
                    <a:cubicBezTo>
                      <a:pt x="158972" y="196501"/>
                      <a:pt x="161735" y="193738"/>
                      <a:pt x="161735" y="190405"/>
                    </a:cubicBezTo>
                    <a:lnTo>
                      <a:pt x="161735" y="168497"/>
                    </a:lnTo>
                    <a:cubicBezTo>
                      <a:pt x="161925" y="167450"/>
                      <a:pt x="161639" y="166497"/>
                      <a:pt x="161258" y="165735"/>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1" name="Freeform 50">
                <a:extLst>
                  <a:ext uri="{FF2B5EF4-FFF2-40B4-BE49-F238E27FC236}">
                    <a16:creationId xmlns:a16="http://schemas.microsoft.com/office/drawing/2014/main" id="{8383C15B-44A2-8841-A4B7-1E9C4906CA59}"/>
                  </a:ext>
                </a:extLst>
              </p:cNvPr>
              <p:cNvSpPr/>
              <p:nvPr/>
            </p:nvSpPr>
            <p:spPr>
              <a:xfrm>
                <a:off x="2315496" y="6302659"/>
                <a:ext cx="98036" cy="88591"/>
              </a:xfrm>
              <a:custGeom>
                <a:avLst/>
                <a:gdLst>
                  <a:gd name="connsiteX0" fmla="*/ 110680 w 221456"/>
                  <a:gd name="connsiteY0" fmla="*/ 165259 h 200120"/>
                  <a:gd name="connsiteX1" fmla="*/ 90488 w 221456"/>
                  <a:gd name="connsiteY1" fmla="*/ 164306 h 200120"/>
                  <a:gd name="connsiteX2" fmla="*/ 74009 w 221456"/>
                  <a:gd name="connsiteY2" fmla="*/ 154114 h 200120"/>
                  <a:gd name="connsiteX3" fmla="*/ 72295 w 221456"/>
                  <a:gd name="connsiteY3" fmla="*/ 127444 h 200120"/>
                  <a:gd name="connsiteX4" fmla="*/ 72295 w 221456"/>
                  <a:gd name="connsiteY4" fmla="*/ 39243 h 200120"/>
                  <a:gd name="connsiteX5" fmla="*/ 91345 w 221456"/>
                  <a:gd name="connsiteY5" fmla="*/ 28480 h 200120"/>
                  <a:gd name="connsiteX6" fmla="*/ 93250 w 221456"/>
                  <a:gd name="connsiteY6" fmla="*/ 27718 h 200120"/>
                  <a:gd name="connsiteX7" fmla="*/ 93631 w 221456"/>
                  <a:gd name="connsiteY7" fmla="*/ 25813 h 200120"/>
                  <a:gd name="connsiteX8" fmla="*/ 93440 w 221456"/>
                  <a:gd name="connsiteY8" fmla="*/ 1810 h 200120"/>
                  <a:gd name="connsiteX9" fmla="*/ 91630 w 221456"/>
                  <a:gd name="connsiteY9" fmla="*/ 0 h 200120"/>
                  <a:gd name="connsiteX10" fmla="*/ 2000 w 221456"/>
                  <a:gd name="connsiteY10" fmla="*/ 0 h 200120"/>
                  <a:gd name="connsiteX11" fmla="*/ 191 w 221456"/>
                  <a:gd name="connsiteY11" fmla="*/ 1810 h 200120"/>
                  <a:gd name="connsiteX12" fmla="*/ 0 w 221456"/>
                  <a:gd name="connsiteY12" fmla="*/ 25813 h 200120"/>
                  <a:gd name="connsiteX13" fmla="*/ 381 w 221456"/>
                  <a:gd name="connsiteY13" fmla="*/ 27718 h 200120"/>
                  <a:gd name="connsiteX14" fmla="*/ 2286 w 221456"/>
                  <a:gd name="connsiteY14" fmla="*/ 28480 h 200120"/>
                  <a:gd name="connsiteX15" fmla="*/ 21336 w 221456"/>
                  <a:gd name="connsiteY15" fmla="*/ 39243 h 200120"/>
                  <a:gd name="connsiteX16" fmla="*/ 21336 w 221456"/>
                  <a:gd name="connsiteY16" fmla="*/ 122968 h 200120"/>
                  <a:gd name="connsiteX17" fmla="*/ 21241 w 221456"/>
                  <a:gd name="connsiteY17" fmla="*/ 123063 h 200120"/>
                  <a:gd name="connsiteX18" fmla="*/ 21241 w 221456"/>
                  <a:gd name="connsiteY18" fmla="*/ 140398 h 200120"/>
                  <a:gd name="connsiteX19" fmla="*/ 25432 w 221456"/>
                  <a:gd name="connsiteY19" fmla="*/ 172593 h 200120"/>
                  <a:gd name="connsiteX20" fmla="*/ 104585 w 221456"/>
                  <a:gd name="connsiteY20" fmla="*/ 200120 h 200120"/>
                  <a:gd name="connsiteX21" fmla="*/ 114491 w 221456"/>
                  <a:gd name="connsiteY21" fmla="*/ 200120 h 200120"/>
                  <a:gd name="connsiteX22" fmla="*/ 196025 w 221456"/>
                  <a:gd name="connsiteY22" fmla="*/ 172593 h 200120"/>
                  <a:gd name="connsiteX23" fmla="*/ 200216 w 221456"/>
                  <a:gd name="connsiteY23" fmla="*/ 140398 h 200120"/>
                  <a:gd name="connsiteX24" fmla="*/ 200216 w 221456"/>
                  <a:gd name="connsiteY24" fmla="*/ 123063 h 200120"/>
                  <a:gd name="connsiteX25" fmla="*/ 200120 w 221456"/>
                  <a:gd name="connsiteY25" fmla="*/ 122968 h 200120"/>
                  <a:gd name="connsiteX26" fmla="*/ 200120 w 221456"/>
                  <a:gd name="connsiteY26" fmla="*/ 39243 h 200120"/>
                  <a:gd name="connsiteX27" fmla="*/ 219170 w 221456"/>
                  <a:gd name="connsiteY27" fmla="*/ 28480 h 200120"/>
                  <a:gd name="connsiteX28" fmla="*/ 221075 w 221456"/>
                  <a:gd name="connsiteY28" fmla="*/ 27718 h 200120"/>
                  <a:gd name="connsiteX29" fmla="*/ 221456 w 221456"/>
                  <a:gd name="connsiteY29" fmla="*/ 25813 h 200120"/>
                  <a:gd name="connsiteX30" fmla="*/ 221266 w 221456"/>
                  <a:gd name="connsiteY30" fmla="*/ 1810 h 200120"/>
                  <a:gd name="connsiteX31" fmla="*/ 219456 w 221456"/>
                  <a:gd name="connsiteY31" fmla="*/ 0 h 200120"/>
                  <a:gd name="connsiteX32" fmla="*/ 129826 w 221456"/>
                  <a:gd name="connsiteY32" fmla="*/ 0 h 200120"/>
                  <a:gd name="connsiteX33" fmla="*/ 128016 w 221456"/>
                  <a:gd name="connsiteY33" fmla="*/ 1810 h 200120"/>
                  <a:gd name="connsiteX34" fmla="*/ 127826 w 221456"/>
                  <a:gd name="connsiteY34" fmla="*/ 25813 h 200120"/>
                  <a:gd name="connsiteX35" fmla="*/ 128207 w 221456"/>
                  <a:gd name="connsiteY35" fmla="*/ 27718 h 200120"/>
                  <a:gd name="connsiteX36" fmla="*/ 130112 w 221456"/>
                  <a:gd name="connsiteY36" fmla="*/ 28480 h 200120"/>
                  <a:gd name="connsiteX37" fmla="*/ 149162 w 221456"/>
                  <a:gd name="connsiteY37" fmla="*/ 39243 h 200120"/>
                  <a:gd name="connsiteX38" fmla="*/ 149162 w 221456"/>
                  <a:gd name="connsiteY38" fmla="*/ 127444 h 200120"/>
                  <a:gd name="connsiteX39" fmla="*/ 147447 w 221456"/>
                  <a:gd name="connsiteY39" fmla="*/ 154114 h 200120"/>
                  <a:gd name="connsiteX40" fmla="*/ 130969 w 221456"/>
                  <a:gd name="connsiteY40" fmla="*/ 164306 h 200120"/>
                  <a:gd name="connsiteX41" fmla="*/ 110680 w 221456"/>
                  <a:gd name="connsiteY41" fmla="*/ 165259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1456" h="200120">
                    <a:moveTo>
                      <a:pt x="110680" y="165259"/>
                    </a:moveTo>
                    <a:cubicBezTo>
                      <a:pt x="105252" y="165163"/>
                      <a:pt x="93917" y="164878"/>
                      <a:pt x="90488" y="164306"/>
                    </a:cubicBezTo>
                    <a:cubicBezTo>
                      <a:pt x="84677" y="163259"/>
                      <a:pt x="77534" y="160210"/>
                      <a:pt x="74009" y="154114"/>
                    </a:cubicBezTo>
                    <a:cubicBezTo>
                      <a:pt x="71152" y="149257"/>
                      <a:pt x="72580" y="132969"/>
                      <a:pt x="72295" y="127444"/>
                    </a:cubicBezTo>
                    <a:lnTo>
                      <a:pt x="72295" y="39243"/>
                    </a:lnTo>
                    <a:cubicBezTo>
                      <a:pt x="72295" y="34576"/>
                      <a:pt x="83058" y="29813"/>
                      <a:pt x="91345" y="28480"/>
                    </a:cubicBezTo>
                    <a:cubicBezTo>
                      <a:pt x="91345" y="28480"/>
                      <a:pt x="92679" y="28575"/>
                      <a:pt x="93250" y="27718"/>
                    </a:cubicBezTo>
                    <a:cubicBezTo>
                      <a:pt x="93822" y="26860"/>
                      <a:pt x="93536" y="25813"/>
                      <a:pt x="93631" y="25813"/>
                    </a:cubicBezTo>
                    <a:lnTo>
                      <a:pt x="93440" y="1810"/>
                    </a:lnTo>
                    <a:cubicBezTo>
                      <a:pt x="93440" y="762"/>
                      <a:pt x="92583" y="0"/>
                      <a:pt x="91630" y="0"/>
                    </a:cubicBezTo>
                    <a:lnTo>
                      <a:pt x="2000" y="0"/>
                    </a:lnTo>
                    <a:cubicBezTo>
                      <a:pt x="953" y="0"/>
                      <a:pt x="191" y="857"/>
                      <a:pt x="191" y="1810"/>
                    </a:cubicBezTo>
                    <a:lnTo>
                      <a:pt x="0" y="25813"/>
                    </a:lnTo>
                    <a:cubicBezTo>
                      <a:pt x="95" y="25813"/>
                      <a:pt x="-190" y="26860"/>
                      <a:pt x="381" y="27718"/>
                    </a:cubicBezTo>
                    <a:cubicBezTo>
                      <a:pt x="953" y="28575"/>
                      <a:pt x="2286" y="28480"/>
                      <a:pt x="2286" y="28480"/>
                    </a:cubicBezTo>
                    <a:cubicBezTo>
                      <a:pt x="10573" y="29813"/>
                      <a:pt x="21336" y="34576"/>
                      <a:pt x="21336" y="39243"/>
                    </a:cubicBezTo>
                    <a:lnTo>
                      <a:pt x="21336" y="122968"/>
                    </a:lnTo>
                    <a:lnTo>
                      <a:pt x="21241" y="123063"/>
                    </a:lnTo>
                    <a:lnTo>
                      <a:pt x="21241" y="140398"/>
                    </a:lnTo>
                    <a:cubicBezTo>
                      <a:pt x="21241" y="140398"/>
                      <a:pt x="20955" y="165544"/>
                      <a:pt x="25432" y="172593"/>
                    </a:cubicBezTo>
                    <a:cubicBezTo>
                      <a:pt x="36672" y="190214"/>
                      <a:pt x="53626" y="200120"/>
                      <a:pt x="104585" y="200120"/>
                    </a:cubicBezTo>
                    <a:cubicBezTo>
                      <a:pt x="104966" y="200120"/>
                      <a:pt x="114110" y="200120"/>
                      <a:pt x="114491" y="200120"/>
                    </a:cubicBezTo>
                    <a:cubicBezTo>
                      <a:pt x="165449" y="200120"/>
                      <a:pt x="184881" y="190214"/>
                      <a:pt x="196025" y="172593"/>
                    </a:cubicBezTo>
                    <a:cubicBezTo>
                      <a:pt x="200502" y="165544"/>
                      <a:pt x="200216" y="140398"/>
                      <a:pt x="200216" y="140398"/>
                    </a:cubicBezTo>
                    <a:lnTo>
                      <a:pt x="200216" y="123063"/>
                    </a:lnTo>
                    <a:lnTo>
                      <a:pt x="200120" y="122968"/>
                    </a:lnTo>
                    <a:lnTo>
                      <a:pt x="200120" y="39243"/>
                    </a:lnTo>
                    <a:cubicBezTo>
                      <a:pt x="200120" y="34576"/>
                      <a:pt x="210884" y="29813"/>
                      <a:pt x="219170" y="28480"/>
                    </a:cubicBezTo>
                    <a:cubicBezTo>
                      <a:pt x="219170" y="28480"/>
                      <a:pt x="220504" y="28575"/>
                      <a:pt x="221075" y="27718"/>
                    </a:cubicBezTo>
                    <a:cubicBezTo>
                      <a:pt x="221647" y="26860"/>
                      <a:pt x="221361" y="25813"/>
                      <a:pt x="221456" y="25813"/>
                    </a:cubicBezTo>
                    <a:lnTo>
                      <a:pt x="221266" y="1810"/>
                    </a:lnTo>
                    <a:cubicBezTo>
                      <a:pt x="221266" y="762"/>
                      <a:pt x="220409" y="0"/>
                      <a:pt x="219456" y="0"/>
                    </a:cubicBezTo>
                    <a:lnTo>
                      <a:pt x="129826" y="0"/>
                    </a:lnTo>
                    <a:cubicBezTo>
                      <a:pt x="128778" y="0"/>
                      <a:pt x="128016" y="857"/>
                      <a:pt x="128016" y="1810"/>
                    </a:cubicBezTo>
                    <a:lnTo>
                      <a:pt x="127826" y="25813"/>
                    </a:lnTo>
                    <a:cubicBezTo>
                      <a:pt x="127921" y="25813"/>
                      <a:pt x="127635" y="26860"/>
                      <a:pt x="128207" y="27718"/>
                    </a:cubicBezTo>
                    <a:cubicBezTo>
                      <a:pt x="128778" y="28575"/>
                      <a:pt x="130112" y="28480"/>
                      <a:pt x="130112" y="28480"/>
                    </a:cubicBezTo>
                    <a:cubicBezTo>
                      <a:pt x="138399" y="29813"/>
                      <a:pt x="149162" y="34576"/>
                      <a:pt x="149162" y="39243"/>
                    </a:cubicBezTo>
                    <a:lnTo>
                      <a:pt x="149162" y="127444"/>
                    </a:lnTo>
                    <a:cubicBezTo>
                      <a:pt x="148780" y="132969"/>
                      <a:pt x="150305" y="149257"/>
                      <a:pt x="147447" y="154114"/>
                    </a:cubicBezTo>
                    <a:cubicBezTo>
                      <a:pt x="143923" y="160210"/>
                      <a:pt x="136779" y="163259"/>
                      <a:pt x="130969" y="164306"/>
                    </a:cubicBezTo>
                    <a:cubicBezTo>
                      <a:pt x="127445" y="164973"/>
                      <a:pt x="116110" y="165163"/>
                      <a:pt x="110680" y="165259"/>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2" name="Freeform 51">
                <a:extLst>
                  <a:ext uri="{FF2B5EF4-FFF2-40B4-BE49-F238E27FC236}">
                    <a16:creationId xmlns:a16="http://schemas.microsoft.com/office/drawing/2014/main" id="{8A171D91-898A-D148-8400-34F5BA70DB13}"/>
                  </a:ext>
                </a:extLst>
              </p:cNvPr>
              <p:cNvSpPr/>
              <p:nvPr/>
            </p:nvSpPr>
            <p:spPr>
              <a:xfrm>
                <a:off x="2162264" y="6300712"/>
                <a:ext cx="81085" cy="91322"/>
              </a:xfrm>
              <a:custGeom>
                <a:avLst/>
                <a:gdLst>
                  <a:gd name="connsiteX0" fmla="*/ 182689 w 183165"/>
                  <a:gd name="connsiteY0" fmla="*/ 146319 h 206289"/>
                  <a:gd name="connsiteX1" fmla="*/ 176593 w 183165"/>
                  <a:gd name="connsiteY1" fmla="*/ 140223 h 206289"/>
                  <a:gd name="connsiteX2" fmla="*/ 160782 w 183165"/>
                  <a:gd name="connsiteY2" fmla="*/ 140223 h 206289"/>
                  <a:gd name="connsiteX3" fmla="*/ 154686 w 183165"/>
                  <a:gd name="connsiteY3" fmla="*/ 146319 h 206289"/>
                  <a:gd name="connsiteX4" fmla="*/ 154686 w 183165"/>
                  <a:gd name="connsiteY4" fmla="*/ 148415 h 206289"/>
                  <a:gd name="connsiteX5" fmla="*/ 137922 w 183165"/>
                  <a:gd name="connsiteY5" fmla="*/ 169751 h 206289"/>
                  <a:gd name="connsiteX6" fmla="*/ 109918 w 183165"/>
                  <a:gd name="connsiteY6" fmla="*/ 174323 h 206289"/>
                  <a:gd name="connsiteX7" fmla="*/ 109251 w 183165"/>
                  <a:gd name="connsiteY7" fmla="*/ 174323 h 206289"/>
                  <a:gd name="connsiteX8" fmla="*/ 109156 w 183165"/>
                  <a:gd name="connsiteY8" fmla="*/ 174323 h 206289"/>
                  <a:gd name="connsiteX9" fmla="*/ 81153 w 183165"/>
                  <a:gd name="connsiteY9" fmla="*/ 169751 h 206289"/>
                  <a:gd name="connsiteX10" fmla="*/ 60770 w 183165"/>
                  <a:gd name="connsiteY10" fmla="*/ 146700 h 206289"/>
                  <a:gd name="connsiteX11" fmla="*/ 55054 w 183165"/>
                  <a:gd name="connsiteY11" fmla="*/ 101266 h 206289"/>
                  <a:gd name="connsiteX12" fmla="*/ 60770 w 183165"/>
                  <a:gd name="connsiteY12" fmla="*/ 52403 h 206289"/>
                  <a:gd name="connsiteX13" fmla="*/ 101632 w 183165"/>
                  <a:gd name="connsiteY13" fmla="*/ 31352 h 206289"/>
                  <a:gd name="connsiteX14" fmla="*/ 138684 w 183165"/>
                  <a:gd name="connsiteY14" fmla="*/ 45831 h 206289"/>
                  <a:gd name="connsiteX15" fmla="*/ 145542 w 183165"/>
                  <a:gd name="connsiteY15" fmla="*/ 58594 h 206289"/>
                  <a:gd name="connsiteX16" fmla="*/ 145542 w 183165"/>
                  <a:gd name="connsiteY16" fmla="*/ 60690 h 206289"/>
                  <a:gd name="connsiteX17" fmla="*/ 151638 w 183165"/>
                  <a:gd name="connsiteY17" fmla="*/ 66786 h 206289"/>
                  <a:gd name="connsiteX18" fmla="*/ 167450 w 183165"/>
                  <a:gd name="connsiteY18" fmla="*/ 66786 h 206289"/>
                  <a:gd name="connsiteX19" fmla="*/ 173545 w 183165"/>
                  <a:gd name="connsiteY19" fmla="*/ 60690 h 206289"/>
                  <a:gd name="connsiteX20" fmla="*/ 174021 w 183165"/>
                  <a:gd name="connsiteY20" fmla="*/ 13350 h 206289"/>
                  <a:gd name="connsiteX21" fmla="*/ 170688 w 183165"/>
                  <a:gd name="connsiteY21" fmla="*/ 6492 h 206289"/>
                  <a:gd name="connsiteX22" fmla="*/ 109633 w 183165"/>
                  <a:gd name="connsiteY22" fmla="*/ 15 h 206289"/>
                  <a:gd name="connsiteX23" fmla="*/ 38576 w 183165"/>
                  <a:gd name="connsiteY23" fmla="*/ 15255 h 206289"/>
                  <a:gd name="connsiteX24" fmla="*/ 0 w 183165"/>
                  <a:gd name="connsiteY24" fmla="*/ 98123 h 206289"/>
                  <a:gd name="connsiteX25" fmla="*/ 24384 w 183165"/>
                  <a:gd name="connsiteY25" fmla="*/ 179085 h 206289"/>
                  <a:gd name="connsiteX26" fmla="*/ 85249 w 183165"/>
                  <a:gd name="connsiteY26" fmla="*/ 204517 h 206289"/>
                  <a:gd name="connsiteX27" fmla="*/ 102298 w 183165"/>
                  <a:gd name="connsiteY27" fmla="*/ 205946 h 206289"/>
                  <a:gd name="connsiteX28" fmla="*/ 109251 w 183165"/>
                  <a:gd name="connsiteY28" fmla="*/ 206232 h 206289"/>
                  <a:gd name="connsiteX29" fmla="*/ 127540 w 183165"/>
                  <a:gd name="connsiteY29" fmla="*/ 205470 h 206289"/>
                  <a:gd name="connsiteX30" fmla="*/ 177069 w 183165"/>
                  <a:gd name="connsiteY30" fmla="*/ 199659 h 206289"/>
                  <a:gd name="connsiteX31" fmla="*/ 183166 w 183165"/>
                  <a:gd name="connsiteY31" fmla="*/ 193563 h 206289"/>
                  <a:gd name="connsiteX32" fmla="*/ 182689 w 183165"/>
                  <a:gd name="connsiteY32" fmla="*/ 146319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165" h="206289">
                    <a:moveTo>
                      <a:pt x="182689" y="146319"/>
                    </a:moveTo>
                    <a:cubicBezTo>
                      <a:pt x="182689" y="142986"/>
                      <a:pt x="179927" y="140223"/>
                      <a:pt x="176593" y="140223"/>
                    </a:cubicBezTo>
                    <a:lnTo>
                      <a:pt x="160782" y="140223"/>
                    </a:lnTo>
                    <a:cubicBezTo>
                      <a:pt x="157448" y="140223"/>
                      <a:pt x="154686" y="142986"/>
                      <a:pt x="154686" y="146319"/>
                    </a:cubicBezTo>
                    <a:lnTo>
                      <a:pt x="154686" y="148415"/>
                    </a:lnTo>
                    <a:cubicBezTo>
                      <a:pt x="154305" y="157178"/>
                      <a:pt x="143542" y="167465"/>
                      <a:pt x="137922" y="169751"/>
                    </a:cubicBezTo>
                    <a:cubicBezTo>
                      <a:pt x="127730" y="173847"/>
                      <a:pt x="124206" y="173847"/>
                      <a:pt x="109918" y="174323"/>
                    </a:cubicBezTo>
                    <a:cubicBezTo>
                      <a:pt x="109728" y="174323"/>
                      <a:pt x="109538" y="174323"/>
                      <a:pt x="109251" y="174323"/>
                    </a:cubicBezTo>
                    <a:lnTo>
                      <a:pt x="109156" y="174323"/>
                    </a:lnTo>
                    <a:cubicBezTo>
                      <a:pt x="94869" y="173847"/>
                      <a:pt x="91344" y="173847"/>
                      <a:pt x="81153" y="169751"/>
                    </a:cubicBezTo>
                    <a:cubicBezTo>
                      <a:pt x="75438" y="167465"/>
                      <a:pt x="64198" y="155844"/>
                      <a:pt x="60770" y="146700"/>
                    </a:cubicBezTo>
                    <a:cubicBezTo>
                      <a:pt x="58293" y="139652"/>
                      <a:pt x="55054" y="130698"/>
                      <a:pt x="55054" y="101266"/>
                    </a:cubicBezTo>
                    <a:cubicBezTo>
                      <a:pt x="55054" y="71834"/>
                      <a:pt x="57150" y="58213"/>
                      <a:pt x="60770" y="52403"/>
                    </a:cubicBezTo>
                    <a:cubicBezTo>
                      <a:pt x="67246" y="42116"/>
                      <a:pt x="77534" y="31352"/>
                      <a:pt x="101632" y="31352"/>
                    </a:cubicBezTo>
                    <a:cubicBezTo>
                      <a:pt x="125730" y="31352"/>
                      <a:pt x="134493" y="40116"/>
                      <a:pt x="138684" y="45831"/>
                    </a:cubicBezTo>
                    <a:cubicBezTo>
                      <a:pt x="138684" y="45831"/>
                      <a:pt x="145161" y="51165"/>
                      <a:pt x="145542" y="58594"/>
                    </a:cubicBezTo>
                    <a:lnTo>
                      <a:pt x="145542" y="60690"/>
                    </a:lnTo>
                    <a:cubicBezTo>
                      <a:pt x="145542" y="64023"/>
                      <a:pt x="148304" y="66786"/>
                      <a:pt x="151638" y="66786"/>
                    </a:cubicBezTo>
                    <a:lnTo>
                      <a:pt x="167450" y="66786"/>
                    </a:lnTo>
                    <a:cubicBezTo>
                      <a:pt x="170783" y="66786"/>
                      <a:pt x="173545" y="64023"/>
                      <a:pt x="173545" y="60690"/>
                    </a:cubicBezTo>
                    <a:lnTo>
                      <a:pt x="174021" y="13350"/>
                    </a:lnTo>
                    <a:cubicBezTo>
                      <a:pt x="174021" y="13350"/>
                      <a:pt x="174879" y="9921"/>
                      <a:pt x="170688" y="6492"/>
                    </a:cubicBezTo>
                    <a:cubicBezTo>
                      <a:pt x="170688" y="6492"/>
                      <a:pt x="147733" y="-366"/>
                      <a:pt x="109633" y="15"/>
                    </a:cubicBezTo>
                    <a:cubicBezTo>
                      <a:pt x="77914" y="301"/>
                      <a:pt x="52006" y="6873"/>
                      <a:pt x="38576" y="15255"/>
                    </a:cubicBezTo>
                    <a:cubicBezTo>
                      <a:pt x="25241" y="23637"/>
                      <a:pt x="0" y="48117"/>
                      <a:pt x="0" y="98123"/>
                    </a:cubicBezTo>
                    <a:cubicBezTo>
                      <a:pt x="0" y="148129"/>
                      <a:pt x="11049" y="166512"/>
                      <a:pt x="24384" y="179085"/>
                    </a:cubicBezTo>
                    <a:cubicBezTo>
                      <a:pt x="35433" y="189468"/>
                      <a:pt x="51816" y="200326"/>
                      <a:pt x="85249" y="204517"/>
                    </a:cubicBezTo>
                    <a:cubicBezTo>
                      <a:pt x="86296" y="205374"/>
                      <a:pt x="95155" y="205946"/>
                      <a:pt x="102298" y="205946"/>
                    </a:cubicBezTo>
                    <a:cubicBezTo>
                      <a:pt x="104584" y="206041"/>
                      <a:pt x="106870" y="206136"/>
                      <a:pt x="109251" y="206232"/>
                    </a:cubicBezTo>
                    <a:cubicBezTo>
                      <a:pt x="116205" y="206422"/>
                      <a:pt x="122301" y="206136"/>
                      <a:pt x="127540" y="205470"/>
                    </a:cubicBezTo>
                    <a:cubicBezTo>
                      <a:pt x="167640" y="203946"/>
                      <a:pt x="177069" y="199659"/>
                      <a:pt x="177069" y="199659"/>
                    </a:cubicBezTo>
                    <a:cubicBezTo>
                      <a:pt x="180404" y="199659"/>
                      <a:pt x="183166" y="196897"/>
                      <a:pt x="183166" y="193563"/>
                    </a:cubicBezTo>
                    <a:lnTo>
                      <a:pt x="182689" y="146319"/>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3" name="Freeform 52">
                <a:extLst>
                  <a:ext uri="{FF2B5EF4-FFF2-40B4-BE49-F238E27FC236}">
                    <a16:creationId xmlns:a16="http://schemas.microsoft.com/office/drawing/2014/main" id="{B0D12626-87CF-2748-A544-3842A80E2E07}"/>
                  </a:ext>
                </a:extLst>
              </p:cNvPr>
              <p:cNvSpPr/>
              <p:nvPr/>
            </p:nvSpPr>
            <p:spPr>
              <a:xfrm>
                <a:off x="1736261" y="6300670"/>
                <a:ext cx="85049" cy="91322"/>
              </a:xfrm>
              <a:custGeom>
                <a:avLst/>
                <a:gdLst>
                  <a:gd name="connsiteX0" fmla="*/ 191548 w 192119"/>
                  <a:gd name="connsiteY0" fmla="*/ 145843 h 206289"/>
                  <a:gd name="connsiteX1" fmla="*/ 192119 w 192119"/>
                  <a:gd name="connsiteY1" fmla="*/ 144890 h 206289"/>
                  <a:gd name="connsiteX2" fmla="*/ 191643 w 192119"/>
                  <a:gd name="connsiteY2" fmla="*/ 97551 h 206289"/>
                  <a:gd name="connsiteX3" fmla="*/ 185547 w 192119"/>
                  <a:gd name="connsiteY3" fmla="*/ 91455 h 206289"/>
                  <a:gd name="connsiteX4" fmla="*/ 114300 w 192119"/>
                  <a:gd name="connsiteY4" fmla="*/ 91455 h 206289"/>
                  <a:gd name="connsiteX5" fmla="*/ 108204 w 192119"/>
                  <a:gd name="connsiteY5" fmla="*/ 97551 h 206289"/>
                  <a:gd name="connsiteX6" fmla="*/ 108204 w 192119"/>
                  <a:gd name="connsiteY6" fmla="*/ 99647 h 206289"/>
                  <a:gd name="connsiteX7" fmla="*/ 108204 w 192119"/>
                  <a:gd name="connsiteY7" fmla="*/ 116030 h 206289"/>
                  <a:gd name="connsiteX8" fmla="*/ 108204 w 192119"/>
                  <a:gd name="connsiteY8" fmla="*/ 118125 h 206289"/>
                  <a:gd name="connsiteX9" fmla="*/ 114300 w 192119"/>
                  <a:gd name="connsiteY9" fmla="*/ 124221 h 206289"/>
                  <a:gd name="connsiteX10" fmla="*/ 141827 w 192119"/>
                  <a:gd name="connsiteY10" fmla="*/ 124221 h 206289"/>
                  <a:gd name="connsiteX11" fmla="*/ 141827 w 192119"/>
                  <a:gd name="connsiteY11" fmla="*/ 167560 h 206289"/>
                  <a:gd name="connsiteX12" fmla="*/ 138017 w 192119"/>
                  <a:gd name="connsiteY12" fmla="*/ 169751 h 206289"/>
                  <a:gd name="connsiteX13" fmla="*/ 110014 w 192119"/>
                  <a:gd name="connsiteY13" fmla="*/ 174323 h 206289"/>
                  <a:gd name="connsiteX14" fmla="*/ 109347 w 192119"/>
                  <a:gd name="connsiteY14" fmla="*/ 174323 h 206289"/>
                  <a:gd name="connsiteX15" fmla="*/ 109252 w 192119"/>
                  <a:gd name="connsiteY15" fmla="*/ 174323 h 206289"/>
                  <a:gd name="connsiteX16" fmla="*/ 81248 w 192119"/>
                  <a:gd name="connsiteY16" fmla="*/ 169751 h 206289"/>
                  <a:gd name="connsiteX17" fmla="*/ 60769 w 192119"/>
                  <a:gd name="connsiteY17" fmla="*/ 146700 h 206289"/>
                  <a:gd name="connsiteX18" fmla="*/ 55054 w 192119"/>
                  <a:gd name="connsiteY18" fmla="*/ 101266 h 206289"/>
                  <a:gd name="connsiteX19" fmla="*/ 60769 w 192119"/>
                  <a:gd name="connsiteY19" fmla="*/ 52403 h 206289"/>
                  <a:gd name="connsiteX20" fmla="*/ 101632 w 192119"/>
                  <a:gd name="connsiteY20" fmla="*/ 31353 h 206289"/>
                  <a:gd name="connsiteX21" fmla="*/ 138684 w 192119"/>
                  <a:gd name="connsiteY21" fmla="*/ 45831 h 206289"/>
                  <a:gd name="connsiteX22" fmla="*/ 145542 w 192119"/>
                  <a:gd name="connsiteY22" fmla="*/ 58594 h 206289"/>
                  <a:gd name="connsiteX23" fmla="*/ 145542 w 192119"/>
                  <a:gd name="connsiteY23" fmla="*/ 60690 h 206289"/>
                  <a:gd name="connsiteX24" fmla="*/ 151638 w 192119"/>
                  <a:gd name="connsiteY24" fmla="*/ 66786 h 206289"/>
                  <a:gd name="connsiteX25" fmla="*/ 167449 w 192119"/>
                  <a:gd name="connsiteY25" fmla="*/ 66786 h 206289"/>
                  <a:gd name="connsiteX26" fmla="*/ 173546 w 192119"/>
                  <a:gd name="connsiteY26" fmla="*/ 60690 h 206289"/>
                  <a:gd name="connsiteX27" fmla="*/ 174022 w 192119"/>
                  <a:gd name="connsiteY27" fmla="*/ 13350 h 206289"/>
                  <a:gd name="connsiteX28" fmla="*/ 170688 w 192119"/>
                  <a:gd name="connsiteY28" fmla="*/ 6492 h 206289"/>
                  <a:gd name="connsiteX29" fmla="*/ 109633 w 192119"/>
                  <a:gd name="connsiteY29" fmla="*/ 15 h 206289"/>
                  <a:gd name="connsiteX30" fmla="*/ 38576 w 192119"/>
                  <a:gd name="connsiteY30" fmla="*/ 15255 h 206289"/>
                  <a:gd name="connsiteX31" fmla="*/ 0 w 192119"/>
                  <a:gd name="connsiteY31" fmla="*/ 98123 h 206289"/>
                  <a:gd name="connsiteX32" fmla="*/ 24384 w 192119"/>
                  <a:gd name="connsiteY32" fmla="*/ 179085 h 206289"/>
                  <a:gd name="connsiteX33" fmla="*/ 85249 w 192119"/>
                  <a:gd name="connsiteY33" fmla="*/ 204517 h 206289"/>
                  <a:gd name="connsiteX34" fmla="*/ 102298 w 192119"/>
                  <a:gd name="connsiteY34" fmla="*/ 205946 h 206289"/>
                  <a:gd name="connsiteX35" fmla="*/ 109252 w 192119"/>
                  <a:gd name="connsiteY35" fmla="*/ 206232 h 206289"/>
                  <a:gd name="connsiteX36" fmla="*/ 127540 w 192119"/>
                  <a:gd name="connsiteY36" fmla="*/ 205469 h 206289"/>
                  <a:gd name="connsiteX37" fmla="*/ 185928 w 192119"/>
                  <a:gd name="connsiteY37" fmla="*/ 199659 h 206289"/>
                  <a:gd name="connsiteX38" fmla="*/ 192024 w 192119"/>
                  <a:gd name="connsiteY38" fmla="*/ 193563 h 206289"/>
                  <a:gd name="connsiteX39" fmla="*/ 191548 w 192119"/>
                  <a:gd name="connsiteY39" fmla="*/ 146224 h 206289"/>
                  <a:gd name="connsiteX40" fmla="*/ 191548 w 192119"/>
                  <a:gd name="connsiteY40" fmla="*/ 145843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2119" h="206289">
                    <a:moveTo>
                      <a:pt x="191548" y="145843"/>
                    </a:moveTo>
                    <a:lnTo>
                      <a:pt x="192119" y="144890"/>
                    </a:lnTo>
                    <a:lnTo>
                      <a:pt x="191643" y="97551"/>
                    </a:lnTo>
                    <a:cubicBezTo>
                      <a:pt x="191643" y="94218"/>
                      <a:pt x="188881" y="91455"/>
                      <a:pt x="185547" y="91455"/>
                    </a:cubicBezTo>
                    <a:lnTo>
                      <a:pt x="114300" y="91455"/>
                    </a:lnTo>
                    <a:cubicBezTo>
                      <a:pt x="110966" y="91455"/>
                      <a:pt x="108204" y="94218"/>
                      <a:pt x="108204" y="97551"/>
                    </a:cubicBezTo>
                    <a:lnTo>
                      <a:pt x="108204" y="99647"/>
                    </a:lnTo>
                    <a:lnTo>
                      <a:pt x="108204" y="116030"/>
                    </a:lnTo>
                    <a:lnTo>
                      <a:pt x="108204" y="118125"/>
                    </a:lnTo>
                    <a:cubicBezTo>
                      <a:pt x="108204" y="121459"/>
                      <a:pt x="110966" y="124221"/>
                      <a:pt x="114300" y="124221"/>
                    </a:cubicBezTo>
                    <a:lnTo>
                      <a:pt x="141827" y="124221"/>
                    </a:lnTo>
                    <a:lnTo>
                      <a:pt x="141827" y="167560"/>
                    </a:lnTo>
                    <a:cubicBezTo>
                      <a:pt x="140398" y="168513"/>
                      <a:pt x="139160" y="169274"/>
                      <a:pt x="138017" y="169751"/>
                    </a:cubicBezTo>
                    <a:cubicBezTo>
                      <a:pt x="127825" y="173847"/>
                      <a:pt x="124301" y="173847"/>
                      <a:pt x="110014" y="174323"/>
                    </a:cubicBezTo>
                    <a:cubicBezTo>
                      <a:pt x="109823" y="174323"/>
                      <a:pt x="109633" y="174323"/>
                      <a:pt x="109347" y="174323"/>
                    </a:cubicBezTo>
                    <a:lnTo>
                      <a:pt x="109252" y="174323"/>
                    </a:lnTo>
                    <a:cubicBezTo>
                      <a:pt x="94964" y="173847"/>
                      <a:pt x="91440" y="173847"/>
                      <a:pt x="81248" y="169751"/>
                    </a:cubicBezTo>
                    <a:cubicBezTo>
                      <a:pt x="75533" y="167465"/>
                      <a:pt x="64294" y="155844"/>
                      <a:pt x="60769" y="146700"/>
                    </a:cubicBezTo>
                    <a:cubicBezTo>
                      <a:pt x="58293" y="139652"/>
                      <a:pt x="55054" y="130698"/>
                      <a:pt x="55054" y="101266"/>
                    </a:cubicBezTo>
                    <a:cubicBezTo>
                      <a:pt x="55054" y="71834"/>
                      <a:pt x="57150" y="58213"/>
                      <a:pt x="60769" y="52403"/>
                    </a:cubicBezTo>
                    <a:cubicBezTo>
                      <a:pt x="67246" y="42116"/>
                      <a:pt x="77533" y="31353"/>
                      <a:pt x="101632" y="31353"/>
                    </a:cubicBezTo>
                    <a:cubicBezTo>
                      <a:pt x="125730" y="31353"/>
                      <a:pt x="134493" y="40115"/>
                      <a:pt x="138684" y="45831"/>
                    </a:cubicBezTo>
                    <a:cubicBezTo>
                      <a:pt x="138684" y="45831"/>
                      <a:pt x="145161" y="51165"/>
                      <a:pt x="145542" y="58594"/>
                    </a:cubicBezTo>
                    <a:lnTo>
                      <a:pt x="145542" y="60690"/>
                    </a:lnTo>
                    <a:cubicBezTo>
                      <a:pt x="145542" y="64023"/>
                      <a:pt x="148304" y="66786"/>
                      <a:pt x="151638" y="66786"/>
                    </a:cubicBezTo>
                    <a:lnTo>
                      <a:pt x="167449" y="66786"/>
                    </a:lnTo>
                    <a:cubicBezTo>
                      <a:pt x="170783" y="66786"/>
                      <a:pt x="173546" y="64023"/>
                      <a:pt x="173546" y="60690"/>
                    </a:cubicBezTo>
                    <a:lnTo>
                      <a:pt x="174022" y="13350"/>
                    </a:lnTo>
                    <a:cubicBezTo>
                      <a:pt x="174022" y="13350"/>
                      <a:pt x="174879" y="9921"/>
                      <a:pt x="170688" y="6492"/>
                    </a:cubicBezTo>
                    <a:cubicBezTo>
                      <a:pt x="170688" y="6492"/>
                      <a:pt x="147733" y="-366"/>
                      <a:pt x="109633" y="15"/>
                    </a:cubicBezTo>
                    <a:cubicBezTo>
                      <a:pt x="77914" y="301"/>
                      <a:pt x="52006" y="6873"/>
                      <a:pt x="38576" y="15255"/>
                    </a:cubicBezTo>
                    <a:cubicBezTo>
                      <a:pt x="25241" y="23637"/>
                      <a:pt x="0" y="48116"/>
                      <a:pt x="0" y="98123"/>
                    </a:cubicBezTo>
                    <a:cubicBezTo>
                      <a:pt x="0" y="148129"/>
                      <a:pt x="11049" y="166512"/>
                      <a:pt x="24384" y="179085"/>
                    </a:cubicBezTo>
                    <a:cubicBezTo>
                      <a:pt x="35433" y="189468"/>
                      <a:pt x="51911" y="200326"/>
                      <a:pt x="85249" y="204517"/>
                    </a:cubicBezTo>
                    <a:cubicBezTo>
                      <a:pt x="86296" y="205374"/>
                      <a:pt x="95155" y="205946"/>
                      <a:pt x="102298" y="205946"/>
                    </a:cubicBezTo>
                    <a:cubicBezTo>
                      <a:pt x="104584" y="206041"/>
                      <a:pt x="106775" y="206136"/>
                      <a:pt x="109252" y="206232"/>
                    </a:cubicBezTo>
                    <a:cubicBezTo>
                      <a:pt x="116205" y="206422"/>
                      <a:pt x="122301" y="206136"/>
                      <a:pt x="127540" y="205469"/>
                    </a:cubicBezTo>
                    <a:cubicBezTo>
                      <a:pt x="167640" y="203945"/>
                      <a:pt x="185928" y="199659"/>
                      <a:pt x="185928" y="199659"/>
                    </a:cubicBezTo>
                    <a:cubicBezTo>
                      <a:pt x="189262" y="199659"/>
                      <a:pt x="192024" y="196897"/>
                      <a:pt x="192024" y="193563"/>
                    </a:cubicBezTo>
                    <a:lnTo>
                      <a:pt x="191548" y="146224"/>
                    </a:lnTo>
                    <a:cubicBezTo>
                      <a:pt x="191643" y="146224"/>
                      <a:pt x="191643" y="146034"/>
                      <a:pt x="191548" y="145843"/>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4" name="Freeform 53">
                <a:extLst>
                  <a:ext uri="{FF2B5EF4-FFF2-40B4-BE49-F238E27FC236}">
                    <a16:creationId xmlns:a16="http://schemas.microsoft.com/office/drawing/2014/main" id="{71DCB3F2-6919-E347-8734-70713DB45D80}"/>
                  </a:ext>
                </a:extLst>
              </p:cNvPr>
              <p:cNvSpPr/>
              <p:nvPr/>
            </p:nvSpPr>
            <p:spPr>
              <a:xfrm>
                <a:off x="1307600" y="6300761"/>
                <a:ext cx="96096" cy="91247"/>
              </a:xfrm>
              <a:custGeom>
                <a:avLst/>
                <a:gdLst>
                  <a:gd name="connsiteX0" fmla="*/ 178403 w 217074"/>
                  <a:gd name="connsiteY0" fmla="*/ 15240 h 206120"/>
                  <a:gd name="connsiteX1" fmla="*/ 111157 w 217074"/>
                  <a:gd name="connsiteY1" fmla="*/ 95 h 206120"/>
                  <a:gd name="connsiteX2" fmla="*/ 111157 w 217074"/>
                  <a:gd name="connsiteY2" fmla="*/ 0 h 206120"/>
                  <a:gd name="connsiteX3" fmla="*/ 105823 w 217074"/>
                  <a:gd name="connsiteY3" fmla="*/ 0 h 206120"/>
                  <a:gd name="connsiteX4" fmla="*/ 105823 w 217074"/>
                  <a:gd name="connsiteY4" fmla="*/ 95 h 206120"/>
                  <a:gd name="connsiteX5" fmla="*/ 38576 w 217074"/>
                  <a:gd name="connsiteY5" fmla="*/ 15240 h 206120"/>
                  <a:gd name="connsiteX6" fmla="*/ 0 w 217074"/>
                  <a:gd name="connsiteY6" fmla="*/ 98108 h 206120"/>
                  <a:gd name="connsiteX7" fmla="*/ 24479 w 217074"/>
                  <a:gd name="connsiteY7" fmla="*/ 179070 h 206120"/>
                  <a:gd name="connsiteX8" fmla="*/ 85344 w 217074"/>
                  <a:gd name="connsiteY8" fmla="*/ 204502 h 206120"/>
                  <a:gd name="connsiteX9" fmla="*/ 102394 w 217074"/>
                  <a:gd name="connsiteY9" fmla="*/ 205931 h 206120"/>
                  <a:gd name="connsiteX10" fmla="*/ 111252 w 217074"/>
                  <a:gd name="connsiteY10" fmla="*/ 206121 h 206120"/>
                  <a:gd name="connsiteX11" fmla="*/ 131731 w 217074"/>
                  <a:gd name="connsiteY11" fmla="*/ 204502 h 206120"/>
                  <a:gd name="connsiteX12" fmla="*/ 192596 w 217074"/>
                  <a:gd name="connsiteY12" fmla="*/ 179070 h 206120"/>
                  <a:gd name="connsiteX13" fmla="*/ 217075 w 217074"/>
                  <a:gd name="connsiteY13" fmla="*/ 98108 h 206120"/>
                  <a:gd name="connsiteX14" fmla="*/ 178403 w 217074"/>
                  <a:gd name="connsiteY14" fmla="*/ 15240 h 206120"/>
                  <a:gd name="connsiteX15" fmla="*/ 156210 w 217074"/>
                  <a:gd name="connsiteY15" fmla="*/ 146590 h 206120"/>
                  <a:gd name="connsiteX16" fmla="*/ 135826 w 217074"/>
                  <a:gd name="connsiteY16" fmla="*/ 169640 h 206120"/>
                  <a:gd name="connsiteX17" fmla="*/ 108490 w 217074"/>
                  <a:gd name="connsiteY17" fmla="*/ 174212 h 206120"/>
                  <a:gd name="connsiteX18" fmla="*/ 81153 w 217074"/>
                  <a:gd name="connsiteY18" fmla="*/ 169640 h 206120"/>
                  <a:gd name="connsiteX19" fmla="*/ 60770 w 217074"/>
                  <a:gd name="connsiteY19" fmla="*/ 146590 h 206120"/>
                  <a:gd name="connsiteX20" fmla="*/ 55054 w 217074"/>
                  <a:gd name="connsiteY20" fmla="*/ 101156 h 206120"/>
                  <a:gd name="connsiteX21" fmla="*/ 60770 w 217074"/>
                  <a:gd name="connsiteY21" fmla="*/ 52292 h 206120"/>
                  <a:gd name="connsiteX22" fmla="*/ 101632 w 217074"/>
                  <a:gd name="connsiteY22" fmla="*/ 31242 h 206120"/>
                  <a:gd name="connsiteX23" fmla="*/ 115348 w 217074"/>
                  <a:gd name="connsiteY23" fmla="*/ 31242 h 206120"/>
                  <a:gd name="connsiteX24" fmla="*/ 156210 w 217074"/>
                  <a:gd name="connsiteY24" fmla="*/ 52292 h 206120"/>
                  <a:gd name="connsiteX25" fmla="*/ 161925 w 217074"/>
                  <a:gd name="connsiteY25" fmla="*/ 101156 h 206120"/>
                  <a:gd name="connsiteX26" fmla="*/ 156210 w 217074"/>
                  <a:gd name="connsiteY26" fmla="*/ 146590 h 20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74" h="206120">
                    <a:moveTo>
                      <a:pt x="178403" y="15240"/>
                    </a:moveTo>
                    <a:cubicBezTo>
                      <a:pt x="165545" y="7144"/>
                      <a:pt x="141160" y="857"/>
                      <a:pt x="111157" y="95"/>
                    </a:cubicBezTo>
                    <a:lnTo>
                      <a:pt x="111157" y="0"/>
                    </a:lnTo>
                    <a:cubicBezTo>
                      <a:pt x="110680" y="0"/>
                      <a:pt x="106299" y="0"/>
                      <a:pt x="105823" y="0"/>
                    </a:cubicBezTo>
                    <a:lnTo>
                      <a:pt x="105823" y="95"/>
                    </a:lnTo>
                    <a:cubicBezTo>
                      <a:pt x="75819" y="857"/>
                      <a:pt x="51435" y="7239"/>
                      <a:pt x="38576" y="15240"/>
                    </a:cubicBezTo>
                    <a:cubicBezTo>
                      <a:pt x="25241" y="23622"/>
                      <a:pt x="0" y="48101"/>
                      <a:pt x="0" y="98108"/>
                    </a:cubicBezTo>
                    <a:cubicBezTo>
                      <a:pt x="0" y="148114"/>
                      <a:pt x="11049" y="166497"/>
                      <a:pt x="24479" y="179070"/>
                    </a:cubicBezTo>
                    <a:cubicBezTo>
                      <a:pt x="35433" y="189452"/>
                      <a:pt x="51911" y="200311"/>
                      <a:pt x="85344" y="204502"/>
                    </a:cubicBezTo>
                    <a:cubicBezTo>
                      <a:pt x="86392" y="205359"/>
                      <a:pt x="95250" y="205931"/>
                      <a:pt x="102394" y="205931"/>
                    </a:cubicBezTo>
                    <a:cubicBezTo>
                      <a:pt x="103537" y="206026"/>
                      <a:pt x="111252" y="206121"/>
                      <a:pt x="111252" y="206121"/>
                    </a:cubicBezTo>
                    <a:cubicBezTo>
                      <a:pt x="112395" y="206121"/>
                      <a:pt x="130683" y="205359"/>
                      <a:pt x="131731" y="204502"/>
                    </a:cubicBezTo>
                    <a:cubicBezTo>
                      <a:pt x="165068" y="200311"/>
                      <a:pt x="181546" y="189452"/>
                      <a:pt x="192596" y="179070"/>
                    </a:cubicBezTo>
                    <a:cubicBezTo>
                      <a:pt x="205930" y="166497"/>
                      <a:pt x="217075" y="148114"/>
                      <a:pt x="217075" y="98108"/>
                    </a:cubicBezTo>
                    <a:cubicBezTo>
                      <a:pt x="216979" y="48101"/>
                      <a:pt x="191738" y="23622"/>
                      <a:pt x="178403" y="15240"/>
                    </a:cubicBezTo>
                    <a:close/>
                    <a:moveTo>
                      <a:pt x="156210" y="146590"/>
                    </a:moveTo>
                    <a:cubicBezTo>
                      <a:pt x="152781" y="155734"/>
                      <a:pt x="141446" y="167354"/>
                      <a:pt x="135826" y="169640"/>
                    </a:cubicBezTo>
                    <a:cubicBezTo>
                      <a:pt x="125825" y="173641"/>
                      <a:pt x="122206" y="173736"/>
                      <a:pt x="108490" y="174212"/>
                    </a:cubicBezTo>
                    <a:cubicBezTo>
                      <a:pt x="94869" y="173736"/>
                      <a:pt x="91154" y="173641"/>
                      <a:pt x="81153" y="169640"/>
                    </a:cubicBezTo>
                    <a:cubicBezTo>
                      <a:pt x="75438" y="167354"/>
                      <a:pt x="64198" y="155734"/>
                      <a:pt x="60770" y="146590"/>
                    </a:cubicBezTo>
                    <a:cubicBezTo>
                      <a:pt x="58293" y="139541"/>
                      <a:pt x="55054" y="130588"/>
                      <a:pt x="55054" y="101156"/>
                    </a:cubicBezTo>
                    <a:cubicBezTo>
                      <a:pt x="55054" y="71723"/>
                      <a:pt x="57150" y="58103"/>
                      <a:pt x="60770" y="52292"/>
                    </a:cubicBezTo>
                    <a:cubicBezTo>
                      <a:pt x="67246" y="42005"/>
                      <a:pt x="77533" y="31242"/>
                      <a:pt x="101632" y="31242"/>
                    </a:cubicBezTo>
                    <a:cubicBezTo>
                      <a:pt x="103060" y="31242"/>
                      <a:pt x="113919" y="31242"/>
                      <a:pt x="115348" y="31242"/>
                    </a:cubicBezTo>
                    <a:cubicBezTo>
                      <a:pt x="143161" y="31147"/>
                      <a:pt x="149733" y="41910"/>
                      <a:pt x="156210" y="52292"/>
                    </a:cubicBezTo>
                    <a:cubicBezTo>
                      <a:pt x="159829" y="58103"/>
                      <a:pt x="161925" y="71723"/>
                      <a:pt x="161925" y="101156"/>
                    </a:cubicBezTo>
                    <a:cubicBezTo>
                      <a:pt x="161925" y="130588"/>
                      <a:pt x="158687" y="139541"/>
                      <a:pt x="156210" y="14659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5" name="Freeform 54">
                <a:extLst>
                  <a:ext uri="{FF2B5EF4-FFF2-40B4-BE49-F238E27FC236}">
                    <a16:creationId xmlns:a16="http://schemas.microsoft.com/office/drawing/2014/main" id="{20EC2D6C-E64C-6249-86FF-54C68A6DCD64}"/>
                  </a:ext>
                </a:extLst>
              </p:cNvPr>
              <p:cNvSpPr/>
              <p:nvPr/>
            </p:nvSpPr>
            <p:spPr>
              <a:xfrm>
                <a:off x="1215214" y="6440331"/>
                <a:ext cx="73917" cy="70291"/>
              </a:xfrm>
              <a:custGeom>
                <a:avLst/>
                <a:gdLst>
                  <a:gd name="connsiteX0" fmla="*/ 137160 w 166973"/>
                  <a:gd name="connsiteY0" fmla="*/ 11811 h 158781"/>
                  <a:gd name="connsiteX1" fmla="*/ 85439 w 166973"/>
                  <a:gd name="connsiteY1" fmla="*/ 95 h 158781"/>
                  <a:gd name="connsiteX2" fmla="*/ 85439 w 166973"/>
                  <a:gd name="connsiteY2" fmla="*/ 0 h 158781"/>
                  <a:gd name="connsiteX3" fmla="*/ 84296 w 166973"/>
                  <a:gd name="connsiteY3" fmla="*/ 0 h 158781"/>
                  <a:gd name="connsiteX4" fmla="*/ 83439 w 166973"/>
                  <a:gd name="connsiteY4" fmla="*/ 0 h 158781"/>
                  <a:gd name="connsiteX5" fmla="*/ 82582 w 166973"/>
                  <a:gd name="connsiteY5" fmla="*/ 0 h 158781"/>
                  <a:gd name="connsiteX6" fmla="*/ 81439 w 166973"/>
                  <a:gd name="connsiteY6" fmla="*/ 0 h 158781"/>
                  <a:gd name="connsiteX7" fmla="*/ 81439 w 166973"/>
                  <a:gd name="connsiteY7" fmla="*/ 95 h 158781"/>
                  <a:gd name="connsiteX8" fmla="*/ 29718 w 166973"/>
                  <a:gd name="connsiteY8" fmla="*/ 11811 h 158781"/>
                  <a:gd name="connsiteX9" fmla="*/ 0 w 166973"/>
                  <a:gd name="connsiteY9" fmla="*/ 75629 h 158781"/>
                  <a:gd name="connsiteX10" fmla="*/ 18859 w 166973"/>
                  <a:gd name="connsiteY10" fmla="*/ 137922 h 158781"/>
                  <a:gd name="connsiteX11" fmla="*/ 65722 w 166973"/>
                  <a:gd name="connsiteY11" fmla="*/ 157448 h 158781"/>
                  <a:gd name="connsiteX12" fmla="*/ 78867 w 166973"/>
                  <a:gd name="connsiteY12" fmla="*/ 158591 h 158781"/>
                  <a:gd name="connsiteX13" fmla="*/ 81534 w 166973"/>
                  <a:gd name="connsiteY13" fmla="*/ 158687 h 158781"/>
                  <a:gd name="connsiteX14" fmla="*/ 81534 w 166973"/>
                  <a:gd name="connsiteY14" fmla="*/ 158782 h 158781"/>
                  <a:gd name="connsiteX15" fmla="*/ 82963 w 166973"/>
                  <a:gd name="connsiteY15" fmla="*/ 158782 h 158781"/>
                  <a:gd name="connsiteX16" fmla="*/ 83534 w 166973"/>
                  <a:gd name="connsiteY16" fmla="*/ 158782 h 158781"/>
                  <a:gd name="connsiteX17" fmla="*/ 84106 w 166973"/>
                  <a:gd name="connsiteY17" fmla="*/ 158782 h 158781"/>
                  <a:gd name="connsiteX18" fmla="*/ 85534 w 166973"/>
                  <a:gd name="connsiteY18" fmla="*/ 158782 h 158781"/>
                  <a:gd name="connsiteX19" fmla="*/ 85534 w 166973"/>
                  <a:gd name="connsiteY19" fmla="*/ 158687 h 158781"/>
                  <a:gd name="connsiteX20" fmla="*/ 88201 w 166973"/>
                  <a:gd name="connsiteY20" fmla="*/ 158591 h 158781"/>
                  <a:gd name="connsiteX21" fmla="*/ 101251 w 166973"/>
                  <a:gd name="connsiteY21" fmla="*/ 157448 h 158781"/>
                  <a:gd name="connsiteX22" fmla="*/ 148114 w 166973"/>
                  <a:gd name="connsiteY22" fmla="*/ 137922 h 158781"/>
                  <a:gd name="connsiteX23" fmla="*/ 166973 w 166973"/>
                  <a:gd name="connsiteY23" fmla="*/ 75629 h 158781"/>
                  <a:gd name="connsiteX24" fmla="*/ 137160 w 166973"/>
                  <a:gd name="connsiteY24" fmla="*/ 11811 h 158781"/>
                  <a:gd name="connsiteX25" fmla="*/ 120110 w 166973"/>
                  <a:gd name="connsiteY25" fmla="*/ 112967 h 158781"/>
                  <a:gd name="connsiteX26" fmla="*/ 104394 w 166973"/>
                  <a:gd name="connsiteY26" fmla="*/ 130683 h 158781"/>
                  <a:gd name="connsiteX27" fmla="*/ 83344 w 166973"/>
                  <a:gd name="connsiteY27" fmla="*/ 134207 h 158781"/>
                  <a:gd name="connsiteX28" fmla="*/ 62294 w 166973"/>
                  <a:gd name="connsiteY28" fmla="*/ 130683 h 158781"/>
                  <a:gd name="connsiteX29" fmla="*/ 46577 w 166973"/>
                  <a:gd name="connsiteY29" fmla="*/ 112967 h 158781"/>
                  <a:gd name="connsiteX30" fmla="*/ 42196 w 166973"/>
                  <a:gd name="connsiteY30" fmla="*/ 78010 h 158781"/>
                  <a:gd name="connsiteX31" fmla="*/ 46577 w 166973"/>
                  <a:gd name="connsiteY31" fmla="*/ 40386 h 158781"/>
                  <a:gd name="connsiteX32" fmla="*/ 78010 w 166973"/>
                  <a:gd name="connsiteY32" fmla="*/ 24193 h 158781"/>
                  <a:gd name="connsiteX33" fmla="*/ 81248 w 166973"/>
                  <a:gd name="connsiteY33" fmla="*/ 24289 h 158781"/>
                  <a:gd name="connsiteX34" fmla="*/ 81248 w 166973"/>
                  <a:gd name="connsiteY34" fmla="*/ 24575 h 158781"/>
                  <a:gd name="connsiteX35" fmla="*/ 83344 w 166973"/>
                  <a:gd name="connsiteY35" fmla="*/ 24384 h 158781"/>
                  <a:gd name="connsiteX36" fmla="*/ 85439 w 166973"/>
                  <a:gd name="connsiteY36" fmla="*/ 24575 h 158781"/>
                  <a:gd name="connsiteX37" fmla="*/ 85439 w 166973"/>
                  <a:gd name="connsiteY37" fmla="*/ 24289 h 158781"/>
                  <a:gd name="connsiteX38" fmla="*/ 88678 w 166973"/>
                  <a:gd name="connsiteY38" fmla="*/ 24193 h 158781"/>
                  <a:gd name="connsiteX39" fmla="*/ 120110 w 166973"/>
                  <a:gd name="connsiteY39" fmla="*/ 40386 h 158781"/>
                  <a:gd name="connsiteX40" fmla="*/ 124492 w 166973"/>
                  <a:gd name="connsiteY40" fmla="*/ 78010 h 158781"/>
                  <a:gd name="connsiteX41" fmla="*/ 120110 w 166973"/>
                  <a:gd name="connsiteY41" fmla="*/ 112967 h 15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973" h="158781">
                    <a:moveTo>
                      <a:pt x="137160" y="11811"/>
                    </a:moveTo>
                    <a:cubicBezTo>
                      <a:pt x="127254" y="5620"/>
                      <a:pt x="108490" y="762"/>
                      <a:pt x="85439" y="95"/>
                    </a:cubicBezTo>
                    <a:lnTo>
                      <a:pt x="85439" y="0"/>
                    </a:lnTo>
                    <a:cubicBezTo>
                      <a:pt x="85058" y="0"/>
                      <a:pt x="84677" y="0"/>
                      <a:pt x="84296" y="0"/>
                    </a:cubicBezTo>
                    <a:cubicBezTo>
                      <a:pt x="84011" y="0"/>
                      <a:pt x="83725" y="0"/>
                      <a:pt x="83439" y="0"/>
                    </a:cubicBezTo>
                    <a:cubicBezTo>
                      <a:pt x="83153" y="0"/>
                      <a:pt x="82867" y="0"/>
                      <a:pt x="82582" y="0"/>
                    </a:cubicBezTo>
                    <a:cubicBezTo>
                      <a:pt x="82201" y="0"/>
                      <a:pt x="81820" y="0"/>
                      <a:pt x="81439" y="0"/>
                    </a:cubicBezTo>
                    <a:lnTo>
                      <a:pt x="81439" y="95"/>
                    </a:lnTo>
                    <a:cubicBezTo>
                      <a:pt x="58388" y="667"/>
                      <a:pt x="39529" y="5620"/>
                      <a:pt x="29718" y="11811"/>
                    </a:cubicBezTo>
                    <a:cubicBezTo>
                      <a:pt x="19431" y="18288"/>
                      <a:pt x="0" y="37052"/>
                      <a:pt x="0" y="75629"/>
                    </a:cubicBezTo>
                    <a:cubicBezTo>
                      <a:pt x="0" y="114109"/>
                      <a:pt x="8572" y="128302"/>
                      <a:pt x="18859" y="137922"/>
                    </a:cubicBezTo>
                    <a:cubicBezTo>
                      <a:pt x="27337" y="145923"/>
                      <a:pt x="40005" y="154305"/>
                      <a:pt x="65722" y="157448"/>
                    </a:cubicBezTo>
                    <a:cubicBezTo>
                      <a:pt x="66580" y="158115"/>
                      <a:pt x="73342" y="158591"/>
                      <a:pt x="78867" y="158591"/>
                    </a:cubicBezTo>
                    <a:cubicBezTo>
                      <a:pt x="79724" y="158591"/>
                      <a:pt x="80677" y="158687"/>
                      <a:pt x="81534" y="158687"/>
                    </a:cubicBezTo>
                    <a:lnTo>
                      <a:pt x="81534" y="158782"/>
                    </a:lnTo>
                    <a:cubicBezTo>
                      <a:pt x="82010" y="158782"/>
                      <a:pt x="82487" y="158782"/>
                      <a:pt x="82963" y="158782"/>
                    </a:cubicBezTo>
                    <a:cubicBezTo>
                      <a:pt x="83153" y="158782"/>
                      <a:pt x="83344" y="158782"/>
                      <a:pt x="83534" y="158782"/>
                    </a:cubicBezTo>
                    <a:cubicBezTo>
                      <a:pt x="83725" y="158782"/>
                      <a:pt x="83915" y="158782"/>
                      <a:pt x="84106" y="158782"/>
                    </a:cubicBezTo>
                    <a:cubicBezTo>
                      <a:pt x="84582" y="158782"/>
                      <a:pt x="85058" y="158782"/>
                      <a:pt x="85534" y="158782"/>
                    </a:cubicBezTo>
                    <a:lnTo>
                      <a:pt x="85534" y="158687"/>
                    </a:lnTo>
                    <a:cubicBezTo>
                      <a:pt x="86392" y="158687"/>
                      <a:pt x="87344" y="158591"/>
                      <a:pt x="88201" y="158591"/>
                    </a:cubicBezTo>
                    <a:cubicBezTo>
                      <a:pt x="93631" y="158591"/>
                      <a:pt x="100489" y="158115"/>
                      <a:pt x="101251" y="157448"/>
                    </a:cubicBezTo>
                    <a:cubicBezTo>
                      <a:pt x="126968" y="154210"/>
                      <a:pt x="139637" y="145828"/>
                      <a:pt x="148114" y="137922"/>
                    </a:cubicBezTo>
                    <a:cubicBezTo>
                      <a:pt x="158401" y="128207"/>
                      <a:pt x="166973" y="114109"/>
                      <a:pt x="166973" y="75629"/>
                    </a:cubicBezTo>
                    <a:cubicBezTo>
                      <a:pt x="166878" y="37052"/>
                      <a:pt x="147447" y="18288"/>
                      <a:pt x="137160" y="11811"/>
                    </a:cubicBezTo>
                    <a:close/>
                    <a:moveTo>
                      <a:pt x="120110" y="112967"/>
                    </a:moveTo>
                    <a:cubicBezTo>
                      <a:pt x="117443" y="120015"/>
                      <a:pt x="108775" y="128968"/>
                      <a:pt x="104394" y="130683"/>
                    </a:cubicBezTo>
                    <a:cubicBezTo>
                      <a:pt x="96679" y="133731"/>
                      <a:pt x="93916" y="133826"/>
                      <a:pt x="83344" y="134207"/>
                    </a:cubicBezTo>
                    <a:cubicBezTo>
                      <a:pt x="72866" y="133826"/>
                      <a:pt x="70009" y="133826"/>
                      <a:pt x="62294" y="130683"/>
                    </a:cubicBezTo>
                    <a:cubicBezTo>
                      <a:pt x="57912" y="128968"/>
                      <a:pt x="49244" y="120015"/>
                      <a:pt x="46577" y="112967"/>
                    </a:cubicBezTo>
                    <a:cubicBezTo>
                      <a:pt x="44672" y="107537"/>
                      <a:pt x="42196" y="100584"/>
                      <a:pt x="42196" y="78010"/>
                    </a:cubicBezTo>
                    <a:cubicBezTo>
                      <a:pt x="42196" y="55340"/>
                      <a:pt x="43815" y="44863"/>
                      <a:pt x="46577" y="40386"/>
                    </a:cubicBezTo>
                    <a:cubicBezTo>
                      <a:pt x="51530" y="32480"/>
                      <a:pt x="59531" y="24193"/>
                      <a:pt x="78010" y="24193"/>
                    </a:cubicBezTo>
                    <a:cubicBezTo>
                      <a:pt x="79153" y="24193"/>
                      <a:pt x="80200" y="24193"/>
                      <a:pt x="81248" y="24289"/>
                    </a:cubicBezTo>
                    <a:lnTo>
                      <a:pt x="81248" y="24575"/>
                    </a:lnTo>
                    <a:cubicBezTo>
                      <a:pt x="81915" y="24479"/>
                      <a:pt x="82582" y="24479"/>
                      <a:pt x="83344" y="24384"/>
                    </a:cubicBezTo>
                    <a:cubicBezTo>
                      <a:pt x="84011" y="24479"/>
                      <a:pt x="84772" y="24479"/>
                      <a:pt x="85439" y="24575"/>
                    </a:cubicBezTo>
                    <a:lnTo>
                      <a:pt x="85439" y="24289"/>
                    </a:lnTo>
                    <a:cubicBezTo>
                      <a:pt x="86487" y="24193"/>
                      <a:pt x="87535" y="24193"/>
                      <a:pt x="88678" y="24193"/>
                    </a:cubicBezTo>
                    <a:cubicBezTo>
                      <a:pt x="107156" y="24193"/>
                      <a:pt x="115157" y="32385"/>
                      <a:pt x="120110" y="40386"/>
                    </a:cubicBezTo>
                    <a:cubicBezTo>
                      <a:pt x="122968" y="44863"/>
                      <a:pt x="124492" y="55340"/>
                      <a:pt x="124492" y="78010"/>
                    </a:cubicBezTo>
                    <a:cubicBezTo>
                      <a:pt x="124492" y="100584"/>
                      <a:pt x="122015" y="107537"/>
                      <a:pt x="120110" y="11296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6" name="Freeform 55">
                <a:extLst>
                  <a:ext uri="{FF2B5EF4-FFF2-40B4-BE49-F238E27FC236}">
                    <a16:creationId xmlns:a16="http://schemas.microsoft.com/office/drawing/2014/main" id="{7808128D-EC63-0849-85FE-34BEB29BAA63}"/>
                  </a:ext>
                </a:extLst>
              </p:cNvPr>
              <p:cNvSpPr/>
              <p:nvPr/>
            </p:nvSpPr>
            <p:spPr>
              <a:xfrm>
                <a:off x="1830333" y="6302911"/>
                <a:ext cx="37992" cy="86904"/>
              </a:xfrm>
              <a:custGeom>
                <a:avLst/>
                <a:gdLst>
                  <a:gd name="connsiteX0" fmla="*/ 85439 w 85820"/>
                  <a:gd name="connsiteY0" fmla="*/ 168592 h 196310"/>
                  <a:gd name="connsiteX1" fmla="*/ 83534 w 85820"/>
                  <a:gd name="connsiteY1" fmla="*/ 167830 h 196310"/>
                  <a:gd name="connsiteX2" fmla="*/ 64484 w 85820"/>
                  <a:gd name="connsiteY2" fmla="*/ 157067 h 196310"/>
                  <a:gd name="connsiteX3" fmla="*/ 64484 w 85820"/>
                  <a:gd name="connsiteY3" fmla="*/ 114586 h 196310"/>
                  <a:gd name="connsiteX4" fmla="*/ 64484 w 85820"/>
                  <a:gd name="connsiteY4" fmla="*/ 83248 h 196310"/>
                  <a:gd name="connsiteX5" fmla="*/ 64484 w 85820"/>
                  <a:gd name="connsiteY5" fmla="*/ 39243 h 196310"/>
                  <a:gd name="connsiteX6" fmla="*/ 83534 w 85820"/>
                  <a:gd name="connsiteY6" fmla="*/ 28480 h 196310"/>
                  <a:gd name="connsiteX7" fmla="*/ 85439 w 85820"/>
                  <a:gd name="connsiteY7" fmla="*/ 27718 h 196310"/>
                  <a:gd name="connsiteX8" fmla="*/ 85820 w 85820"/>
                  <a:gd name="connsiteY8" fmla="*/ 25813 h 196310"/>
                  <a:gd name="connsiteX9" fmla="*/ 85630 w 85820"/>
                  <a:gd name="connsiteY9" fmla="*/ 1810 h 196310"/>
                  <a:gd name="connsiteX10" fmla="*/ 83820 w 85820"/>
                  <a:gd name="connsiteY10" fmla="*/ 0 h 196310"/>
                  <a:gd name="connsiteX11" fmla="*/ 2000 w 85820"/>
                  <a:gd name="connsiteY11" fmla="*/ 0 h 196310"/>
                  <a:gd name="connsiteX12" fmla="*/ 190 w 85820"/>
                  <a:gd name="connsiteY12" fmla="*/ 1810 h 196310"/>
                  <a:gd name="connsiteX13" fmla="*/ 0 w 85820"/>
                  <a:gd name="connsiteY13" fmla="*/ 25813 h 196310"/>
                  <a:gd name="connsiteX14" fmla="*/ 381 w 85820"/>
                  <a:gd name="connsiteY14" fmla="*/ 27718 h 196310"/>
                  <a:gd name="connsiteX15" fmla="*/ 2286 w 85820"/>
                  <a:gd name="connsiteY15" fmla="*/ 28480 h 196310"/>
                  <a:gd name="connsiteX16" fmla="*/ 21336 w 85820"/>
                  <a:gd name="connsiteY16" fmla="*/ 39243 h 196310"/>
                  <a:gd name="connsiteX17" fmla="*/ 21336 w 85820"/>
                  <a:gd name="connsiteY17" fmla="*/ 83248 h 196310"/>
                  <a:gd name="connsiteX18" fmla="*/ 21336 w 85820"/>
                  <a:gd name="connsiteY18" fmla="*/ 114586 h 196310"/>
                  <a:gd name="connsiteX19" fmla="*/ 21336 w 85820"/>
                  <a:gd name="connsiteY19" fmla="*/ 157067 h 196310"/>
                  <a:gd name="connsiteX20" fmla="*/ 2286 w 85820"/>
                  <a:gd name="connsiteY20" fmla="*/ 167830 h 196310"/>
                  <a:gd name="connsiteX21" fmla="*/ 381 w 85820"/>
                  <a:gd name="connsiteY21" fmla="*/ 168592 h 196310"/>
                  <a:gd name="connsiteX22" fmla="*/ 0 w 85820"/>
                  <a:gd name="connsiteY22" fmla="*/ 170497 h 196310"/>
                  <a:gd name="connsiteX23" fmla="*/ 190 w 85820"/>
                  <a:gd name="connsiteY23" fmla="*/ 194500 h 196310"/>
                  <a:gd name="connsiteX24" fmla="*/ 2000 w 85820"/>
                  <a:gd name="connsiteY24" fmla="*/ 196310 h 196310"/>
                  <a:gd name="connsiteX25" fmla="*/ 83820 w 85820"/>
                  <a:gd name="connsiteY25" fmla="*/ 196310 h 196310"/>
                  <a:gd name="connsiteX26" fmla="*/ 85630 w 85820"/>
                  <a:gd name="connsiteY26" fmla="*/ 194500 h 196310"/>
                  <a:gd name="connsiteX27" fmla="*/ 85820 w 85820"/>
                  <a:gd name="connsiteY27" fmla="*/ 170497 h 196310"/>
                  <a:gd name="connsiteX28" fmla="*/ 85439 w 85820"/>
                  <a:gd name="connsiteY28" fmla="*/ 168592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820" h="196310">
                    <a:moveTo>
                      <a:pt x="85439" y="168592"/>
                    </a:moveTo>
                    <a:cubicBezTo>
                      <a:pt x="84868" y="167735"/>
                      <a:pt x="83534" y="167830"/>
                      <a:pt x="83534" y="167830"/>
                    </a:cubicBezTo>
                    <a:cubicBezTo>
                      <a:pt x="75247" y="166497"/>
                      <a:pt x="64484" y="161734"/>
                      <a:pt x="64484" y="157067"/>
                    </a:cubicBezTo>
                    <a:lnTo>
                      <a:pt x="64484" y="114586"/>
                    </a:lnTo>
                    <a:lnTo>
                      <a:pt x="64484" y="83248"/>
                    </a:lnTo>
                    <a:lnTo>
                      <a:pt x="64484" y="39243"/>
                    </a:lnTo>
                    <a:cubicBezTo>
                      <a:pt x="64484" y="34576"/>
                      <a:pt x="75343" y="29813"/>
                      <a:pt x="83534" y="28480"/>
                    </a:cubicBezTo>
                    <a:cubicBezTo>
                      <a:pt x="83534" y="28480"/>
                      <a:pt x="84868" y="28575"/>
                      <a:pt x="85439" y="27718"/>
                    </a:cubicBezTo>
                    <a:cubicBezTo>
                      <a:pt x="86011" y="26860"/>
                      <a:pt x="85725" y="25813"/>
                      <a:pt x="85820" y="25813"/>
                    </a:cubicBezTo>
                    <a:lnTo>
                      <a:pt x="85630" y="1810"/>
                    </a:lnTo>
                    <a:cubicBezTo>
                      <a:pt x="85630" y="762"/>
                      <a:pt x="84772" y="0"/>
                      <a:pt x="83820" y="0"/>
                    </a:cubicBezTo>
                    <a:lnTo>
                      <a:pt x="2000" y="0"/>
                    </a:lnTo>
                    <a:cubicBezTo>
                      <a:pt x="952" y="0"/>
                      <a:pt x="190" y="857"/>
                      <a:pt x="190" y="1810"/>
                    </a:cubicBezTo>
                    <a:lnTo>
                      <a:pt x="0" y="25813"/>
                    </a:lnTo>
                    <a:cubicBezTo>
                      <a:pt x="95" y="25813"/>
                      <a:pt x="-191" y="26860"/>
                      <a:pt x="381" y="27718"/>
                    </a:cubicBezTo>
                    <a:cubicBezTo>
                      <a:pt x="952" y="28575"/>
                      <a:pt x="2286" y="28480"/>
                      <a:pt x="2286" y="28480"/>
                    </a:cubicBezTo>
                    <a:cubicBezTo>
                      <a:pt x="10573" y="29813"/>
                      <a:pt x="21336" y="34576"/>
                      <a:pt x="21336" y="39243"/>
                    </a:cubicBezTo>
                    <a:lnTo>
                      <a:pt x="21336" y="83248"/>
                    </a:lnTo>
                    <a:lnTo>
                      <a:pt x="21336" y="114586"/>
                    </a:lnTo>
                    <a:lnTo>
                      <a:pt x="21336" y="157067"/>
                    </a:lnTo>
                    <a:cubicBezTo>
                      <a:pt x="21336" y="161734"/>
                      <a:pt x="10477" y="166497"/>
                      <a:pt x="2286" y="167830"/>
                    </a:cubicBezTo>
                    <a:cubicBezTo>
                      <a:pt x="2286" y="167830"/>
                      <a:pt x="952" y="167735"/>
                      <a:pt x="381" y="168592"/>
                    </a:cubicBezTo>
                    <a:cubicBezTo>
                      <a:pt x="-191" y="169450"/>
                      <a:pt x="95" y="170497"/>
                      <a:pt x="0" y="170497"/>
                    </a:cubicBezTo>
                    <a:lnTo>
                      <a:pt x="190" y="194500"/>
                    </a:lnTo>
                    <a:cubicBezTo>
                      <a:pt x="190" y="195548"/>
                      <a:pt x="1048" y="196310"/>
                      <a:pt x="2000" y="196310"/>
                    </a:cubicBezTo>
                    <a:lnTo>
                      <a:pt x="83820" y="196310"/>
                    </a:lnTo>
                    <a:cubicBezTo>
                      <a:pt x="84868" y="196310"/>
                      <a:pt x="85630" y="195453"/>
                      <a:pt x="85630" y="194500"/>
                    </a:cubicBezTo>
                    <a:lnTo>
                      <a:pt x="85820" y="170497"/>
                    </a:lnTo>
                    <a:cubicBezTo>
                      <a:pt x="85725" y="170497"/>
                      <a:pt x="86011" y="169450"/>
                      <a:pt x="85439" y="16859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7" name="Freeform 56">
                <a:extLst>
                  <a:ext uri="{FF2B5EF4-FFF2-40B4-BE49-F238E27FC236}">
                    <a16:creationId xmlns:a16="http://schemas.microsoft.com/office/drawing/2014/main" id="{1DE298EC-8CF4-604E-B6A5-E54E6CC1CFE3}"/>
                  </a:ext>
                </a:extLst>
              </p:cNvPr>
              <p:cNvSpPr/>
              <p:nvPr/>
            </p:nvSpPr>
            <p:spPr>
              <a:xfrm>
                <a:off x="1672784" y="6441216"/>
                <a:ext cx="29339" cy="66917"/>
              </a:xfrm>
              <a:custGeom>
                <a:avLst/>
                <a:gdLst>
                  <a:gd name="connsiteX0" fmla="*/ 65951 w 66274"/>
                  <a:gd name="connsiteY0" fmla="*/ 129826 h 151161"/>
                  <a:gd name="connsiteX1" fmla="*/ 64427 w 66274"/>
                  <a:gd name="connsiteY1" fmla="*/ 129254 h 151161"/>
                  <a:gd name="connsiteX2" fmla="*/ 49758 w 66274"/>
                  <a:gd name="connsiteY2" fmla="*/ 120967 h 151161"/>
                  <a:gd name="connsiteX3" fmla="*/ 49758 w 66274"/>
                  <a:gd name="connsiteY3" fmla="*/ 88201 h 151161"/>
                  <a:gd name="connsiteX4" fmla="*/ 49758 w 66274"/>
                  <a:gd name="connsiteY4" fmla="*/ 64103 h 151161"/>
                  <a:gd name="connsiteX5" fmla="*/ 49758 w 66274"/>
                  <a:gd name="connsiteY5" fmla="*/ 30194 h 151161"/>
                  <a:gd name="connsiteX6" fmla="*/ 64427 w 66274"/>
                  <a:gd name="connsiteY6" fmla="*/ 21907 h 151161"/>
                  <a:gd name="connsiteX7" fmla="*/ 65951 w 66274"/>
                  <a:gd name="connsiteY7" fmla="*/ 21336 h 151161"/>
                  <a:gd name="connsiteX8" fmla="*/ 66236 w 66274"/>
                  <a:gd name="connsiteY8" fmla="*/ 19907 h 151161"/>
                  <a:gd name="connsiteX9" fmla="*/ 66046 w 66274"/>
                  <a:gd name="connsiteY9" fmla="*/ 1429 h 151161"/>
                  <a:gd name="connsiteX10" fmla="*/ 64617 w 66274"/>
                  <a:gd name="connsiteY10" fmla="*/ 0 h 151161"/>
                  <a:gd name="connsiteX11" fmla="*/ 1657 w 66274"/>
                  <a:gd name="connsiteY11" fmla="*/ 0 h 151161"/>
                  <a:gd name="connsiteX12" fmla="*/ 228 w 66274"/>
                  <a:gd name="connsiteY12" fmla="*/ 1429 h 151161"/>
                  <a:gd name="connsiteX13" fmla="*/ 38 w 66274"/>
                  <a:gd name="connsiteY13" fmla="*/ 19907 h 151161"/>
                  <a:gd name="connsiteX14" fmla="*/ 323 w 66274"/>
                  <a:gd name="connsiteY14" fmla="*/ 21336 h 151161"/>
                  <a:gd name="connsiteX15" fmla="*/ 1752 w 66274"/>
                  <a:gd name="connsiteY15" fmla="*/ 21907 h 151161"/>
                  <a:gd name="connsiteX16" fmla="*/ 16421 w 66274"/>
                  <a:gd name="connsiteY16" fmla="*/ 30194 h 151161"/>
                  <a:gd name="connsiteX17" fmla="*/ 16421 w 66274"/>
                  <a:gd name="connsiteY17" fmla="*/ 64103 h 151161"/>
                  <a:gd name="connsiteX18" fmla="*/ 16421 w 66274"/>
                  <a:gd name="connsiteY18" fmla="*/ 88201 h 151161"/>
                  <a:gd name="connsiteX19" fmla="*/ 16421 w 66274"/>
                  <a:gd name="connsiteY19" fmla="*/ 120967 h 151161"/>
                  <a:gd name="connsiteX20" fmla="*/ 1752 w 66274"/>
                  <a:gd name="connsiteY20" fmla="*/ 129254 h 151161"/>
                  <a:gd name="connsiteX21" fmla="*/ 323 w 66274"/>
                  <a:gd name="connsiteY21" fmla="*/ 129826 h 151161"/>
                  <a:gd name="connsiteX22" fmla="*/ 38 w 66274"/>
                  <a:gd name="connsiteY22" fmla="*/ 131254 h 151161"/>
                  <a:gd name="connsiteX23" fmla="*/ 228 w 66274"/>
                  <a:gd name="connsiteY23" fmla="*/ 149733 h 151161"/>
                  <a:gd name="connsiteX24" fmla="*/ 1657 w 66274"/>
                  <a:gd name="connsiteY24" fmla="*/ 151162 h 151161"/>
                  <a:gd name="connsiteX25" fmla="*/ 64617 w 66274"/>
                  <a:gd name="connsiteY25" fmla="*/ 151162 h 151161"/>
                  <a:gd name="connsiteX26" fmla="*/ 66046 w 66274"/>
                  <a:gd name="connsiteY26" fmla="*/ 149733 h 151161"/>
                  <a:gd name="connsiteX27" fmla="*/ 66236 w 66274"/>
                  <a:gd name="connsiteY27" fmla="*/ 131254 h 151161"/>
                  <a:gd name="connsiteX28" fmla="*/ 65951 w 66274"/>
                  <a:gd name="connsiteY28" fmla="*/ 129826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274" h="151161">
                    <a:moveTo>
                      <a:pt x="65951" y="129826"/>
                    </a:moveTo>
                    <a:cubicBezTo>
                      <a:pt x="65474" y="129159"/>
                      <a:pt x="64427" y="129254"/>
                      <a:pt x="64427" y="129254"/>
                    </a:cubicBezTo>
                    <a:cubicBezTo>
                      <a:pt x="58045" y="128206"/>
                      <a:pt x="49758" y="124587"/>
                      <a:pt x="49758" y="120967"/>
                    </a:cubicBezTo>
                    <a:lnTo>
                      <a:pt x="49758" y="88201"/>
                    </a:lnTo>
                    <a:lnTo>
                      <a:pt x="49758" y="64103"/>
                    </a:lnTo>
                    <a:lnTo>
                      <a:pt x="49758" y="30194"/>
                    </a:lnTo>
                    <a:cubicBezTo>
                      <a:pt x="49758" y="26575"/>
                      <a:pt x="58045" y="22955"/>
                      <a:pt x="64427" y="21907"/>
                    </a:cubicBezTo>
                    <a:cubicBezTo>
                      <a:pt x="64427" y="21907"/>
                      <a:pt x="65474" y="21907"/>
                      <a:pt x="65951" y="21336"/>
                    </a:cubicBezTo>
                    <a:cubicBezTo>
                      <a:pt x="66427" y="20669"/>
                      <a:pt x="66236" y="19907"/>
                      <a:pt x="66236" y="19907"/>
                    </a:cubicBezTo>
                    <a:lnTo>
                      <a:pt x="66046" y="1429"/>
                    </a:lnTo>
                    <a:cubicBezTo>
                      <a:pt x="66046" y="667"/>
                      <a:pt x="65379" y="0"/>
                      <a:pt x="64617" y="0"/>
                    </a:cubicBezTo>
                    <a:lnTo>
                      <a:pt x="1657" y="0"/>
                    </a:lnTo>
                    <a:cubicBezTo>
                      <a:pt x="895" y="0"/>
                      <a:pt x="228" y="667"/>
                      <a:pt x="228" y="1429"/>
                    </a:cubicBezTo>
                    <a:lnTo>
                      <a:pt x="38" y="19907"/>
                    </a:lnTo>
                    <a:cubicBezTo>
                      <a:pt x="133" y="19907"/>
                      <a:pt x="-153" y="20764"/>
                      <a:pt x="323" y="21336"/>
                    </a:cubicBezTo>
                    <a:cubicBezTo>
                      <a:pt x="800" y="22003"/>
                      <a:pt x="1752" y="21907"/>
                      <a:pt x="1752" y="21907"/>
                    </a:cubicBezTo>
                    <a:cubicBezTo>
                      <a:pt x="8134" y="22955"/>
                      <a:pt x="16421" y="26575"/>
                      <a:pt x="16421" y="30194"/>
                    </a:cubicBezTo>
                    <a:lnTo>
                      <a:pt x="16421" y="64103"/>
                    </a:lnTo>
                    <a:lnTo>
                      <a:pt x="16421" y="88201"/>
                    </a:lnTo>
                    <a:lnTo>
                      <a:pt x="16421" y="120967"/>
                    </a:lnTo>
                    <a:cubicBezTo>
                      <a:pt x="16421" y="124587"/>
                      <a:pt x="8134" y="128206"/>
                      <a:pt x="1752" y="129254"/>
                    </a:cubicBezTo>
                    <a:cubicBezTo>
                      <a:pt x="1752" y="129254"/>
                      <a:pt x="704" y="129254"/>
                      <a:pt x="323" y="129826"/>
                    </a:cubicBezTo>
                    <a:cubicBezTo>
                      <a:pt x="-153" y="130492"/>
                      <a:pt x="38" y="131254"/>
                      <a:pt x="38" y="131254"/>
                    </a:cubicBezTo>
                    <a:lnTo>
                      <a:pt x="228" y="149733"/>
                    </a:lnTo>
                    <a:cubicBezTo>
                      <a:pt x="228" y="150495"/>
                      <a:pt x="895" y="151162"/>
                      <a:pt x="1657" y="151162"/>
                    </a:cubicBezTo>
                    <a:lnTo>
                      <a:pt x="64617" y="151162"/>
                    </a:lnTo>
                    <a:cubicBezTo>
                      <a:pt x="65379" y="151162"/>
                      <a:pt x="66046" y="150495"/>
                      <a:pt x="66046" y="149733"/>
                    </a:cubicBezTo>
                    <a:lnTo>
                      <a:pt x="66236" y="131254"/>
                    </a:lnTo>
                    <a:cubicBezTo>
                      <a:pt x="66236" y="131350"/>
                      <a:pt x="66427" y="130492"/>
                      <a:pt x="65951" y="1298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8" name="Freeform 57">
                <a:extLst>
                  <a:ext uri="{FF2B5EF4-FFF2-40B4-BE49-F238E27FC236}">
                    <a16:creationId xmlns:a16="http://schemas.microsoft.com/office/drawing/2014/main" id="{8C0D1B07-0A3C-984A-8248-96BB46F94A14}"/>
                  </a:ext>
                </a:extLst>
              </p:cNvPr>
              <p:cNvSpPr/>
              <p:nvPr/>
            </p:nvSpPr>
            <p:spPr>
              <a:xfrm>
                <a:off x="1874228" y="6302785"/>
                <a:ext cx="94795" cy="87073"/>
              </a:xfrm>
              <a:custGeom>
                <a:avLst/>
                <a:gdLst>
                  <a:gd name="connsiteX0" fmla="*/ 213741 w 214135"/>
                  <a:gd name="connsiteY0" fmla="*/ 168878 h 196691"/>
                  <a:gd name="connsiteX1" fmla="*/ 211836 w 214135"/>
                  <a:gd name="connsiteY1" fmla="*/ 168116 h 196691"/>
                  <a:gd name="connsiteX2" fmla="*/ 192786 w 214135"/>
                  <a:gd name="connsiteY2" fmla="*/ 157353 h 196691"/>
                  <a:gd name="connsiteX3" fmla="*/ 192691 w 214135"/>
                  <a:gd name="connsiteY3" fmla="*/ 130492 h 196691"/>
                  <a:gd name="connsiteX4" fmla="*/ 153352 w 214135"/>
                  <a:gd name="connsiteY4" fmla="*/ 92678 h 196691"/>
                  <a:gd name="connsiteX5" fmla="*/ 152209 w 214135"/>
                  <a:gd name="connsiteY5" fmla="*/ 92678 h 196691"/>
                  <a:gd name="connsiteX6" fmla="*/ 152209 w 214135"/>
                  <a:gd name="connsiteY6" fmla="*/ 92392 h 196691"/>
                  <a:gd name="connsiteX7" fmla="*/ 151924 w 214135"/>
                  <a:gd name="connsiteY7" fmla="*/ 92392 h 196691"/>
                  <a:gd name="connsiteX8" fmla="*/ 149638 w 214135"/>
                  <a:gd name="connsiteY8" fmla="*/ 90106 h 196691"/>
                  <a:gd name="connsiteX9" fmla="*/ 151924 w 214135"/>
                  <a:gd name="connsiteY9" fmla="*/ 87821 h 196691"/>
                  <a:gd name="connsiteX10" fmla="*/ 157543 w 214135"/>
                  <a:gd name="connsiteY10" fmla="*/ 87821 h 196691"/>
                  <a:gd name="connsiteX11" fmla="*/ 191071 w 214135"/>
                  <a:gd name="connsiteY11" fmla="*/ 48768 h 196691"/>
                  <a:gd name="connsiteX12" fmla="*/ 191071 w 214135"/>
                  <a:gd name="connsiteY12" fmla="*/ 37719 h 196691"/>
                  <a:gd name="connsiteX13" fmla="*/ 153257 w 214135"/>
                  <a:gd name="connsiteY13" fmla="*/ 0 h 196691"/>
                  <a:gd name="connsiteX14" fmla="*/ 71342 w 214135"/>
                  <a:gd name="connsiteY14" fmla="*/ 95 h 196691"/>
                  <a:gd name="connsiteX15" fmla="*/ 71342 w 214135"/>
                  <a:gd name="connsiteY15" fmla="*/ 286 h 196691"/>
                  <a:gd name="connsiteX16" fmla="*/ 2000 w 214135"/>
                  <a:gd name="connsiteY16" fmla="*/ 286 h 196691"/>
                  <a:gd name="connsiteX17" fmla="*/ 190 w 214135"/>
                  <a:gd name="connsiteY17" fmla="*/ 2096 h 196691"/>
                  <a:gd name="connsiteX18" fmla="*/ 0 w 214135"/>
                  <a:gd name="connsiteY18" fmla="*/ 26098 h 196691"/>
                  <a:gd name="connsiteX19" fmla="*/ 381 w 214135"/>
                  <a:gd name="connsiteY19" fmla="*/ 28004 h 196691"/>
                  <a:gd name="connsiteX20" fmla="*/ 2286 w 214135"/>
                  <a:gd name="connsiteY20" fmla="*/ 28765 h 196691"/>
                  <a:gd name="connsiteX21" fmla="*/ 21336 w 214135"/>
                  <a:gd name="connsiteY21" fmla="*/ 39529 h 196691"/>
                  <a:gd name="connsiteX22" fmla="*/ 21336 w 214135"/>
                  <a:gd name="connsiteY22" fmla="*/ 83534 h 196691"/>
                  <a:gd name="connsiteX23" fmla="*/ 21336 w 214135"/>
                  <a:gd name="connsiteY23" fmla="*/ 114871 h 196691"/>
                  <a:gd name="connsiteX24" fmla="*/ 21336 w 214135"/>
                  <a:gd name="connsiteY24" fmla="*/ 157353 h 196691"/>
                  <a:gd name="connsiteX25" fmla="*/ 2286 w 214135"/>
                  <a:gd name="connsiteY25" fmla="*/ 168116 h 196691"/>
                  <a:gd name="connsiteX26" fmla="*/ 381 w 214135"/>
                  <a:gd name="connsiteY26" fmla="*/ 168878 h 196691"/>
                  <a:gd name="connsiteX27" fmla="*/ 0 w 214135"/>
                  <a:gd name="connsiteY27" fmla="*/ 170783 h 196691"/>
                  <a:gd name="connsiteX28" fmla="*/ 190 w 214135"/>
                  <a:gd name="connsiteY28" fmla="*/ 194786 h 196691"/>
                  <a:gd name="connsiteX29" fmla="*/ 2000 w 214135"/>
                  <a:gd name="connsiteY29" fmla="*/ 196596 h 196691"/>
                  <a:gd name="connsiteX30" fmla="*/ 83820 w 214135"/>
                  <a:gd name="connsiteY30" fmla="*/ 196596 h 196691"/>
                  <a:gd name="connsiteX31" fmla="*/ 85630 w 214135"/>
                  <a:gd name="connsiteY31" fmla="*/ 194786 h 196691"/>
                  <a:gd name="connsiteX32" fmla="*/ 85820 w 214135"/>
                  <a:gd name="connsiteY32" fmla="*/ 170783 h 196691"/>
                  <a:gd name="connsiteX33" fmla="*/ 85439 w 214135"/>
                  <a:gd name="connsiteY33" fmla="*/ 168878 h 196691"/>
                  <a:gd name="connsiteX34" fmla="*/ 83534 w 214135"/>
                  <a:gd name="connsiteY34" fmla="*/ 168116 h 196691"/>
                  <a:gd name="connsiteX35" fmla="*/ 64484 w 214135"/>
                  <a:gd name="connsiteY35" fmla="*/ 157353 h 196691"/>
                  <a:gd name="connsiteX36" fmla="*/ 64484 w 214135"/>
                  <a:gd name="connsiteY36" fmla="*/ 114871 h 196691"/>
                  <a:gd name="connsiteX37" fmla="*/ 64484 w 214135"/>
                  <a:gd name="connsiteY37" fmla="*/ 83534 h 196691"/>
                  <a:gd name="connsiteX38" fmla="*/ 64484 w 214135"/>
                  <a:gd name="connsiteY38" fmla="*/ 39529 h 196691"/>
                  <a:gd name="connsiteX39" fmla="*/ 71818 w 214135"/>
                  <a:gd name="connsiteY39" fmla="*/ 32480 h 196691"/>
                  <a:gd name="connsiteX40" fmla="*/ 118967 w 214135"/>
                  <a:gd name="connsiteY40" fmla="*/ 32480 h 196691"/>
                  <a:gd name="connsiteX41" fmla="*/ 137826 w 214135"/>
                  <a:gd name="connsiteY41" fmla="*/ 49435 h 196691"/>
                  <a:gd name="connsiteX42" fmla="*/ 137826 w 214135"/>
                  <a:gd name="connsiteY42" fmla="*/ 58007 h 196691"/>
                  <a:gd name="connsiteX43" fmla="*/ 118586 w 214135"/>
                  <a:gd name="connsiteY43" fmla="*/ 78296 h 196691"/>
                  <a:gd name="connsiteX44" fmla="*/ 117824 w 214135"/>
                  <a:gd name="connsiteY44" fmla="*/ 78486 h 196691"/>
                  <a:gd name="connsiteX45" fmla="*/ 89535 w 214135"/>
                  <a:gd name="connsiteY45" fmla="*/ 78486 h 196691"/>
                  <a:gd name="connsiteX46" fmla="*/ 83439 w 214135"/>
                  <a:gd name="connsiteY46" fmla="*/ 84582 h 196691"/>
                  <a:gd name="connsiteX47" fmla="*/ 83439 w 214135"/>
                  <a:gd name="connsiteY47" fmla="*/ 106013 h 196691"/>
                  <a:gd name="connsiteX48" fmla="*/ 89535 w 214135"/>
                  <a:gd name="connsiteY48" fmla="*/ 112109 h 196691"/>
                  <a:gd name="connsiteX49" fmla="*/ 120872 w 214135"/>
                  <a:gd name="connsiteY49" fmla="*/ 112109 h 196691"/>
                  <a:gd name="connsiteX50" fmla="*/ 140970 w 214135"/>
                  <a:gd name="connsiteY50" fmla="*/ 130397 h 196691"/>
                  <a:gd name="connsiteX51" fmla="*/ 140494 w 214135"/>
                  <a:gd name="connsiteY51" fmla="*/ 185738 h 196691"/>
                  <a:gd name="connsiteX52" fmla="*/ 141256 w 214135"/>
                  <a:gd name="connsiteY52" fmla="*/ 192119 h 196691"/>
                  <a:gd name="connsiteX53" fmla="*/ 149923 w 214135"/>
                  <a:gd name="connsiteY53" fmla="*/ 196691 h 196691"/>
                  <a:gd name="connsiteX54" fmla="*/ 212026 w 214135"/>
                  <a:gd name="connsiteY54" fmla="*/ 196691 h 196691"/>
                  <a:gd name="connsiteX55" fmla="*/ 213836 w 214135"/>
                  <a:gd name="connsiteY55" fmla="*/ 194881 h 196691"/>
                  <a:gd name="connsiteX56" fmla="*/ 214026 w 214135"/>
                  <a:gd name="connsiteY56" fmla="*/ 170879 h 196691"/>
                  <a:gd name="connsiteX57" fmla="*/ 213741 w 214135"/>
                  <a:gd name="connsiteY57" fmla="*/ 168878 h 1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4135" h="196691">
                    <a:moveTo>
                      <a:pt x="213741" y="168878"/>
                    </a:moveTo>
                    <a:cubicBezTo>
                      <a:pt x="213169" y="168021"/>
                      <a:pt x="211836" y="168116"/>
                      <a:pt x="211836" y="168116"/>
                    </a:cubicBezTo>
                    <a:cubicBezTo>
                      <a:pt x="203549" y="166783"/>
                      <a:pt x="192786" y="162020"/>
                      <a:pt x="192786" y="157353"/>
                    </a:cubicBezTo>
                    <a:lnTo>
                      <a:pt x="192691" y="130492"/>
                    </a:lnTo>
                    <a:cubicBezTo>
                      <a:pt x="192691" y="109633"/>
                      <a:pt x="186976" y="92678"/>
                      <a:pt x="153352" y="92678"/>
                    </a:cubicBezTo>
                    <a:lnTo>
                      <a:pt x="152209" y="92678"/>
                    </a:lnTo>
                    <a:lnTo>
                      <a:pt x="152209" y="92392"/>
                    </a:lnTo>
                    <a:lnTo>
                      <a:pt x="151924" y="92392"/>
                    </a:lnTo>
                    <a:cubicBezTo>
                      <a:pt x="150685" y="92392"/>
                      <a:pt x="149638" y="91345"/>
                      <a:pt x="149638" y="90106"/>
                    </a:cubicBezTo>
                    <a:cubicBezTo>
                      <a:pt x="149638" y="88868"/>
                      <a:pt x="150685" y="87821"/>
                      <a:pt x="151924" y="87821"/>
                    </a:cubicBezTo>
                    <a:lnTo>
                      <a:pt x="157543" y="87821"/>
                    </a:lnTo>
                    <a:cubicBezTo>
                      <a:pt x="176403" y="85725"/>
                      <a:pt x="191071" y="68199"/>
                      <a:pt x="191071" y="48768"/>
                    </a:cubicBezTo>
                    <a:lnTo>
                      <a:pt x="191071" y="37719"/>
                    </a:lnTo>
                    <a:cubicBezTo>
                      <a:pt x="191071" y="16859"/>
                      <a:pt x="174117" y="0"/>
                      <a:pt x="153257" y="0"/>
                    </a:cubicBezTo>
                    <a:lnTo>
                      <a:pt x="71342" y="95"/>
                    </a:lnTo>
                    <a:lnTo>
                      <a:pt x="71342" y="286"/>
                    </a:lnTo>
                    <a:lnTo>
                      <a:pt x="2000" y="286"/>
                    </a:lnTo>
                    <a:cubicBezTo>
                      <a:pt x="952" y="286"/>
                      <a:pt x="190" y="1143"/>
                      <a:pt x="190" y="2096"/>
                    </a:cubicBezTo>
                    <a:lnTo>
                      <a:pt x="0" y="26098"/>
                    </a:lnTo>
                    <a:cubicBezTo>
                      <a:pt x="95" y="26098"/>
                      <a:pt x="-191" y="27146"/>
                      <a:pt x="381" y="28004"/>
                    </a:cubicBezTo>
                    <a:cubicBezTo>
                      <a:pt x="952" y="28861"/>
                      <a:pt x="2286" y="28765"/>
                      <a:pt x="2286" y="28765"/>
                    </a:cubicBezTo>
                    <a:cubicBezTo>
                      <a:pt x="10573" y="30099"/>
                      <a:pt x="21336" y="34861"/>
                      <a:pt x="21336" y="39529"/>
                    </a:cubicBezTo>
                    <a:lnTo>
                      <a:pt x="21336" y="83534"/>
                    </a:lnTo>
                    <a:lnTo>
                      <a:pt x="21336" y="114871"/>
                    </a:lnTo>
                    <a:lnTo>
                      <a:pt x="21336" y="157353"/>
                    </a:lnTo>
                    <a:cubicBezTo>
                      <a:pt x="21336" y="162020"/>
                      <a:pt x="10573" y="166783"/>
                      <a:pt x="2286" y="168116"/>
                    </a:cubicBezTo>
                    <a:cubicBezTo>
                      <a:pt x="2286" y="168116"/>
                      <a:pt x="952" y="168021"/>
                      <a:pt x="381" y="168878"/>
                    </a:cubicBezTo>
                    <a:cubicBezTo>
                      <a:pt x="-191" y="169735"/>
                      <a:pt x="95" y="170783"/>
                      <a:pt x="0" y="170783"/>
                    </a:cubicBezTo>
                    <a:lnTo>
                      <a:pt x="190" y="194786"/>
                    </a:lnTo>
                    <a:cubicBezTo>
                      <a:pt x="190" y="195834"/>
                      <a:pt x="1048" y="196596"/>
                      <a:pt x="2000" y="196596"/>
                    </a:cubicBezTo>
                    <a:lnTo>
                      <a:pt x="83820" y="196596"/>
                    </a:lnTo>
                    <a:cubicBezTo>
                      <a:pt x="84867" y="196596"/>
                      <a:pt x="85630" y="195739"/>
                      <a:pt x="85630" y="194786"/>
                    </a:cubicBezTo>
                    <a:lnTo>
                      <a:pt x="85820" y="170783"/>
                    </a:lnTo>
                    <a:cubicBezTo>
                      <a:pt x="85725" y="170783"/>
                      <a:pt x="86011" y="169735"/>
                      <a:pt x="85439" y="168878"/>
                    </a:cubicBezTo>
                    <a:cubicBezTo>
                      <a:pt x="84867" y="168021"/>
                      <a:pt x="83534" y="168116"/>
                      <a:pt x="83534" y="168116"/>
                    </a:cubicBezTo>
                    <a:cubicBezTo>
                      <a:pt x="75247" y="166783"/>
                      <a:pt x="64484" y="162020"/>
                      <a:pt x="64484" y="157353"/>
                    </a:cubicBezTo>
                    <a:lnTo>
                      <a:pt x="64484" y="114871"/>
                    </a:lnTo>
                    <a:lnTo>
                      <a:pt x="64484" y="83534"/>
                    </a:lnTo>
                    <a:lnTo>
                      <a:pt x="64484" y="39529"/>
                    </a:lnTo>
                    <a:cubicBezTo>
                      <a:pt x="64484" y="37052"/>
                      <a:pt x="67627" y="34480"/>
                      <a:pt x="71818" y="32480"/>
                    </a:cubicBezTo>
                    <a:lnTo>
                      <a:pt x="118967" y="32480"/>
                    </a:lnTo>
                    <a:cubicBezTo>
                      <a:pt x="128301" y="32480"/>
                      <a:pt x="137826" y="40100"/>
                      <a:pt x="137826" y="49435"/>
                    </a:cubicBezTo>
                    <a:lnTo>
                      <a:pt x="137826" y="58007"/>
                    </a:lnTo>
                    <a:cubicBezTo>
                      <a:pt x="138017" y="63341"/>
                      <a:pt x="129635" y="78962"/>
                      <a:pt x="118586" y="78296"/>
                    </a:cubicBezTo>
                    <a:lnTo>
                      <a:pt x="117824" y="78486"/>
                    </a:lnTo>
                    <a:lnTo>
                      <a:pt x="89535" y="78486"/>
                    </a:lnTo>
                    <a:cubicBezTo>
                      <a:pt x="86201" y="78486"/>
                      <a:pt x="83439" y="81248"/>
                      <a:pt x="83439" y="84582"/>
                    </a:cubicBezTo>
                    <a:lnTo>
                      <a:pt x="83439" y="106013"/>
                    </a:lnTo>
                    <a:cubicBezTo>
                      <a:pt x="83439" y="109347"/>
                      <a:pt x="86201" y="112109"/>
                      <a:pt x="89535" y="112109"/>
                    </a:cubicBezTo>
                    <a:lnTo>
                      <a:pt x="120872" y="112109"/>
                    </a:lnTo>
                    <a:cubicBezTo>
                      <a:pt x="141732" y="113347"/>
                      <a:pt x="140779" y="125254"/>
                      <a:pt x="140970" y="130397"/>
                    </a:cubicBezTo>
                    <a:lnTo>
                      <a:pt x="140494" y="185738"/>
                    </a:lnTo>
                    <a:cubicBezTo>
                      <a:pt x="140494" y="185738"/>
                      <a:pt x="140589" y="189833"/>
                      <a:pt x="141256" y="192119"/>
                    </a:cubicBezTo>
                    <a:cubicBezTo>
                      <a:pt x="142494" y="196215"/>
                      <a:pt x="149923" y="196691"/>
                      <a:pt x="149923" y="196691"/>
                    </a:cubicBezTo>
                    <a:lnTo>
                      <a:pt x="212026" y="196691"/>
                    </a:lnTo>
                    <a:cubicBezTo>
                      <a:pt x="213074" y="196691"/>
                      <a:pt x="213836" y="195834"/>
                      <a:pt x="213836" y="194881"/>
                    </a:cubicBezTo>
                    <a:lnTo>
                      <a:pt x="214026" y="170879"/>
                    </a:lnTo>
                    <a:cubicBezTo>
                      <a:pt x="214122" y="170783"/>
                      <a:pt x="214313" y="169735"/>
                      <a:pt x="213741" y="168878"/>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9" name="Freeform 58">
                <a:extLst>
                  <a:ext uri="{FF2B5EF4-FFF2-40B4-BE49-F238E27FC236}">
                    <a16:creationId xmlns:a16="http://schemas.microsoft.com/office/drawing/2014/main" id="{78E62888-E3A5-2C4D-864F-7F3ED1C34C07}"/>
                  </a:ext>
                </a:extLst>
              </p:cNvPr>
              <p:cNvSpPr/>
              <p:nvPr/>
            </p:nvSpPr>
            <p:spPr>
              <a:xfrm>
                <a:off x="1596084" y="6441174"/>
                <a:ext cx="73091" cy="67002"/>
              </a:xfrm>
              <a:custGeom>
                <a:avLst/>
                <a:gdLst>
                  <a:gd name="connsiteX0" fmla="*/ 164535 w 165106"/>
                  <a:gd name="connsiteY0" fmla="*/ 130016 h 151352"/>
                  <a:gd name="connsiteX1" fmla="*/ 163106 w 165106"/>
                  <a:gd name="connsiteY1" fmla="*/ 129445 h 151352"/>
                  <a:gd name="connsiteX2" fmla="*/ 148437 w 165106"/>
                  <a:gd name="connsiteY2" fmla="*/ 121158 h 151352"/>
                  <a:gd name="connsiteX3" fmla="*/ 148342 w 165106"/>
                  <a:gd name="connsiteY3" fmla="*/ 100489 h 151352"/>
                  <a:gd name="connsiteX4" fmla="*/ 118052 w 165106"/>
                  <a:gd name="connsiteY4" fmla="*/ 71438 h 151352"/>
                  <a:gd name="connsiteX5" fmla="*/ 117195 w 165106"/>
                  <a:gd name="connsiteY5" fmla="*/ 71438 h 151352"/>
                  <a:gd name="connsiteX6" fmla="*/ 117195 w 165106"/>
                  <a:gd name="connsiteY6" fmla="*/ 71152 h 151352"/>
                  <a:gd name="connsiteX7" fmla="*/ 117005 w 165106"/>
                  <a:gd name="connsiteY7" fmla="*/ 71152 h 151352"/>
                  <a:gd name="connsiteX8" fmla="*/ 115195 w 165106"/>
                  <a:gd name="connsiteY8" fmla="*/ 69342 h 151352"/>
                  <a:gd name="connsiteX9" fmla="*/ 117005 w 165106"/>
                  <a:gd name="connsiteY9" fmla="*/ 67628 h 151352"/>
                  <a:gd name="connsiteX10" fmla="*/ 121291 w 165106"/>
                  <a:gd name="connsiteY10" fmla="*/ 67628 h 151352"/>
                  <a:gd name="connsiteX11" fmla="*/ 147104 w 165106"/>
                  <a:gd name="connsiteY11" fmla="*/ 37529 h 151352"/>
                  <a:gd name="connsiteX12" fmla="*/ 147104 w 165106"/>
                  <a:gd name="connsiteY12" fmla="*/ 29051 h 151352"/>
                  <a:gd name="connsiteX13" fmla="*/ 118052 w 165106"/>
                  <a:gd name="connsiteY13" fmla="*/ 0 h 151352"/>
                  <a:gd name="connsiteX14" fmla="*/ 54997 w 165106"/>
                  <a:gd name="connsiteY14" fmla="*/ 0 h 151352"/>
                  <a:gd name="connsiteX15" fmla="*/ 54997 w 165106"/>
                  <a:gd name="connsiteY15" fmla="*/ 191 h 151352"/>
                  <a:gd name="connsiteX16" fmla="*/ 1657 w 165106"/>
                  <a:gd name="connsiteY16" fmla="*/ 191 h 151352"/>
                  <a:gd name="connsiteX17" fmla="*/ 228 w 165106"/>
                  <a:gd name="connsiteY17" fmla="*/ 1619 h 151352"/>
                  <a:gd name="connsiteX18" fmla="*/ 38 w 165106"/>
                  <a:gd name="connsiteY18" fmla="*/ 20098 h 151352"/>
                  <a:gd name="connsiteX19" fmla="*/ 323 w 165106"/>
                  <a:gd name="connsiteY19" fmla="*/ 21527 h 151352"/>
                  <a:gd name="connsiteX20" fmla="*/ 1752 w 165106"/>
                  <a:gd name="connsiteY20" fmla="*/ 22098 h 151352"/>
                  <a:gd name="connsiteX21" fmla="*/ 16421 w 165106"/>
                  <a:gd name="connsiteY21" fmla="*/ 30385 h 151352"/>
                  <a:gd name="connsiteX22" fmla="*/ 16421 w 165106"/>
                  <a:gd name="connsiteY22" fmla="*/ 64294 h 151352"/>
                  <a:gd name="connsiteX23" fmla="*/ 16421 w 165106"/>
                  <a:gd name="connsiteY23" fmla="*/ 88392 h 151352"/>
                  <a:gd name="connsiteX24" fmla="*/ 16421 w 165106"/>
                  <a:gd name="connsiteY24" fmla="*/ 121158 h 151352"/>
                  <a:gd name="connsiteX25" fmla="*/ 1752 w 165106"/>
                  <a:gd name="connsiteY25" fmla="*/ 129445 h 151352"/>
                  <a:gd name="connsiteX26" fmla="*/ 323 w 165106"/>
                  <a:gd name="connsiteY26" fmla="*/ 130016 h 151352"/>
                  <a:gd name="connsiteX27" fmla="*/ 38 w 165106"/>
                  <a:gd name="connsiteY27" fmla="*/ 131445 h 151352"/>
                  <a:gd name="connsiteX28" fmla="*/ 228 w 165106"/>
                  <a:gd name="connsiteY28" fmla="*/ 149924 h 151352"/>
                  <a:gd name="connsiteX29" fmla="*/ 1657 w 165106"/>
                  <a:gd name="connsiteY29" fmla="*/ 151352 h 151352"/>
                  <a:gd name="connsiteX30" fmla="*/ 64617 w 165106"/>
                  <a:gd name="connsiteY30" fmla="*/ 151352 h 151352"/>
                  <a:gd name="connsiteX31" fmla="*/ 66046 w 165106"/>
                  <a:gd name="connsiteY31" fmla="*/ 149924 h 151352"/>
                  <a:gd name="connsiteX32" fmla="*/ 66236 w 165106"/>
                  <a:gd name="connsiteY32" fmla="*/ 131445 h 151352"/>
                  <a:gd name="connsiteX33" fmla="*/ 65951 w 165106"/>
                  <a:gd name="connsiteY33" fmla="*/ 130016 h 151352"/>
                  <a:gd name="connsiteX34" fmla="*/ 64522 w 165106"/>
                  <a:gd name="connsiteY34" fmla="*/ 129445 h 151352"/>
                  <a:gd name="connsiteX35" fmla="*/ 49853 w 165106"/>
                  <a:gd name="connsiteY35" fmla="*/ 121158 h 151352"/>
                  <a:gd name="connsiteX36" fmla="*/ 49853 w 165106"/>
                  <a:gd name="connsiteY36" fmla="*/ 88392 h 151352"/>
                  <a:gd name="connsiteX37" fmla="*/ 49853 w 165106"/>
                  <a:gd name="connsiteY37" fmla="*/ 64294 h 151352"/>
                  <a:gd name="connsiteX38" fmla="*/ 49853 w 165106"/>
                  <a:gd name="connsiteY38" fmla="*/ 30385 h 151352"/>
                  <a:gd name="connsiteX39" fmla="*/ 55473 w 165106"/>
                  <a:gd name="connsiteY39" fmla="*/ 24956 h 151352"/>
                  <a:gd name="connsiteX40" fmla="*/ 91763 w 165106"/>
                  <a:gd name="connsiteY40" fmla="*/ 24956 h 151352"/>
                  <a:gd name="connsiteX41" fmla="*/ 106241 w 165106"/>
                  <a:gd name="connsiteY41" fmla="*/ 38005 h 151352"/>
                  <a:gd name="connsiteX42" fmla="*/ 106241 w 165106"/>
                  <a:gd name="connsiteY42" fmla="*/ 44577 h 151352"/>
                  <a:gd name="connsiteX43" fmla="*/ 91478 w 165106"/>
                  <a:gd name="connsiteY43" fmla="*/ 60198 h 151352"/>
                  <a:gd name="connsiteX44" fmla="*/ 90906 w 165106"/>
                  <a:gd name="connsiteY44" fmla="*/ 60388 h 151352"/>
                  <a:gd name="connsiteX45" fmla="*/ 69094 w 165106"/>
                  <a:gd name="connsiteY45" fmla="*/ 60388 h 151352"/>
                  <a:gd name="connsiteX46" fmla="*/ 64427 w 165106"/>
                  <a:gd name="connsiteY46" fmla="*/ 65056 h 151352"/>
                  <a:gd name="connsiteX47" fmla="*/ 64427 w 165106"/>
                  <a:gd name="connsiteY47" fmla="*/ 81534 h 151352"/>
                  <a:gd name="connsiteX48" fmla="*/ 69094 w 165106"/>
                  <a:gd name="connsiteY48" fmla="*/ 86201 h 151352"/>
                  <a:gd name="connsiteX49" fmla="*/ 93287 w 165106"/>
                  <a:gd name="connsiteY49" fmla="*/ 86201 h 151352"/>
                  <a:gd name="connsiteX50" fmla="*/ 108813 w 165106"/>
                  <a:gd name="connsiteY50" fmla="*/ 100298 h 151352"/>
                  <a:gd name="connsiteX51" fmla="*/ 108432 w 165106"/>
                  <a:gd name="connsiteY51" fmla="*/ 142875 h 151352"/>
                  <a:gd name="connsiteX52" fmla="*/ 109004 w 165106"/>
                  <a:gd name="connsiteY52" fmla="*/ 147828 h 151352"/>
                  <a:gd name="connsiteX53" fmla="*/ 115671 w 165106"/>
                  <a:gd name="connsiteY53" fmla="*/ 151352 h 151352"/>
                  <a:gd name="connsiteX54" fmla="*/ 163487 w 165106"/>
                  <a:gd name="connsiteY54" fmla="*/ 151352 h 151352"/>
                  <a:gd name="connsiteX55" fmla="*/ 164915 w 165106"/>
                  <a:gd name="connsiteY55" fmla="*/ 149924 h 151352"/>
                  <a:gd name="connsiteX56" fmla="*/ 165106 w 165106"/>
                  <a:gd name="connsiteY56" fmla="*/ 131445 h 151352"/>
                  <a:gd name="connsiteX57" fmla="*/ 164535 w 165106"/>
                  <a:gd name="connsiteY57" fmla="*/ 130016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5106" h="151352">
                    <a:moveTo>
                      <a:pt x="164535" y="130016"/>
                    </a:moveTo>
                    <a:cubicBezTo>
                      <a:pt x="164058" y="129350"/>
                      <a:pt x="163106" y="129445"/>
                      <a:pt x="163106" y="129445"/>
                    </a:cubicBezTo>
                    <a:cubicBezTo>
                      <a:pt x="156724" y="128397"/>
                      <a:pt x="148437" y="124778"/>
                      <a:pt x="148437" y="121158"/>
                    </a:cubicBezTo>
                    <a:lnTo>
                      <a:pt x="148342" y="100489"/>
                    </a:lnTo>
                    <a:cubicBezTo>
                      <a:pt x="148342" y="84392"/>
                      <a:pt x="143961" y="71438"/>
                      <a:pt x="118052" y="71438"/>
                    </a:cubicBezTo>
                    <a:lnTo>
                      <a:pt x="117195" y="71438"/>
                    </a:lnTo>
                    <a:lnTo>
                      <a:pt x="117195" y="71152"/>
                    </a:lnTo>
                    <a:lnTo>
                      <a:pt x="117005" y="71152"/>
                    </a:lnTo>
                    <a:cubicBezTo>
                      <a:pt x="116052" y="71152"/>
                      <a:pt x="115195" y="70390"/>
                      <a:pt x="115195" y="69342"/>
                    </a:cubicBezTo>
                    <a:cubicBezTo>
                      <a:pt x="115195" y="68390"/>
                      <a:pt x="115957" y="67628"/>
                      <a:pt x="117005" y="67628"/>
                    </a:cubicBezTo>
                    <a:lnTo>
                      <a:pt x="121291" y="67628"/>
                    </a:lnTo>
                    <a:cubicBezTo>
                      <a:pt x="135769" y="66008"/>
                      <a:pt x="147104" y="52483"/>
                      <a:pt x="147104" y="37529"/>
                    </a:cubicBezTo>
                    <a:lnTo>
                      <a:pt x="147104" y="29051"/>
                    </a:lnTo>
                    <a:cubicBezTo>
                      <a:pt x="147104" y="12954"/>
                      <a:pt x="134054" y="0"/>
                      <a:pt x="118052" y="0"/>
                    </a:cubicBezTo>
                    <a:lnTo>
                      <a:pt x="54997" y="0"/>
                    </a:lnTo>
                    <a:lnTo>
                      <a:pt x="54997" y="191"/>
                    </a:lnTo>
                    <a:lnTo>
                      <a:pt x="1657" y="191"/>
                    </a:lnTo>
                    <a:cubicBezTo>
                      <a:pt x="895" y="191"/>
                      <a:pt x="228" y="857"/>
                      <a:pt x="228" y="1619"/>
                    </a:cubicBezTo>
                    <a:lnTo>
                      <a:pt x="38" y="20098"/>
                    </a:lnTo>
                    <a:cubicBezTo>
                      <a:pt x="38" y="20098"/>
                      <a:pt x="-153" y="20955"/>
                      <a:pt x="323" y="21527"/>
                    </a:cubicBezTo>
                    <a:cubicBezTo>
                      <a:pt x="800" y="22193"/>
                      <a:pt x="1752" y="22098"/>
                      <a:pt x="1752" y="22098"/>
                    </a:cubicBezTo>
                    <a:cubicBezTo>
                      <a:pt x="8134" y="23146"/>
                      <a:pt x="16421" y="26765"/>
                      <a:pt x="16421" y="30385"/>
                    </a:cubicBezTo>
                    <a:lnTo>
                      <a:pt x="16421" y="64294"/>
                    </a:lnTo>
                    <a:lnTo>
                      <a:pt x="16421" y="88392"/>
                    </a:lnTo>
                    <a:lnTo>
                      <a:pt x="16421" y="121158"/>
                    </a:lnTo>
                    <a:cubicBezTo>
                      <a:pt x="16421" y="124778"/>
                      <a:pt x="8134" y="128397"/>
                      <a:pt x="1752" y="129445"/>
                    </a:cubicBezTo>
                    <a:cubicBezTo>
                      <a:pt x="1752" y="129445"/>
                      <a:pt x="704" y="129445"/>
                      <a:pt x="323" y="130016"/>
                    </a:cubicBezTo>
                    <a:cubicBezTo>
                      <a:pt x="-153" y="130683"/>
                      <a:pt x="38" y="131445"/>
                      <a:pt x="38" y="131445"/>
                    </a:cubicBezTo>
                    <a:lnTo>
                      <a:pt x="228" y="149924"/>
                    </a:lnTo>
                    <a:cubicBezTo>
                      <a:pt x="228" y="150686"/>
                      <a:pt x="895" y="151352"/>
                      <a:pt x="1657" y="151352"/>
                    </a:cubicBezTo>
                    <a:lnTo>
                      <a:pt x="64617" y="151352"/>
                    </a:lnTo>
                    <a:cubicBezTo>
                      <a:pt x="65379" y="151352"/>
                      <a:pt x="66046" y="150686"/>
                      <a:pt x="66046" y="149924"/>
                    </a:cubicBezTo>
                    <a:lnTo>
                      <a:pt x="66236" y="131445"/>
                    </a:lnTo>
                    <a:cubicBezTo>
                      <a:pt x="66236" y="131445"/>
                      <a:pt x="66427" y="130588"/>
                      <a:pt x="65951" y="130016"/>
                    </a:cubicBezTo>
                    <a:cubicBezTo>
                      <a:pt x="65474" y="129350"/>
                      <a:pt x="64522" y="129445"/>
                      <a:pt x="64522" y="129445"/>
                    </a:cubicBezTo>
                    <a:cubicBezTo>
                      <a:pt x="58140" y="128397"/>
                      <a:pt x="49853" y="124778"/>
                      <a:pt x="49853" y="121158"/>
                    </a:cubicBezTo>
                    <a:lnTo>
                      <a:pt x="49853" y="88392"/>
                    </a:lnTo>
                    <a:lnTo>
                      <a:pt x="49853" y="64294"/>
                    </a:lnTo>
                    <a:lnTo>
                      <a:pt x="49853" y="30385"/>
                    </a:lnTo>
                    <a:cubicBezTo>
                      <a:pt x="49853" y="28480"/>
                      <a:pt x="52235" y="26479"/>
                      <a:pt x="55473" y="24956"/>
                    </a:cubicBezTo>
                    <a:lnTo>
                      <a:pt x="91763" y="24956"/>
                    </a:lnTo>
                    <a:cubicBezTo>
                      <a:pt x="99002" y="24956"/>
                      <a:pt x="106241" y="30766"/>
                      <a:pt x="106241" y="38005"/>
                    </a:cubicBezTo>
                    <a:lnTo>
                      <a:pt x="106241" y="44577"/>
                    </a:lnTo>
                    <a:cubicBezTo>
                      <a:pt x="106432" y="48673"/>
                      <a:pt x="99955" y="60770"/>
                      <a:pt x="91478" y="60198"/>
                    </a:cubicBezTo>
                    <a:lnTo>
                      <a:pt x="90906" y="60388"/>
                    </a:lnTo>
                    <a:lnTo>
                      <a:pt x="69094" y="60388"/>
                    </a:lnTo>
                    <a:cubicBezTo>
                      <a:pt x="66522" y="60388"/>
                      <a:pt x="64427" y="62484"/>
                      <a:pt x="64427" y="65056"/>
                    </a:cubicBezTo>
                    <a:lnTo>
                      <a:pt x="64427" y="81534"/>
                    </a:lnTo>
                    <a:cubicBezTo>
                      <a:pt x="64427" y="84106"/>
                      <a:pt x="66522" y="86201"/>
                      <a:pt x="69094" y="86201"/>
                    </a:cubicBezTo>
                    <a:lnTo>
                      <a:pt x="93287" y="86201"/>
                    </a:lnTo>
                    <a:cubicBezTo>
                      <a:pt x="109385" y="87154"/>
                      <a:pt x="108623" y="96298"/>
                      <a:pt x="108813" y="100298"/>
                    </a:cubicBezTo>
                    <a:lnTo>
                      <a:pt x="108432" y="142875"/>
                    </a:lnTo>
                    <a:cubicBezTo>
                      <a:pt x="108432" y="142875"/>
                      <a:pt x="108432" y="146018"/>
                      <a:pt x="109004" y="147828"/>
                    </a:cubicBezTo>
                    <a:cubicBezTo>
                      <a:pt x="109956" y="150971"/>
                      <a:pt x="115671" y="151352"/>
                      <a:pt x="115671" y="151352"/>
                    </a:cubicBezTo>
                    <a:lnTo>
                      <a:pt x="163487" y="151352"/>
                    </a:lnTo>
                    <a:cubicBezTo>
                      <a:pt x="164249" y="151352"/>
                      <a:pt x="164915" y="150686"/>
                      <a:pt x="164915" y="149924"/>
                    </a:cubicBezTo>
                    <a:lnTo>
                      <a:pt x="165106" y="131445"/>
                    </a:lnTo>
                    <a:cubicBezTo>
                      <a:pt x="164820" y="131445"/>
                      <a:pt x="165011" y="130588"/>
                      <a:pt x="164535" y="1300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0" name="Freeform 59">
                <a:extLst>
                  <a:ext uri="{FF2B5EF4-FFF2-40B4-BE49-F238E27FC236}">
                    <a16:creationId xmlns:a16="http://schemas.microsoft.com/office/drawing/2014/main" id="{D4B08F5C-CFD2-8B4B-950D-0FAC570ED7A0}"/>
                  </a:ext>
                </a:extLst>
              </p:cNvPr>
              <p:cNvSpPr/>
              <p:nvPr/>
            </p:nvSpPr>
            <p:spPr>
              <a:xfrm>
                <a:off x="1489022"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3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054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3" y="134971"/>
                      <a:pt x="2803"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438" y="77250"/>
                      <a:pt x="99197" y="73154"/>
                      <a:pt x="80147" y="70106"/>
                    </a:cubicBezTo>
                    <a:cubicBezTo>
                      <a:pt x="61097" y="67058"/>
                      <a:pt x="44999" y="64010"/>
                      <a:pt x="44999" y="47246"/>
                    </a:cubicBezTo>
                    <a:cubicBezTo>
                      <a:pt x="44999" y="30482"/>
                      <a:pt x="67097" y="27434"/>
                      <a:pt x="77194" y="27148"/>
                    </a:cubicBezTo>
                    <a:cubicBezTo>
                      <a:pt x="77194" y="27148"/>
                      <a:pt x="90148" y="26005"/>
                      <a:pt x="100054" y="29720"/>
                    </a:cubicBezTo>
                    <a:cubicBezTo>
                      <a:pt x="104150" y="31244"/>
                      <a:pt x="107959"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1" name="Freeform 60">
                <a:extLst>
                  <a:ext uri="{FF2B5EF4-FFF2-40B4-BE49-F238E27FC236}">
                    <a16:creationId xmlns:a16="http://schemas.microsoft.com/office/drawing/2014/main" id="{03D755F3-E828-5F40-90F2-7FED76140EEA}"/>
                  </a:ext>
                </a:extLst>
              </p:cNvPr>
              <p:cNvSpPr/>
              <p:nvPr/>
            </p:nvSpPr>
            <p:spPr>
              <a:xfrm>
                <a:off x="2048229"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4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149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4" y="134971"/>
                      <a:pt x="2804"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533" y="77250"/>
                      <a:pt x="99197" y="73154"/>
                      <a:pt x="80147" y="70106"/>
                    </a:cubicBezTo>
                    <a:cubicBezTo>
                      <a:pt x="61097" y="67058"/>
                      <a:pt x="44999" y="64010"/>
                      <a:pt x="44999" y="47246"/>
                    </a:cubicBezTo>
                    <a:cubicBezTo>
                      <a:pt x="44999" y="30482"/>
                      <a:pt x="67192" y="27434"/>
                      <a:pt x="77194" y="27148"/>
                    </a:cubicBezTo>
                    <a:cubicBezTo>
                      <a:pt x="77194" y="27148"/>
                      <a:pt x="90148"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2" name="Freeform 61">
                <a:extLst>
                  <a:ext uri="{FF2B5EF4-FFF2-40B4-BE49-F238E27FC236}">
                    <a16:creationId xmlns:a16="http://schemas.microsoft.com/office/drawing/2014/main" id="{69532FAE-4D6E-9549-A45B-7C3D9AECC84B}"/>
                  </a:ext>
                </a:extLst>
              </p:cNvPr>
              <p:cNvSpPr/>
              <p:nvPr/>
            </p:nvSpPr>
            <p:spPr>
              <a:xfrm>
                <a:off x="2511339" y="6302067"/>
                <a:ext cx="71672" cy="88472"/>
              </a:xfrm>
              <a:custGeom>
                <a:avLst/>
                <a:gdLst>
                  <a:gd name="connsiteX0" fmla="*/ 31379 w 161901"/>
                  <a:gd name="connsiteY0" fmla="*/ 103539 h 199852"/>
                  <a:gd name="connsiteX1" fmla="*/ 93957 w 161901"/>
                  <a:gd name="connsiteY1" fmla="*/ 119540 h 199852"/>
                  <a:gd name="connsiteX2" fmla="*/ 118437 w 161901"/>
                  <a:gd name="connsiteY2" fmla="*/ 148592 h 199852"/>
                  <a:gd name="connsiteX3" fmla="*/ 86242 w 161901"/>
                  <a:gd name="connsiteY3" fmla="*/ 168689 h 199852"/>
                  <a:gd name="connsiteX4" fmla="*/ 51857 w 161901"/>
                  <a:gd name="connsiteY4" fmla="*/ 166118 h 199852"/>
                  <a:gd name="connsiteX5" fmla="*/ 34331 w 161901"/>
                  <a:gd name="connsiteY5" fmla="*/ 148020 h 199852"/>
                  <a:gd name="connsiteX6" fmla="*/ 30330 w 161901"/>
                  <a:gd name="connsiteY6" fmla="*/ 138305 h 199852"/>
                  <a:gd name="connsiteX7" fmla="*/ 24806 w 161901"/>
                  <a:gd name="connsiteY7" fmla="*/ 135066 h 199852"/>
                  <a:gd name="connsiteX8" fmla="*/ 7375 w 161901"/>
                  <a:gd name="connsiteY8" fmla="*/ 135066 h 199852"/>
                  <a:gd name="connsiteX9" fmla="*/ 2898 w 161901"/>
                  <a:gd name="connsiteY9" fmla="*/ 138305 h 199852"/>
                  <a:gd name="connsiteX10" fmla="*/ 2994 w 161901"/>
                  <a:gd name="connsiteY10" fmla="*/ 176500 h 199852"/>
                  <a:gd name="connsiteX11" fmla="*/ 2994 w 161901"/>
                  <a:gd name="connsiteY11" fmla="*/ 193359 h 199852"/>
                  <a:gd name="connsiteX12" fmla="*/ 32807 w 161901"/>
                  <a:gd name="connsiteY12" fmla="*/ 199836 h 199852"/>
                  <a:gd name="connsiteX13" fmla="*/ 91100 w 161901"/>
                  <a:gd name="connsiteY13" fmla="*/ 199836 h 199852"/>
                  <a:gd name="connsiteX14" fmla="*/ 134344 w 161901"/>
                  <a:gd name="connsiteY14" fmla="*/ 189930 h 199852"/>
                  <a:gd name="connsiteX15" fmla="*/ 161871 w 161901"/>
                  <a:gd name="connsiteY15" fmla="*/ 139543 h 199852"/>
                  <a:gd name="connsiteX16" fmla="*/ 142821 w 161901"/>
                  <a:gd name="connsiteY16" fmla="*/ 86108 h 199852"/>
                  <a:gd name="connsiteX17" fmla="*/ 80241 w 161901"/>
                  <a:gd name="connsiteY17" fmla="*/ 70106 h 199852"/>
                  <a:gd name="connsiteX18" fmla="*/ 45094 w 161901"/>
                  <a:gd name="connsiteY18" fmla="*/ 47246 h 199852"/>
                  <a:gd name="connsiteX19" fmla="*/ 77289 w 161901"/>
                  <a:gd name="connsiteY19" fmla="*/ 27148 h 199852"/>
                  <a:gd name="connsiteX20" fmla="*/ 100149 w 161901"/>
                  <a:gd name="connsiteY20" fmla="*/ 29720 h 199852"/>
                  <a:gd name="connsiteX21" fmla="*/ 113770 w 161901"/>
                  <a:gd name="connsiteY21" fmla="*/ 39626 h 199852"/>
                  <a:gd name="connsiteX22" fmla="*/ 121009 w 161901"/>
                  <a:gd name="connsiteY22" fmla="*/ 54199 h 199852"/>
                  <a:gd name="connsiteX23" fmla="*/ 127105 w 161901"/>
                  <a:gd name="connsiteY23" fmla="*/ 60295 h 199852"/>
                  <a:gd name="connsiteX24" fmla="*/ 142916 w 161901"/>
                  <a:gd name="connsiteY24" fmla="*/ 60295 h 199852"/>
                  <a:gd name="connsiteX25" fmla="*/ 149012 w 161901"/>
                  <a:gd name="connsiteY25" fmla="*/ 54199 h 199852"/>
                  <a:gd name="connsiteX26" fmla="*/ 148917 w 161901"/>
                  <a:gd name="connsiteY26" fmla="*/ 3335 h 199852"/>
                  <a:gd name="connsiteX27" fmla="*/ 119103 w 161901"/>
                  <a:gd name="connsiteY27" fmla="*/ 2 h 199852"/>
                  <a:gd name="connsiteX28" fmla="*/ 54714 w 161901"/>
                  <a:gd name="connsiteY28" fmla="*/ 2 h 199852"/>
                  <a:gd name="connsiteX29" fmla="*/ 19091 w 161901"/>
                  <a:gd name="connsiteY29" fmla="*/ 12956 h 199852"/>
                  <a:gd name="connsiteX30" fmla="*/ 41 w 161901"/>
                  <a:gd name="connsiteY30" fmla="*/ 58009 h 199852"/>
                  <a:gd name="connsiteX31" fmla="*/ 31379 w 161901"/>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901" h="199852">
                    <a:moveTo>
                      <a:pt x="31379" y="103539"/>
                    </a:moveTo>
                    <a:cubicBezTo>
                      <a:pt x="47381" y="108396"/>
                      <a:pt x="74907" y="116493"/>
                      <a:pt x="93957" y="119540"/>
                    </a:cubicBezTo>
                    <a:cubicBezTo>
                      <a:pt x="113007" y="122589"/>
                      <a:pt x="121485" y="131732"/>
                      <a:pt x="118437" y="148592"/>
                    </a:cubicBezTo>
                    <a:cubicBezTo>
                      <a:pt x="115389" y="165165"/>
                      <a:pt x="96244" y="168404"/>
                      <a:pt x="86242" y="168689"/>
                    </a:cubicBezTo>
                    <a:cubicBezTo>
                      <a:pt x="86242" y="168689"/>
                      <a:pt x="61858" y="169832"/>
                      <a:pt x="51857" y="166118"/>
                    </a:cubicBezTo>
                    <a:cubicBezTo>
                      <a:pt x="47761" y="164594"/>
                      <a:pt x="36427" y="151640"/>
                      <a:pt x="34331" y="148020"/>
                    </a:cubicBezTo>
                    <a:lnTo>
                      <a:pt x="30330" y="138305"/>
                    </a:lnTo>
                    <a:cubicBezTo>
                      <a:pt x="30330" y="136685"/>
                      <a:pt x="28235" y="135066"/>
                      <a:pt x="24806" y="135066"/>
                    </a:cubicBezTo>
                    <a:lnTo>
                      <a:pt x="7375" y="135066"/>
                    </a:lnTo>
                    <a:cubicBezTo>
                      <a:pt x="4041" y="135066"/>
                      <a:pt x="2898" y="134971"/>
                      <a:pt x="2898" y="138305"/>
                    </a:cubicBezTo>
                    <a:lnTo>
                      <a:pt x="2994" y="176500"/>
                    </a:lnTo>
                    <a:lnTo>
                      <a:pt x="2994" y="193359"/>
                    </a:lnTo>
                    <a:cubicBezTo>
                      <a:pt x="2994" y="198598"/>
                      <a:pt x="10900" y="199836"/>
                      <a:pt x="32807" y="199836"/>
                    </a:cubicBezTo>
                    <a:lnTo>
                      <a:pt x="91100" y="199836"/>
                    </a:lnTo>
                    <a:cubicBezTo>
                      <a:pt x="91100" y="199836"/>
                      <a:pt x="115960" y="200693"/>
                      <a:pt x="134344" y="189930"/>
                    </a:cubicBezTo>
                    <a:cubicBezTo>
                      <a:pt x="149393" y="181072"/>
                      <a:pt x="162633" y="157069"/>
                      <a:pt x="161871" y="139543"/>
                    </a:cubicBezTo>
                    <a:cubicBezTo>
                      <a:pt x="160632" y="111254"/>
                      <a:pt x="158823" y="96014"/>
                      <a:pt x="142821" y="86108"/>
                    </a:cubicBezTo>
                    <a:cubicBezTo>
                      <a:pt x="128533" y="77250"/>
                      <a:pt x="99291" y="73154"/>
                      <a:pt x="80241" y="70106"/>
                    </a:cubicBezTo>
                    <a:cubicBezTo>
                      <a:pt x="61191" y="67058"/>
                      <a:pt x="45094" y="64010"/>
                      <a:pt x="45094" y="47246"/>
                    </a:cubicBezTo>
                    <a:cubicBezTo>
                      <a:pt x="45094" y="30482"/>
                      <a:pt x="67192" y="27434"/>
                      <a:pt x="77289" y="27148"/>
                    </a:cubicBezTo>
                    <a:cubicBezTo>
                      <a:pt x="77289" y="27148"/>
                      <a:pt x="90243"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3" y="2"/>
                    </a:cubicBezTo>
                    <a:lnTo>
                      <a:pt x="54714" y="2"/>
                    </a:lnTo>
                    <a:cubicBezTo>
                      <a:pt x="54714" y="2"/>
                      <a:pt x="32522" y="192"/>
                      <a:pt x="19091" y="12956"/>
                    </a:cubicBezTo>
                    <a:cubicBezTo>
                      <a:pt x="9281" y="22290"/>
                      <a:pt x="-721" y="40483"/>
                      <a:pt x="41" y="58009"/>
                    </a:cubicBezTo>
                    <a:cubicBezTo>
                      <a:pt x="803" y="75249"/>
                      <a:pt x="3851" y="95156"/>
                      <a:pt x="31379"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3" name="Freeform 62">
                <a:extLst>
                  <a:ext uri="{FF2B5EF4-FFF2-40B4-BE49-F238E27FC236}">
                    <a16:creationId xmlns:a16="http://schemas.microsoft.com/office/drawing/2014/main" id="{1D16C9C5-59DC-3841-A80E-AD88B3DF72F5}"/>
                  </a:ext>
                </a:extLst>
              </p:cNvPr>
              <p:cNvSpPr/>
              <p:nvPr/>
            </p:nvSpPr>
            <p:spPr>
              <a:xfrm>
                <a:off x="1597661" y="6300582"/>
                <a:ext cx="107687" cy="93355"/>
              </a:xfrm>
              <a:custGeom>
                <a:avLst/>
                <a:gdLst>
                  <a:gd name="connsiteX0" fmla="*/ 242507 w 243257"/>
                  <a:gd name="connsiteY0" fmla="*/ 186523 h 210883"/>
                  <a:gd name="connsiteX1" fmla="*/ 234125 w 243257"/>
                  <a:gd name="connsiteY1" fmla="*/ 184237 h 210883"/>
                  <a:gd name="connsiteX2" fmla="*/ 226504 w 243257"/>
                  <a:gd name="connsiteY2" fmla="*/ 181189 h 210883"/>
                  <a:gd name="connsiteX3" fmla="*/ 202597 w 243257"/>
                  <a:gd name="connsiteY3" fmla="*/ 164234 h 210883"/>
                  <a:gd name="connsiteX4" fmla="*/ 210503 w 243257"/>
                  <a:gd name="connsiteY4" fmla="*/ 147470 h 210883"/>
                  <a:gd name="connsiteX5" fmla="*/ 215075 w 243257"/>
                  <a:gd name="connsiteY5" fmla="*/ 110799 h 210883"/>
                  <a:gd name="connsiteX6" fmla="*/ 214122 w 243257"/>
                  <a:gd name="connsiteY6" fmla="*/ 87558 h 210883"/>
                  <a:gd name="connsiteX7" fmla="*/ 210312 w 243257"/>
                  <a:gd name="connsiteY7" fmla="*/ 86415 h 210883"/>
                  <a:gd name="connsiteX8" fmla="*/ 177641 w 243257"/>
                  <a:gd name="connsiteY8" fmla="*/ 86415 h 210883"/>
                  <a:gd name="connsiteX9" fmla="*/ 174593 w 243257"/>
                  <a:gd name="connsiteY9" fmla="*/ 87939 h 210883"/>
                  <a:gd name="connsiteX10" fmla="*/ 173831 w 243257"/>
                  <a:gd name="connsiteY10" fmla="*/ 93273 h 210883"/>
                  <a:gd name="connsiteX11" fmla="*/ 173831 w 243257"/>
                  <a:gd name="connsiteY11" fmla="*/ 109275 h 210883"/>
                  <a:gd name="connsiteX12" fmla="*/ 168593 w 243257"/>
                  <a:gd name="connsiteY12" fmla="*/ 136040 h 210883"/>
                  <a:gd name="connsiteX13" fmla="*/ 120301 w 243257"/>
                  <a:gd name="connsiteY13" fmla="*/ 95940 h 210883"/>
                  <a:gd name="connsiteX14" fmla="*/ 163830 w 243257"/>
                  <a:gd name="connsiteY14" fmla="*/ 46600 h 210883"/>
                  <a:gd name="connsiteX15" fmla="*/ 92012 w 243257"/>
                  <a:gd name="connsiteY15" fmla="*/ 23 h 210883"/>
                  <a:gd name="connsiteX16" fmla="*/ 14097 w 243257"/>
                  <a:gd name="connsiteY16" fmla="*/ 46600 h 210883"/>
                  <a:gd name="connsiteX17" fmla="*/ 20384 w 243257"/>
                  <a:gd name="connsiteY17" fmla="*/ 69270 h 210883"/>
                  <a:gd name="connsiteX18" fmla="*/ 20193 w 243257"/>
                  <a:gd name="connsiteY18" fmla="*/ 70222 h 210883"/>
                  <a:gd name="connsiteX19" fmla="*/ 21908 w 243257"/>
                  <a:gd name="connsiteY19" fmla="*/ 71651 h 210883"/>
                  <a:gd name="connsiteX20" fmla="*/ 33242 w 243257"/>
                  <a:gd name="connsiteY20" fmla="*/ 83462 h 210883"/>
                  <a:gd name="connsiteX21" fmla="*/ 0 w 243257"/>
                  <a:gd name="connsiteY21" fmla="*/ 139755 h 210883"/>
                  <a:gd name="connsiteX22" fmla="*/ 97346 w 243257"/>
                  <a:gd name="connsiteY22" fmla="*/ 210811 h 210883"/>
                  <a:gd name="connsiteX23" fmla="*/ 172688 w 243257"/>
                  <a:gd name="connsiteY23" fmla="*/ 193000 h 210883"/>
                  <a:gd name="connsiteX24" fmla="*/ 180594 w 243257"/>
                  <a:gd name="connsiteY24" fmla="*/ 196524 h 210883"/>
                  <a:gd name="connsiteX25" fmla="*/ 192977 w 243257"/>
                  <a:gd name="connsiteY25" fmla="*/ 202620 h 210883"/>
                  <a:gd name="connsiteX26" fmla="*/ 237839 w 243257"/>
                  <a:gd name="connsiteY26" fmla="*/ 202429 h 210883"/>
                  <a:gd name="connsiteX27" fmla="*/ 242983 w 243257"/>
                  <a:gd name="connsiteY27" fmla="*/ 198048 h 210883"/>
                  <a:gd name="connsiteX28" fmla="*/ 243078 w 243257"/>
                  <a:gd name="connsiteY28" fmla="*/ 195571 h 210883"/>
                  <a:gd name="connsiteX29" fmla="*/ 242507 w 243257"/>
                  <a:gd name="connsiteY29" fmla="*/ 186523 h 210883"/>
                  <a:gd name="connsiteX30" fmla="*/ 92107 w 243257"/>
                  <a:gd name="connsiteY30" fmla="*/ 28217 h 210883"/>
                  <a:gd name="connsiteX31" fmla="*/ 120396 w 243257"/>
                  <a:gd name="connsiteY31" fmla="*/ 46505 h 210883"/>
                  <a:gd name="connsiteX32" fmla="*/ 89821 w 243257"/>
                  <a:gd name="connsiteY32" fmla="*/ 67079 h 210883"/>
                  <a:gd name="connsiteX33" fmla="*/ 85916 w 243257"/>
                  <a:gd name="connsiteY33" fmla="*/ 66317 h 210883"/>
                  <a:gd name="connsiteX34" fmla="*/ 77534 w 243257"/>
                  <a:gd name="connsiteY34" fmla="*/ 62983 h 210883"/>
                  <a:gd name="connsiteX35" fmla="*/ 61817 w 243257"/>
                  <a:gd name="connsiteY35" fmla="*/ 46505 h 210883"/>
                  <a:gd name="connsiteX36" fmla="*/ 92107 w 243257"/>
                  <a:gd name="connsiteY36" fmla="*/ 28217 h 210883"/>
                  <a:gd name="connsiteX37" fmla="*/ 102013 w 243257"/>
                  <a:gd name="connsiteY37" fmla="*/ 176426 h 210883"/>
                  <a:gd name="connsiteX38" fmla="*/ 51721 w 243257"/>
                  <a:gd name="connsiteY38" fmla="*/ 136135 h 210883"/>
                  <a:gd name="connsiteX39" fmla="*/ 65913 w 243257"/>
                  <a:gd name="connsiteY39" fmla="*/ 106989 h 210883"/>
                  <a:gd name="connsiteX40" fmla="*/ 142875 w 243257"/>
                  <a:gd name="connsiteY40" fmla="*/ 168901 h 210883"/>
                  <a:gd name="connsiteX41" fmla="*/ 102013 w 243257"/>
                  <a:gd name="connsiteY41" fmla="*/ 176426 h 2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3257" h="210883">
                    <a:moveTo>
                      <a:pt x="242507" y="186523"/>
                    </a:moveTo>
                    <a:cubicBezTo>
                      <a:pt x="240983" y="184237"/>
                      <a:pt x="238696" y="184999"/>
                      <a:pt x="234125" y="184237"/>
                    </a:cubicBezTo>
                    <a:cubicBezTo>
                      <a:pt x="229553" y="183475"/>
                      <a:pt x="226504" y="181189"/>
                      <a:pt x="226504" y="181189"/>
                    </a:cubicBezTo>
                    <a:lnTo>
                      <a:pt x="202597" y="164234"/>
                    </a:lnTo>
                    <a:cubicBezTo>
                      <a:pt x="205931" y="158233"/>
                      <a:pt x="208502" y="151947"/>
                      <a:pt x="210503" y="147470"/>
                    </a:cubicBezTo>
                    <a:cubicBezTo>
                      <a:pt x="213551" y="140612"/>
                      <a:pt x="215075" y="118419"/>
                      <a:pt x="215075" y="110799"/>
                    </a:cubicBezTo>
                    <a:cubicBezTo>
                      <a:pt x="215075" y="103179"/>
                      <a:pt x="216789" y="89844"/>
                      <a:pt x="214122" y="87558"/>
                    </a:cubicBezTo>
                    <a:cubicBezTo>
                      <a:pt x="213360" y="86891"/>
                      <a:pt x="210312" y="86415"/>
                      <a:pt x="210312" y="86415"/>
                    </a:cubicBezTo>
                    <a:lnTo>
                      <a:pt x="177641" y="86415"/>
                    </a:lnTo>
                    <a:cubicBezTo>
                      <a:pt x="177641" y="86415"/>
                      <a:pt x="175736" y="86796"/>
                      <a:pt x="174593" y="87939"/>
                    </a:cubicBezTo>
                    <a:cubicBezTo>
                      <a:pt x="173641" y="88891"/>
                      <a:pt x="173831" y="93273"/>
                      <a:pt x="173831" y="93273"/>
                    </a:cubicBezTo>
                    <a:cubicBezTo>
                      <a:pt x="173831" y="93273"/>
                      <a:pt x="173450" y="103941"/>
                      <a:pt x="173831" y="109275"/>
                    </a:cubicBezTo>
                    <a:cubicBezTo>
                      <a:pt x="174498" y="119276"/>
                      <a:pt x="172021" y="128420"/>
                      <a:pt x="168593" y="136040"/>
                    </a:cubicBezTo>
                    <a:lnTo>
                      <a:pt x="120301" y="95940"/>
                    </a:lnTo>
                    <a:cubicBezTo>
                      <a:pt x="146876" y="85939"/>
                      <a:pt x="164211" y="63364"/>
                      <a:pt x="163830" y="46600"/>
                    </a:cubicBezTo>
                    <a:cubicBezTo>
                      <a:pt x="163068" y="13739"/>
                      <a:pt x="133826" y="690"/>
                      <a:pt x="92012" y="23"/>
                    </a:cubicBezTo>
                    <a:cubicBezTo>
                      <a:pt x="45434" y="-739"/>
                      <a:pt x="14097" y="17359"/>
                      <a:pt x="14097" y="46600"/>
                    </a:cubicBezTo>
                    <a:cubicBezTo>
                      <a:pt x="14097" y="54982"/>
                      <a:pt x="16383" y="62602"/>
                      <a:pt x="20384" y="69270"/>
                    </a:cubicBezTo>
                    <a:cubicBezTo>
                      <a:pt x="20288" y="69556"/>
                      <a:pt x="20193" y="69937"/>
                      <a:pt x="20193" y="70222"/>
                    </a:cubicBezTo>
                    <a:lnTo>
                      <a:pt x="21908" y="71651"/>
                    </a:lnTo>
                    <a:cubicBezTo>
                      <a:pt x="24956" y="76033"/>
                      <a:pt x="28766" y="79938"/>
                      <a:pt x="33242" y="83462"/>
                    </a:cubicBezTo>
                    <a:cubicBezTo>
                      <a:pt x="12573" y="97845"/>
                      <a:pt x="0" y="118228"/>
                      <a:pt x="0" y="139755"/>
                    </a:cubicBezTo>
                    <a:cubicBezTo>
                      <a:pt x="0" y="180331"/>
                      <a:pt x="18669" y="208430"/>
                      <a:pt x="97346" y="210811"/>
                    </a:cubicBezTo>
                    <a:cubicBezTo>
                      <a:pt x="125730" y="211669"/>
                      <a:pt x="152400" y="204811"/>
                      <a:pt x="172688" y="193000"/>
                    </a:cubicBezTo>
                    <a:lnTo>
                      <a:pt x="180594" y="196524"/>
                    </a:lnTo>
                    <a:cubicBezTo>
                      <a:pt x="183833" y="199191"/>
                      <a:pt x="186500" y="202429"/>
                      <a:pt x="192977" y="202620"/>
                    </a:cubicBezTo>
                    <a:lnTo>
                      <a:pt x="237839" y="202429"/>
                    </a:lnTo>
                    <a:cubicBezTo>
                      <a:pt x="241268" y="202429"/>
                      <a:pt x="242983" y="201382"/>
                      <a:pt x="242983" y="198048"/>
                    </a:cubicBezTo>
                    <a:lnTo>
                      <a:pt x="243078" y="195571"/>
                    </a:lnTo>
                    <a:cubicBezTo>
                      <a:pt x="243173" y="195476"/>
                      <a:pt x="243650" y="188142"/>
                      <a:pt x="242507" y="186523"/>
                    </a:cubicBezTo>
                    <a:close/>
                    <a:moveTo>
                      <a:pt x="92107" y="28217"/>
                    </a:moveTo>
                    <a:cubicBezTo>
                      <a:pt x="110490" y="28979"/>
                      <a:pt x="120396" y="37361"/>
                      <a:pt x="120396" y="46505"/>
                    </a:cubicBezTo>
                    <a:cubicBezTo>
                      <a:pt x="120396" y="57173"/>
                      <a:pt x="95917" y="67079"/>
                      <a:pt x="89821" y="67079"/>
                    </a:cubicBezTo>
                    <a:cubicBezTo>
                      <a:pt x="88868" y="67079"/>
                      <a:pt x="87535" y="66793"/>
                      <a:pt x="85916" y="66317"/>
                    </a:cubicBezTo>
                    <a:cubicBezTo>
                      <a:pt x="83439" y="64888"/>
                      <a:pt x="80105" y="63555"/>
                      <a:pt x="77534" y="62983"/>
                    </a:cubicBezTo>
                    <a:cubicBezTo>
                      <a:pt x="69818" y="59078"/>
                      <a:pt x="61817" y="52887"/>
                      <a:pt x="61817" y="46505"/>
                    </a:cubicBezTo>
                    <a:cubicBezTo>
                      <a:pt x="61722" y="37361"/>
                      <a:pt x="73724" y="27455"/>
                      <a:pt x="92107" y="28217"/>
                    </a:cubicBezTo>
                    <a:close/>
                    <a:moveTo>
                      <a:pt x="102013" y="176426"/>
                    </a:moveTo>
                    <a:cubicBezTo>
                      <a:pt x="58484" y="175664"/>
                      <a:pt x="51721" y="160519"/>
                      <a:pt x="51721" y="136135"/>
                    </a:cubicBezTo>
                    <a:cubicBezTo>
                      <a:pt x="51721" y="125372"/>
                      <a:pt x="56960" y="115085"/>
                      <a:pt x="65913" y="106989"/>
                    </a:cubicBezTo>
                    <a:lnTo>
                      <a:pt x="142875" y="168901"/>
                    </a:lnTo>
                    <a:cubicBezTo>
                      <a:pt x="134779" y="173950"/>
                      <a:pt x="118205" y="176712"/>
                      <a:pt x="102013" y="1764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4" name="Freeform 63">
                <a:extLst>
                  <a:ext uri="{FF2B5EF4-FFF2-40B4-BE49-F238E27FC236}">
                    <a16:creationId xmlns:a16="http://schemas.microsoft.com/office/drawing/2014/main" id="{8335E682-84A6-4442-A63F-39D96CB151C9}"/>
                  </a:ext>
                </a:extLst>
              </p:cNvPr>
              <p:cNvSpPr/>
              <p:nvPr/>
            </p:nvSpPr>
            <p:spPr>
              <a:xfrm>
                <a:off x="1530769" y="6441174"/>
                <a:ext cx="62802" cy="67002"/>
              </a:xfrm>
              <a:custGeom>
                <a:avLst/>
                <a:gdLst>
                  <a:gd name="connsiteX0" fmla="*/ 141198 w 141864"/>
                  <a:gd name="connsiteY0" fmla="*/ 108680 h 151352"/>
                  <a:gd name="connsiteX1" fmla="*/ 136531 w 141864"/>
                  <a:gd name="connsiteY1" fmla="*/ 104013 h 151352"/>
                  <a:gd name="connsiteX2" fmla="*/ 124339 w 141864"/>
                  <a:gd name="connsiteY2" fmla="*/ 104013 h 151352"/>
                  <a:gd name="connsiteX3" fmla="*/ 119672 w 141864"/>
                  <a:gd name="connsiteY3" fmla="*/ 108680 h 151352"/>
                  <a:gd name="connsiteX4" fmla="*/ 116814 w 141864"/>
                  <a:gd name="connsiteY4" fmla="*/ 116205 h 151352"/>
                  <a:gd name="connsiteX5" fmla="*/ 112337 w 141864"/>
                  <a:gd name="connsiteY5" fmla="*/ 122777 h 151352"/>
                  <a:gd name="connsiteX6" fmla="*/ 52711 w 141864"/>
                  <a:gd name="connsiteY6" fmla="*/ 125063 h 151352"/>
                  <a:gd name="connsiteX7" fmla="*/ 49663 w 141864"/>
                  <a:gd name="connsiteY7" fmla="*/ 121063 h 151352"/>
                  <a:gd name="connsiteX8" fmla="*/ 49663 w 141864"/>
                  <a:gd name="connsiteY8" fmla="*/ 82010 h 151352"/>
                  <a:gd name="connsiteX9" fmla="*/ 96145 w 141864"/>
                  <a:gd name="connsiteY9" fmla="*/ 82010 h 151352"/>
                  <a:gd name="connsiteX10" fmla="*/ 102717 w 141864"/>
                  <a:gd name="connsiteY10" fmla="*/ 90583 h 151352"/>
                  <a:gd name="connsiteX11" fmla="*/ 103193 w 141864"/>
                  <a:gd name="connsiteY11" fmla="*/ 91726 h 151352"/>
                  <a:gd name="connsiteX12" fmla="*/ 104336 w 141864"/>
                  <a:gd name="connsiteY12" fmla="*/ 91916 h 151352"/>
                  <a:gd name="connsiteX13" fmla="*/ 119005 w 141864"/>
                  <a:gd name="connsiteY13" fmla="*/ 91821 h 151352"/>
                  <a:gd name="connsiteX14" fmla="*/ 120148 w 141864"/>
                  <a:gd name="connsiteY14" fmla="*/ 90678 h 151352"/>
                  <a:gd name="connsiteX15" fmla="*/ 120148 w 141864"/>
                  <a:gd name="connsiteY15" fmla="*/ 57341 h 151352"/>
                  <a:gd name="connsiteX16" fmla="*/ 120148 w 141864"/>
                  <a:gd name="connsiteY16" fmla="*/ 45815 h 151352"/>
                  <a:gd name="connsiteX17" fmla="*/ 119005 w 141864"/>
                  <a:gd name="connsiteY17" fmla="*/ 44672 h 151352"/>
                  <a:gd name="connsiteX18" fmla="*/ 104336 w 141864"/>
                  <a:gd name="connsiteY18" fmla="*/ 44577 h 151352"/>
                  <a:gd name="connsiteX19" fmla="*/ 103193 w 141864"/>
                  <a:gd name="connsiteY19" fmla="*/ 44863 h 151352"/>
                  <a:gd name="connsiteX20" fmla="*/ 102717 w 141864"/>
                  <a:gd name="connsiteY20" fmla="*/ 46006 h 151352"/>
                  <a:gd name="connsiteX21" fmla="*/ 96145 w 141864"/>
                  <a:gd name="connsiteY21" fmla="*/ 54578 h 151352"/>
                  <a:gd name="connsiteX22" fmla="*/ 49663 w 141864"/>
                  <a:gd name="connsiteY22" fmla="*/ 54578 h 151352"/>
                  <a:gd name="connsiteX23" fmla="*/ 49663 w 141864"/>
                  <a:gd name="connsiteY23" fmla="*/ 30194 h 151352"/>
                  <a:gd name="connsiteX24" fmla="*/ 49949 w 141864"/>
                  <a:gd name="connsiteY24" fmla="*/ 25527 h 151352"/>
                  <a:gd name="connsiteX25" fmla="*/ 54235 w 141864"/>
                  <a:gd name="connsiteY25" fmla="*/ 24289 h 151352"/>
                  <a:gd name="connsiteX26" fmla="*/ 97574 w 141864"/>
                  <a:gd name="connsiteY26" fmla="*/ 24765 h 151352"/>
                  <a:gd name="connsiteX27" fmla="*/ 111671 w 141864"/>
                  <a:gd name="connsiteY27" fmla="*/ 27527 h 151352"/>
                  <a:gd name="connsiteX28" fmla="*/ 113671 w 141864"/>
                  <a:gd name="connsiteY28" fmla="*/ 32385 h 151352"/>
                  <a:gd name="connsiteX29" fmla="*/ 118338 w 141864"/>
                  <a:gd name="connsiteY29" fmla="*/ 37052 h 151352"/>
                  <a:gd name="connsiteX30" fmla="*/ 130530 w 141864"/>
                  <a:gd name="connsiteY30" fmla="*/ 37052 h 151352"/>
                  <a:gd name="connsiteX31" fmla="*/ 135197 w 141864"/>
                  <a:gd name="connsiteY31" fmla="*/ 32385 h 151352"/>
                  <a:gd name="connsiteX32" fmla="*/ 135674 w 141864"/>
                  <a:gd name="connsiteY32" fmla="*/ 4667 h 151352"/>
                  <a:gd name="connsiteX33" fmla="*/ 131006 w 141864"/>
                  <a:gd name="connsiteY33" fmla="*/ 0 h 151352"/>
                  <a:gd name="connsiteX34" fmla="*/ 64617 w 141864"/>
                  <a:gd name="connsiteY34" fmla="*/ 0 h 151352"/>
                  <a:gd name="connsiteX35" fmla="*/ 1657 w 141864"/>
                  <a:gd name="connsiteY35" fmla="*/ 0 h 151352"/>
                  <a:gd name="connsiteX36" fmla="*/ 228 w 141864"/>
                  <a:gd name="connsiteY36" fmla="*/ 1429 h 151352"/>
                  <a:gd name="connsiteX37" fmla="*/ 38 w 141864"/>
                  <a:gd name="connsiteY37" fmla="*/ 19907 h 151352"/>
                  <a:gd name="connsiteX38" fmla="*/ 323 w 141864"/>
                  <a:gd name="connsiteY38" fmla="*/ 21431 h 151352"/>
                  <a:gd name="connsiteX39" fmla="*/ 1752 w 141864"/>
                  <a:gd name="connsiteY39" fmla="*/ 22003 h 151352"/>
                  <a:gd name="connsiteX40" fmla="*/ 16421 w 141864"/>
                  <a:gd name="connsiteY40" fmla="*/ 30290 h 151352"/>
                  <a:gd name="connsiteX41" fmla="*/ 16421 w 141864"/>
                  <a:gd name="connsiteY41" fmla="*/ 121158 h 151352"/>
                  <a:gd name="connsiteX42" fmla="*/ 1752 w 141864"/>
                  <a:gd name="connsiteY42" fmla="*/ 129445 h 151352"/>
                  <a:gd name="connsiteX43" fmla="*/ 323 w 141864"/>
                  <a:gd name="connsiteY43" fmla="*/ 130016 h 151352"/>
                  <a:gd name="connsiteX44" fmla="*/ 38 w 141864"/>
                  <a:gd name="connsiteY44" fmla="*/ 131445 h 151352"/>
                  <a:gd name="connsiteX45" fmla="*/ 228 w 141864"/>
                  <a:gd name="connsiteY45" fmla="*/ 149924 h 151352"/>
                  <a:gd name="connsiteX46" fmla="*/ 1657 w 141864"/>
                  <a:gd name="connsiteY46" fmla="*/ 151352 h 151352"/>
                  <a:gd name="connsiteX47" fmla="*/ 52044 w 141864"/>
                  <a:gd name="connsiteY47" fmla="*/ 151352 h 151352"/>
                  <a:gd name="connsiteX48" fmla="*/ 52139 w 141864"/>
                  <a:gd name="connsiteY48" fmla="*/ 151352 h 151352"/>
                  <a:gd name="connsiteX49" fmla="*/ 137198 w 141864"/>
                  <a:gd name="connsiteY49" fmla="*/ 151352 h 151352"/>
                  <a:gd name="connsiteX50" fmla="*/ 141865 w 141864"/>
                  <a:gd name="connsiteY50" fmla="*/ 146685 h 151352"/>
                  <a:gd name="connsiteX51" fmla="*/ 141198 w 141864"/>
                  <a:gd name="connsiteY51" fmla="*/ 10868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1864" h="151352">
                    <a:moveTo>
                      <a:pt x="141198" y="108680"/>
                    </a:moveTo>
                    <a:cubicBezTo>
                      <a:pt x="141198" y="106108"/>
                      <a:pt x="139103" y="104013"/>
                      <a:pt x="136531" y="104013"/>
                    </a:cubicBezTo>
                    <a:lnTo>
                      <a:pt x="124339" y="104013"/>
                    </a:lnTo>
                    <a:cubicBezTo>
                      <a:pt x="121767" y="104013"/>
                      <a:pt x="119672" y="106108"/>
                      <a:pt x="119672" y="108680"/>
                    </a:cubicBezTo>
                    <a:lnTo>
                      <a:pt x="116814" y="116205"/>
                    </a:lnTo>
                    <a:cubicBezTo>
                      <a:pt x="116624" y="118967"/>
                      <a:pt x="113385" y="120587"/>
                      <a:pt x="112337" y="122777"/>
                    </a:cubicBezTo>
                    <a:cubicBezTo>
                      <a:pt x="109194" y="129064"/>
                      <a:pt x="52711" y="125063"/>
                      <a:pt x="52711" y="125063"/>
                    </a:cubicBezTo>
                    <a:cubicBezTo>
                      <a:pt x="50901" y="123825"/>
                      <a:pt x="49663" y="122492"/>
                      <a:pt x="49663" y="121063"/>
                    </a:cubicBezTo>
                    <a:lnTo>
                      <a:pt x="49663" y="82010"/>
                    </a:lnTo>
                    <a:lnTo>
                      <a:pt x="96145" y="82010"/>
                    </a:lnTo>
                    <a:cubicBezTo>
                      <a:pt x="99002" y="82010"/>
                      <a:pt x="101860" y="85534"/>
                      <a:pt x="102717" y="90583"/>
                    </a:cubicBezTo>
                    <a:cubicBezTo>
                      <a:pt x="102717" y="90583"/>
                      <a:pt x="102717" y="91440"/>
                      <a:pt x="103193" y="91726"/>
                    </a:cubicBezTo>
                    <a:cubicBezTo>
                      <a:pt x="103670" y="92107"/>
                      <a:pt x="104336" y="91916"/>
                      <a:pt x="104336" y="91916"/>
                    </a:cubicBezTo>
                    <a:lnTo>
                      <a:pt x="119005" y="91821"/>
                    </a:lnTo>
                    <a:cubicBezTo>
                      <a:pt x="119672" y="91821"/>
                      <a:pt x="120148" y="91345"/>
                      <a:pt x="120148" y="90678"/>
                    </a:cubicBezTo>
                    <a:lnTo>
                      <a:pt x="120148" y="57341"/>
                    </a:lnTo>
                    <a:lnTo>
                      <a:pt x="120148" y="45815"/>
                    </a:lnTo>
                    <a:cubicBezTo>
                      <a:pt x="120148" y="45149"/>
                      <a:pt x="119672" y="44672"/>
                      <a:pt x="119005" y="44672"/>
                    </a:cubicBezTo>
                    <a:lnTo>
                      <a:pt x="104336" y="44577"/>
                    </a:lnTo>
                    <a:cubicBezTo>
                      <a:pt x="104336" y="44577"/>
                      <a:pt x="103670" y="44482"/>
                      <a:pt x="103193" y="44863"/>
                    </a:cubicBezTo>
                    <a:cubicBezTo>
                      <a:pt x="102717" y="45244"/>
                      <a:pt x="102717" y="46006"/>
                      <a:pt x="102717" y="46006"/>
                    </a:cubicBezTo>
                    <a:cubicBezTo>
                      <a:pt x="101860" y="51054"/>
                      <a:pt x="99002" y="54578"/>
                      <a:pt x="96145" y="54578"/>
                    </a:cubicBezTo>
                    <a:lnTo>
                      <a:pt x="49663" y="54578"/>
                    </a:lnTo>
                    <a:lnTo>
                      <a:pt x="49663" y="30194"/>
                    </a:lnTo>
                    <a:lnTo>
                      <a:pt x="49949" y="25527"/>
                    </a:lnTo>
                    <a:cubicBezTo>
                      <a:pt x="51187" y="23527"/>
                      <a:pt x="54235" y="24289"/>
                      <a:pt x="54235" y="24289"/>
                    </a:cubicBezTo>
                    <a:cubicBezTo>
                      <a:pt x="54235" y="24289"/>
                      <a:pt x="89382" y="24289"/>
                      <a:pt x="97574" y="24765"/>
                    </a:cubicBezTo>
                    <a:cubicBezTo>
                      <a:pt x="101574" y="25051"/>
                      <a:pt x="109765" y="24479"/>
                      <a:pt x="111671" y="27527"/>
                    </a:cubicBezTo>
                    <a:cubicBezTo>
                      <a:pt x="113004" y="29623"/>
                      <a:pt x="113671" y="32385"/>
                      <a:pt x="113671" y="32385"/>
                    </a:cubicBezTo>
                    <a:cubicBezTo>
                      <a:pt x="113671" y="34957"/>
                      <a:pt x="115766" y="37052"/>
                      <a:pt x="118338" y="37052"/>
                    </a:cubicBezTo>
                    <a:lnTo>
                      <a:pt x="130530" y="37052"/>
                    </a:lnTo>
                    <a:cubicBezTo>
                      <a:pt x="133102" y="37052"/>
                      <a:pt x="135197" y="34957"/>
                      <a:pt x="135197" y="32385"/>
                    </a:cubicBezTo>
                    <a:lnTo>
                      <a:pt x="135674" y="4667"/>
                    </a:lnTo>
                    <a:cubicBezTo>
                      <a:pt x="135674" y="2096"/>
                      <a:pt x="133578" y="0"/>
                      <a:pt x="131006" y="0"/>
                    </a:cubicBezTo>
                    <a:lnTo>
                      <a:pt x="64617" y="0"/>
                    </a:lnTo>
                    <a:lnTo>
                      <a:pt x="1657" y="0"/>
                    </a:lnTo>
                    <a:cubicBezTo>
                      <a:pt x="895" y="0"/>
                      <a:pt x="228" y="667"/>
                      <a:pt x="228" y="1429"/>
                    </a:cubicBezTo>
                    <a:lnTo>
                      <a:pt x="38" y="19907"/>
                    </a:lnTo>
                    <a:cubicBezTo>
                      <a:pt x="38" y="19907"/>
                      <a:pt x="-153" y="20765"/>
                      <a:pt x="323" y="21431"/>
                    </a:cubicBezTo>
                    <a:cubicBezTo>
                      <a:pt x="799"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228" y="149924"/>
                    </a:lnTo>
                    <a:cubicBezTo>
                      <a:pt x="228" y="150686"/>
                      <a:pt x="895" y="151352"/>
                      <a:pt x="1657" y="151352"/>
                    </a:cubicBezTo>
                    <a:lnTo>
                      <a:pt x="52044" y="151352"/>
                    </a:lnTo>
                    <a:cubicBezTo>
                      <a:pt x="52044" y="151352"/>
                      <a:pt x="52139" y="151352"/>
                      <a:pt x="52139" y="151352"/>
                    </a:cubicBezTo>
                    <a:lnTo>
                      <a:pt x="137198" y="151352"/>
                    </a:lnTo>
                    <a:cubicBezTo>
                      <a:pt x="139769" y="151352"/>
                      <a:pt x="141865" y="149257"/>
                      <a:pt x="141865" y="146685"/>
                    </a:cubicBezTo>
                    <a:lnTo>
                      <a:pt x="141198" y="108680"/>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5" name="Freeform 64">
                <a:extLst>
                  <a:ext uri="{FF2B5EF4-FFF2-40B4-BE49-F238E27FC236}">
                    <a16:creationId xmlns:a16="http://schemas.microsoft.com/office/drawing/2014/main" id="{96D71F15-A8FB-134C-8118-0A1883EDF9B0}"/>
                  </a:ext>
                </a:extLst>
              </p:cNvPr>
              <p:cNvSpPr/>
              <p:nvPr/>
            </p:nvSpPr>
            <p:spPr>
              <a:xfrm>
                <a:off x="1293289" y="6441174"/>
                <a:ext cx="57404" cy="67002"/>
              </a:xfrm>
              <a:custGeom>
                <a:avLst/>
                <a:gdLst>
                  <a:gd name="connsiteX0" fmla="*/ 124815 w 129672"/>
                  <a:gd name="connsiteY0" fmla="*/ 0 h 151352"/>
                  <a:gd name="connsiteX1" fmla="*/ 64522 w 129672"/>
                  <a:gd name="connsiteY1" fmla="*/ 0 h 151352"/>
                  <a:gd name="connsiteX2" fmla="*/ 1562 w 129672"/>
                  <a:gd name="connsiteY2" fmla="*/ 0 h 151352"/>
                  <a:gd name="connsiteX3" fmla="*/ 133 w 129672"/>
                  <a:gd name="connsiteY3" fmla="*/ 1429 h 151352"/>
                  <a:gd name="connsiteX4" fmla="*/ 38 w 129672"/>
                  <a:gd name="connsiteY4" fmla="*/ 19907 h 151352"/>
                  <a:gd name="connsiteX5" fmla="*/ 323 w 129672"/>
                  <a:gd name="connsiteY5" fmla="*/ 21431 h 151352"/>
                  <a:gd name="connsiteX6" fmla="*/ 1752 w 129672"/>
                  <a:gd name="connsiteY6" fmla="*/ 22003 h 151352"/>
                  <a:gd name="connsiteX7" fmla="*/ 16421 w 129672"/>
                  <a:gd name="connsiteY7" fmla="*/ 30290 h 151352"/>
                  <a:gd name="connsiteX8" fmla="*/ 16421 w 129672"/>
                  <a:gd name="connsiteY8" fmla="*/ 121158 h 151352"/>
                  <a:gd name="connsiteX9" fmla="*/ 1752 w 129672"/>
                  <a:gd name="connsiteY9" fmla="*/ 129445 h 151352"/>
                  <a:gd name="connsiteX10" fmla="*/ 323 w 129672"/>
                  <a:gd name="connsiteY10" fmla="*/ 130016 h 151352"/>
                  <a:gd name="connsiteX11" fmla="*/ 38 w 129672"/>
                  <a:gd name="connsiteY11" fmla="*/ 131445 h 151352"/>
                  <a:gd name="connsiteX12" fmla="*/ 133 w 129672"/>
                  <a:gd name="connsiteY12" fmla="*/ 149924 h 151352"/>
                  <a:gd name="connsiteX13" fmla="*/ 1562 w 129672"/>
                  <a:gd name="connsiteY13" fmla="*/ 151352 h 151352"/>
                  <a:gd name="connsiteX14" fmla="*/ 51949 w 129672"/>
                  <a:gd name="connsiteY14" fmla="*/ 151352 h 151352"/>
                  <a:gd name="connsiteX15" fmla="*/ 52044 w 129672"/>
                  <a:gd name="connsiteY15" fmla="*/ 151352 h 151352"/>
                  <a:gd name="connsiteX16" fmla="*/ 52044 w 129672"/>
                  <a:gd name="connsiteY16" fmla="*/ 151352 h 151352"/>
                  <a:gd name="connsiteX17" fmla="*/ 64522 w 129672"/>
                  <a:gd name="connsiteY17" fmla="*/ 151352 h 151352"/>
                  <a:gd name="connsiteX18" fmla="*/ 65951 w 129672"/>
                  <a:gd name="connsiteY18" fmla="*/ 149924 h 151352"/>
                  <a:gd name="connsiteX19" fmla="*/ 66141 w 129672"/>
                  <a:gd name="connsiteY19" fmla="*/ 131445 h 151352"/>
                  <a:gd name="connsiteX20" fmla="*/ 65855 w 129672"/>
                  <a:gd name="connsiteY20" fmla="*/ 130016 h 151352"/>
                  <a:gd name="connsiteX21" fmla="*/ 64427 w 129672"/>
                  <a:gd name="connsiteY21" fmla="*/ 129445 h 151352"/>
                  <a:gd name="connsiteX22" fmla="*/ 52616 w 129672"/>
                  <a:gd name="connsiteY22" fmla="*/ 124968 h 151352"/>
                  <a:gd name="connsiteX23" fmla="*/ 51758 w 129672"/>
                  <a:gd name="connsiteY23" fmla="*/ 124301 h 151352"/>
                  <a:gd name="connsiteX24" fmla="*/ 51377 w 129672"/>
                  <a:gd name="connsiteY24" fmla="*/ 124016 h 151352"/>
                  <a:gd name="connsiteX25" fmla="*/ 50711 w 129672"/>
                  <a:gd name="connsiteY25" fmla="*/ 123254 h 151352"/>
                  <a:gd name="connsiteX26" fmla="*/ 50615 w 129672"/>
                  <a:gd name="connsiteY26" fmla="*/ 123158 h 151352"/>
                  <a:gd name="connsiteX27" fmla="*/ 50044 w 129672"/>
                  <a:gd name="connsiteY27" fmla="*/ 122206 h 151352"/>
                  <a:gd name="connsiteX28" fmla="*/ 49949 w 129672"/>
                  <a:gd name="connsiteY28" fmla="*/ 122015 h 151352"/>
                  <a:gd name="connsiteX29" fmla="*/ 49758 w 129672"/>
                  <a:gd name="connsiteY29" fmla="*/ 121063 h 151352"/>
                  <a:gd name="connsiteX30" fmla="*/ 49758 w 129672"/>
                  <a:gd name="connsiteY30" fmla="*/ 82010 h 151352"/>
                  <a:gd name="connsiteX31" fmla="*/ 91478 w 129672"/>
                  <a:gd name="connsiteY31" fmla="*/ 82010 h 151352"/>
                  <a:gd name="connsiteX32" fmla="*/ 98050 w 129672"/>
                  <a:gd name="connsiteY32" fmla="*/ 90583 h 151352"/>
                  <a:gd name="connsiteX33" fmla="*/ 98526 w 129672"/>
                  <a:gd name="connsiteY33" fmla="*/ 91726 h 151352"/>
                  <a:gd name="connsiteX34" fmla="*/ 99669 w 129672"/>
                  <a:gd name="connsiteY34" fmla="*/ 91916 h 151352"/>
                  <a:gd name="connsiteX35" fmla="*/ 114338 w 129672"/>
                  <a:gd name="connsiteY35" fmla="*/ 91821 h 151352"/>
                  <a:gd name="connsiteX36" fmla="*/ 115481 w 129672"/>
                  <a:gd name="connsiteY36" fmla="*/ 90678 h 151352"/>
                  <a:gd name="connsiteX37" fmla="*/ 115481 w 129672"/>
                  <a:gd name="connsiteY37" fmla="*/ 60388 h 151352"/>
                  <a:gd name="connsiteX38" fmla="*/ 115481 w 129672"/>
                  <a:gd name="connsiteY38" fmla="*/ 48863 h 151352"/>
                  <a:gd name="connsiteX39" fmla="*/ 114338 w 129672"/>
                  <a:gd name="connsiteY39" fmla="*/ 47720 h 151352"/>
                  <a:gd name="connsiteX40" fmla="*/ 99669 w 129672"/>
                  <a:gd name="connsiteY40" fmla="*/ 47625 h 151352"/>
                  <a:gd name="connsiteX41" fmla="*/ 98526 w 129672"/>
                  <a:gd name="connsiteY41" fmla="*/ 47816 h 151352"/>
                  <a:gd name="connsiteX42" fmla="*/ 98050 w 129672"/>
                  <a:gd name="connsiteY42" fmla="*/ 48958 h 151352"/>
                  <a:gd name="connsiteX43" fmla="*/ 91478 w 129672"/>
                  <a:gd name="connsiteY43" fmla="*/ 57531 h 151352"/>
                  <a:gd name="connsiteX44" fmla="*/ 49758 w 129672"/>
                  <a:gd name="connsiteY44" fmla="*/ 57531 h 151352"/>
                  <a:gd name="connsiteX45" fmla="*/ 49758 w 129672"/>
                  <a:gd name="connsiteY45" fmla="*/ 30099 h 151352"/>
                  <a:gd name="connsiteX46" fmla="*/ 50044 w 129672"/>
                  <a:gd name="connsiteY46" fmla="*/ 25432 h 151352"/>
                  <a:gd name="connsiteX47" fmla="*/ 54330 w 129672"/>
                  <a:gd name="connsiteY47" fmla="*/ 24194 h 151352"/>
                  <a:gd name="connsiteX48" fmla="*/ 91573 w 129672"/>
                  <a:gd name="connsiteY48" fmla="*/ 24670 h 151352"/>
                  <a:gd name="connsiteX49" fmla="*/ 105670 w 129672"/>
                  <a:gd name="connsiteY49" fmla="*/ 27432 h 151352"/>
                  <a:gd name="connsiteX50" fmla="*/ 107670 w 129672"/>
                  <a:gd name="connsiteY50" fmla="*/ 32290 h 151352"/>
                  <a:gd name="connsiteX51" fmla="*/ 112337 w 129672"/>
                  <a:gd name="connsiteY51" fmla="*/ 36957 h 151352"/>
                  <a:gd name="connsiteX52" fmla="*/ 124529 w 129672"/>
                  <a:gd name="connsiteY52" fmla="*/ 36957 h 151352"/>
                  <a:gd name="connsiteX53" fmla="*/ 129197 w 129672"/>
                  <a:gd name="connsiteY53" fmla="*/ 32290 h 151352"/>
                  <a:gd name="connsiteX54" fmla="*/ 129673 w 129672"/>
                  <a:gd name="connsiteY54" fmla="*/ 4572 h 151352"/>
                  <a:gd name="connsiteX55" fmla="*/ 124815 w 129672"/>
                  <a:gd name="connsiteY55" fmla="*/ 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672" h="151352">
                    <a:moveTo>
                      <a:pt x="124815" y="0"/>
                    </a:moveTo>
                    <a:lnTo>
                      <a:pt x="64522" y="0"/>
                    </a:lnTo>
                    <a:lnTo>
                      <a:pt x="1562" y="0"/>
                    </a:lnTo>
                    <a:cubicBezTo>
                      <a:pt x="800" y="0"/>
                      <a:pt x="133" y="667"/>
                      <a:pt x="133" y="1429"/>
                    </a:cubicBezTo>
                    <a:lnTo>
                      <a:pt x="38" y="19907"/>
                    </a:lnTo>
                    <a:cubicBezTo>
                      <a:pt x="38" y="19907"/>
                      <a:pt x="-153" y="20765"/>
                      <a:pt x="323" y="21431"/>
                    </a:cubicBezTo>
                    <a:cubicBezTo>
                      <a:pt x="800"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133" y="149924"/>
                    </a:lnTo>
                    <a:cubicBezTo>
                      <a:pt x="133" y="150686"/>
                      <a:pt x="800" y="151352"/>
                      <a:pt x="1562" y="151352"/>
                    </a:cubicBezTo>
                    <a:lnTo>
                      <a:pt x="51949" y="151352"/>
                    </a:lnTo>
                    <a:cubicBezTo>
                      <a:pt x="51949" y="151352"/>
                      <a:pt x="52044" y="151352"/>
                      <a:pt x="52044" y="151352"/>
                    </a:cubicBezTo>
                    <a:lnTo>
                      <a:pt x="52044" y="151352"/>
                    </a:lnTo>
                    <a:lnTo>
                      <a:pt x="64522" y="151352"/>
                    </a:lnTo>
                    <a:cubicBezTo>
                      <a:pt x="65284" y="151352"/>
                      <a:pt x="65951" y="150686"/>
                      <a:pt x="65951" y="149924"/>
                    </a:cubicBezTo>
                    <a:lnTo>
                      <a:pt x="66141" y="131445"/>
                    </a:lnTo>
                    <a:cubicBezTo>
                      <a:pt x="66046" y="131445"/>
                      <a:pt x="66332" y="130588"/>
                      <a:pt x="65855" y="130016"/>
                    </a:cubicBezTo>
                    <a:cubicBezTo>
                      <a:pt x="65379" y="129350"/>
                      <a:pt x="64427" y="129445"/>
                      <a:pt x="64427" y="129445"/>
                    </a:cubicBezTo>
                    <a:cubicBezTo>
                      <a:pt x="60426" y="128778"/>
                      <a:pt x="55569" y="127063"/>
                      <a:pt x="52616" y="124968"/>
                    </a:cubicBezTo>
                    <a:cubicBezTo>
                      <a:pt x="52330" y="124778"/>
                      <a:pt x="52044" y="124492"/>
                      <a:pt x="51758" y="124301"/>
                    </a:cubicBezTo>
                    <a:cubicBezTo>
                      <a:pt x="51663" y="124206"/>
                      <a:pt x="51568" y="124111"/>
                      <a:pt x="51377" y="124016"/>
                    </a:cubicBezTo>
                    <a:cubicBezTo>
                      <a:pt x="51092" y="123730"/>
                      <a:pt x="50901" y="123539"/>
                      <a:pt x="50711" y="123254"/>
                    </a:cubicBezTo>
                    <a:cubicBezTo>
                      <a:pt x="50711" y="123254"/>
                      <a:pt x="50615" y="123158"/>
                      <a:pt x="50615" y="123158"/>
                    </a:cubicBezTo>
                    <a:cubicBezTo>
                      <a:pt x="50330" y="122873"/>
                      <a:pt x="50235" y="122587"/>
                      <a:pt x="50044" y="122206"/>
                    </a:cubicBezTo>
                    <a:cubicBezTo>
                      <a:pt x="50044" y="122111"/>
                      <a:pt x="50044" y="122111"/>
                      <a:pt x="49949" y="122015"/>
                    </a:cubicBezTo>
                    <a:cubicBezTo>
                      <a:pt x="49853" y="121729"/>
                      <a:pt x="49758" y="121349"/>
                      <a:pt x="49758" y="121063"/>
                    </a:cubicBezTo>
                    <a:lnTo>
                      <a:pt x="49758" y="82010"/>
                    </a:lnTo>
                    <a:lnTo>
                      <a:pt x="91478" y="82010"/>
                    </a:lnTo>
                    <a:cubicBezTo>
                      <a:pt x="94335" y="82010"/>
                      <a:pt x="97193" y="85534"/>
                      <a:pt x="98050" y="90583"/>
                    </a:cubicBezTo>
                    <a:cubicBezTo>
                      <a:pt x="98050" y="90583"/>
                      <a:pt x="98050" y="91440"/>
                      <a:pt x="98526" y="91726"/>
                    </a:cubicBezTo>
                    <a:cubicBezTo>
                      <a:pt x="99002" y="92107"/>
                      <a:pt x="99669" y="91916"/>
                      <a:pt x="99669" y="91916"/>
                    </a:cubicBezTo>
                    <a:lnTo>
                      <a:pt x="114338" y="91821"/>
                    </a:lnTo>
                    <a:cubicBezTo>
                      <a:pt x="114909" y="91821"/>
                      <a:pt x="115481" y="91345"/>
                      <a:pt x="115481" y="90678"/>
                    </a:cubicBezTo>
                    <a:lnTo>
                      <a:pt x="115481" y="60388"/>
                    </a:lnTo>
                    <a:lnTo>
                      <a:pt x="115481" y="48863"/>
                    </a:lnTo>
                    <a:cubicBezTo>
                      <a:pt x="115481" y="48292"/>
                      <a:pt x="115004" y="47720"/>
                      <a:pt x="114338" y="47720"/>
                    </a:cubicBezTo>
                    <a:lnTo>
                      <a:pt x="99669" y="47625"/>
                    </a:lnTo>
                    <a:cubicBezTo>
                      <a:pt x="99669" y="47625"/>
                      <a:pt x="99002" y="47530"/>
                      <a:pt x="98526" y="47816"/>
                    </a:cubicBezTo>
                    <a:cubicBezTo>
                      <a:pt x="98050" y="48196"/>
                      <a:pt x="98050" y="48958"/>
                      <a:pt x="98050" y="48958"/>
                    </a:cubicBezTo>
                    <a:cubicBezTo>
                      <a:pt x="97193" y="54007"/>
                      <a:pt x="94335" y="57531"/>
                      <a:pt x="91478" y="57531"/>
                    </a:cubicBezTo>
                    <a:lnTo>
                      <a:pt x="49758" y="57531"/>
                    </a:lnTo>
                    <a:lnTo>
                      <a:pt x="49758" y="30099"/>
                    </a:lnTo>
                    <a:lnTo>
                      <a:pt x="50044" y="25432"/>
                    </a:lnTo>
                    <a:cubicBezTo>
                      <a:pt x="51282" y="23432"/>
                      <a:pt x="54330" y="24194"/>
                      <a:pt x="54330" y="24194"/>
                    </a:cubicBezTo>
                    <a:cubicBezTo>
                      <a:pt x="54330" y="24194"/>
                      <a:pt x="83381" y="24194"/>
                      <a:pt x="91573" y="24670"/>
                    </a:cubicBezTo>
                    <a:cubicBezTo>
                      <a:pt x="95573" y="24956"/>
                      <a:pt x="103765" y="24384"/>
                      <a:pt x="105670" y="27432"/>
                    </a:cubicBezTo>
                    <a:cubicBezTo>
                      <a:pt x="107003" y="29528"/>
                      <a:pt x="107670" y="32290"/>
                      <a:pt x="107670" y="32290"/>
                    </a:cubicBezTo>
                    <a:cubicBezTo>
                      <a:pt x="107670" y="34862"/>
                      <a:pt x="109766" y="36957"/>
                      <a:pt x="112337" y="36957"/>
                    </a:cubicBezTo>
                    <a:lnTo>
                      <a:pt x="124529" y="36957"/>
                    </a:lnTo>
                    <a:cubicBezTo>
                      <a:pt x="127101" y="36957"/>
                      <a:pt x="129197" y="34862"/>
                      <a:pt x="129197" y="32290"/>
                    </a:cubicBezTo>
                    <a:lnTo>
                      <a:pt x="129673" y="4572"/>
                    </a:lnTo>
                    <a:cubicBezTo>
                      <a:pt x="129482" y="2096"/>
                      <a:pt x="127387" y="0"/>
                      <a:pt x="124815" y="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6" name="Freeform 65">
                <a:extLst>
                  <a:ext uri="{FF2B5EF4-FFF2-40B4-BE49-F238E27FC236}">
                    <a16:creationId xmlns:a16="http://schemas.microsoft.com/office/drawing/2014/main" id="{E5A7C561-0B8C-144E-9C31-52217CBD8CE4}"/>
                  </a:ext>
                </a:extLst>
              </p:cNvPr>
              <p:cNvSpPr/>
              <p:nvPr/>
            </p:nvSpPr>
            <p:spPr>
              <a:xfrm>
                <a:off x="1398215" y="6441301"/>
                <a:ext cx="1771" cy="1602"/>
              </a:xfrm>
              <a:custGeom>
                <a:avLst/>
                <a:gdLst>
                  <a:gd name="connsiteX0" fmla="*/ 4001 w 4000"/>
                  <a:gd name="connsiteY0" fmla="*/ 0 h 3619"/>
                  <a:gd name="connsiteX1" fmla="*/ 1524 w 4000"/>
                  <a:gd name="connsiteY1" fmla="*/ 762 h 3619"/>
                  <a:gd name="connsiteX2" fmla="*/ 0 w 4000"/>
                  <a:gd name="connsiteY2" fmla="*/ 3620 h 3619"/>
                </a:gdLst>
                <a:ahLst/>
                <a:cxnLst>
                  <a:cxn ang="0">
                    <a:pos x="connsiteX0" y="connsiteY0"/>
                  </a:cxn>
                  <a:cxn ang="0">
                    <a:pos x="connsiteX1" y="connsiteY1"/>
                  </a:cxn>
                  <a:cxn ang="0">
                    <a:pos x="connsiteX2" y="connsiteY2"/>
                  </a:cxn>
                </a:cxnLst>
                <a:rect l="l" t="t" r="r" b="b"/>
                <a:pathLst>
                  <a:path w="4000" h="3619">
                    <a:moveTo>
                      <a:pt x="4001" y="0"/>
                    </a:moveTo>
                    <a:cubicBezTo>
                      <a:pt x="4001" y="0"/>
                      <a:pt x="2286" y="0"/>
                      <a:pt x="1524" y="762"/>
                    </a:cubicBezTo>
                    <a:cubicBezTo>
                      <a:pt x="762" y="1524"/>
                      <a:pt x="0" y="3620"/>
                      <a:pt x="0" y="3620"/>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7" name="Freeform 66">
                <a:extLst>
                  <a:ext uri="{FF2B5EF4-FFF2-40B4-BE49-F238E27FC236}">
                    <a16:creationId xmlns:a16="http://schemas.microsoft.com/office/drawing/2014/main" id="{EAFDA5FF-097B-E44D-9202-FE834CDACC7E}"/>
                  </a:ext>
                </a:extLst>
              </p:cNvPr>
              <p:cNvSpPr/>
              <p:nvPr/>
            </p:nvSpPr>
            <p:spPr>
              <a:xfrm>
                <a:off x="1370411" y="6441185"/>
                <a:ext cx="156916" cy="66991"/>
              </a:xfrm>
              <a:custGeom>
                <a:avLst/>
                <a:gdLst>
                  <a:gd name="connsiteX0" fmla="*/ 353510 w 354462"/>
                  <a:gd name="connsiteY0" fmla="*/ 131420 h 151327"/>
                  <a:gd name="connsiteX1" fmla="*/ 353224 w 354462"/>
                  <a:gd name="connsiteY1" fmla="*/ 129991 h 151327"/>
                  <a:gd name="connsiteX2" fmla="*/ 351796 w 354462"/>
                  <a:gd name="connsiteY2" fmla="*/ 129420 h 151327"/>
                  <a:gd name="connsiteX3" fmla="*/ 337127 w 354462"/>
                  <a:gd name="connsiteY3" fmla="*/ 121133 h 151327"/>
                  <a:gd name="connsiteX4" fmla="*/ 318363 w 354462"/>
                  <a:gd name="connsiteY4" fmla="*/ 30360 h 151327"/>
                  <a:gd name="connsiteX5" fmla="*/ 328269 w 354462"/>
                  <a:gd name="connsiteY5" fmla="*/ 22073 h 151327"/>
                  <a:gd name="connsiteX6" fmla="*/ 329698 w 354462"/>
                  <a:gd name="connsiteY6" fmla="*/ 21502 h 151327"/>
                  <a:gd name="connsiteX7" fmla="*/ 329983 w 354462"/>
                  <a:gd name="connsiteY7" fmla="*/ 20073 h 151327"/>
                  <a:gd name="connsiteX8" fmla="*/ 329793 w 354462"/>
                  <a:gd name="connsiteY8" fmla="*/ 1594 h 151327"/>
                  <a:gd name="connsiteX9" fmla="*/ 328364 w 354462"/>
                  <a:gd name="connsiteY9" fmla="*/ 166 h 151327"/>
                  <a:gd name="connsiteX10" fmla="*/ 281501 w 354462"/>
                  <a:gd name="connsiteY10" fmla="*/ 166 h 151327"/>
                  <a:gd name="connsiteX11" fmla="*/ 274929 w 354462"/>
                  <a:gd name="connsiteY11" fmla="*/ 642 h 151327"/>
                  <a:gd name="connsiteX12" fmla="*/ 271881 w 354462"/>
                  <a:gd name="connsiteY12" fmla="*/ 5690 h 151327"/>
                  <a:gd name="connsiteX13" fmla="*/ 261689 w 354462"/>
                  <a:gd name="connsiteY13" fmla="*/ 37218 h 151327"/>
                  <a:gd name="connsiteX14" fmla="*/ 254069 w 354462"/>
                  <a:gd name="connsiteY14" fmla="*/ 57601 h 151327"/>
                  <a:gd name="connsiteX15" fmla="*/ 247402 w 354462"/>
                  <a:gd name="connsiteY15" fmla="*/ 38266 h 151327"/>
                  <a:gd name="connsiteX16" fmla="*/ 237210 w 354462"/>
                  <a:gd name="connsiteY16" fmla="*/ 8262 h 151327"/>
                  <a:gd name="connsiteX17" fmla="*/ 233114 w 354462"/>
                  <a:gd name="connsiteY17" fmla="*/ 1118 h 151327"/>
                  <a:gd name="connsiteX18" fmla="*/ 225494 w 354462"/>
                  <a:gd name="connsiteY18" fmla="*/ 70 h 151327"/>
                  <a:gd name="connsiteX19" fmla="*/ 178727 w 354462"/>
                  <a:gd name="connsiteY19" fmla="*/ 70 h 151327"/>
                  <a:gd name="connsiteX20" fmla="*/ 177298 w 354462"/>
                  <a:gd name="connsiteY20" fmla="*/ 1499 h 151327"/>
                  <a:gd name="connsiteX21" fmla="*/ 177107 w 354462"/>
                  <a:gd name="connsiteY21" fmla="*/ 19978 h 151327"/>
                  <a:gd name="connsiteX22" fmla="*/ 177393 w 354462"/>
                  <a:gd name="connsiteY22" fmla="*/ 21406 h 151327"/>
                  <a:gd name="connsiteX23" fmla="*/ 178917 w 354462"/>
                  <a:gd name="connsiteY23" fmla="*/ 21978 h 151327"/>
                  <a:gd name="connsiteX24" fmla="*/ 188823 w 354462"/>
                  <a:gd name="connsiteY24" fmla="*/ 30265 h 151327"/>
                  <a:gd name="connsiteX25" fmla="*/ 170059 w 354462"/>
                  <a:gd name="connsiteY25" fmla="*/ 121038 h 151327"/>
                  <a:gd name="connsiteX26" fmla="*/ 164439 w 354462"/>
                  <a:gd name="connsiteY26" fmla="*/ 126467 h 151327"/>
                  <a:gd name="connsiteX27" fmla="*/ 158819 w 354462"/>
                  <a:gd name="connsiteY27" fmla="*/ 121038 h 151327"/>
                  <a:gd name="connsiteX28" fmla="*/ 112432 w 354462"/>
                  <a:gd name="connsiteY28" fmla="*/ 3880 h 151327"/>
                  <a:gd name="connsiteX29" fmla="*/ 110908 w 354462"/>
                  <a:gd name="connsiteY29" fmla="*/ 1023 h 151327"/>
                  <a:gd name="connsiteX30" fmla="*/ 108623 w 354462"/>
                  <a:gd name="connsiteY30" fmla="*/ 261 h 151327"/>
                  <a:gd name="connsiteX31" fmla="*/ 66808 w 354462"/>
                  <a:gd name="connsiteY31" fmla="*/ 261 h 151327"/>
                  <a:gd name="connsiteX32" fmla="*/ 64331 w 354462"/>
                  <a:gd name="connsiteY32" fmla="*/ 1023 h 151327"/>
                  <a:gd name="connsiteX33" fmla="*/ 62807 w 354462"/>
                  <a:gd name="connsiteY33" fmla="*/ 3880 h 151327"/>
                  <a:gd name="connsiteX34" fmla="*/ 16421 w 354462"/>
                  <a:gd name="connsiteY34" fmla="*/ 121038 h 151327"/>
                  <a:gd name="connsiteX35" fmla="*/ 1752 w 354462"/>
                  <a:gd name="connsiteY35" fmla="*/ 129325 h 151327"/>
                  <a:gd name="connsiteX36" fmla="*/ 323 w 354462"/>
                  <a:gd name="connsiteY36" fmla="*/ 129896 h 151327"/>
                  <a:gd name="connsiteX37" fmla="*/ 38 w 354462"/>
                  <a:gd name="connsiteY37" fmla="*/ 131325 h 151327"/>
                  <a:gd name="connsiteX38" fmla="*/ 228 w 354462"/>
                  <a:gd name="connsiteY38" fmla="*/ 149803 h 151327"/>
                  <a:gd name="connsiteX39" fmla="*/ 1657 w 354462"/>
                  <a:gd name="connsiteY39" fmla="*/ 151232 h 151327"/>
                  <a:gd name="connsiteX40" fmla="*/ 61569 w 354462"/>
                  <a:gd name="connsiteY40" fmla="*/ 151232 h 151327"/>
                  <a:gd name="connsiteX41" fmla="*/ 62998 w 354462"/>
                  <a:gd name="connsiteY41" fmla="*/ 149803 h 151327"/>
                  <a:gd name="connsiteX42" fmla="*/ 63188 w 354462"/>
                  <a:gd name="connsiteY42" fmla="*/ 131325 h 151327"/>
                  <a:gd name="connsiteX43" fmla="*/ 62903 w 354462"/>
                  <a:gd name="connsiteY43" fmla="*/ 129896 h 151327"/>
                  <a:gd name="connsiteX44" fmla="*/ 61474 w 354462"/>
                  <a:gd name="connsiteY44" fmla="*/ 129325 h 151327"/>
                  <a:gd name="connsiteX45" fmla="*/ 49853 w 354462"/>
                  <a:gd name="connsiteY45" fmla="*/ 121038 h 151327"/>
                  <a:gd name="connsiteX46" fmla="*/ 59283 w 354462"/>
                  <a:gd name="connsiteY46" fmla="*/ 97321 h 151327"/>
                  <a:gd name="connsiteX47" fmla="*/ 107575 w 354462"/>
                  <a:gd name="connsiteY47" fmla="*/ 97321 h 151327"/>
                  <a:gd name="connsiteX48" fmla="*/ 116814 w 354462"/>
                  <a:gd name="connsiteY48" fmla="*/ 121038 h 151327"/>
                  <a:gd name="connsiteX49" fmla="*/ 108241 w 354462"/>
                  <a:gd name="connsiteY49" fmla="*/ 129325 h 151327"/>
                  <a:gd name="connsiteX50" fmla="*/ 106813 w 354462"/>
                  <a:gd name="connsiteY50" fmla="*/ 129896 h 151327"/>
                  <a:gd name="connsiteX51" fmla="*/ 106527 w 354462"/>
                  <a:gd name="connsiteY51" fmla="*/ 131325 h 151327"/>
                  <a:gd name="connsiteX52" fmla="*/ 106432 w 354462"/>
                  <a:gd name="connsiteY52" fmla="*/ 149803 h 151327"/>
                  <a:gd name="connsiteX53" fmla="*/ 107861 w 354462"/>
                  <a:gd name="connsiteY53" fmla="*/ 151232 h 151327"/>
                  <a:gd name="connsiteX54" fmla="*/ 211874 w 354462"/>
                  <a:gd name="connsiteY54" fmla="*/ 151232 h 151327"/>
                  <a:gd name="connsiteX55" fmla="*/ 213302 w 354462"/>
                  <a:gd name="connsiteY55" fmla="*/ 149803 h 151327"/>
                  <a:gd name="connsiteX56" fmla="*/ 213302 w 354462"/>
                  <a:gd name="connsiteY56" fmla="*/ 131325 h 151327"/>
                  <a:gd name="connsiteX57" fmla="*/ 213016 w 354462"/>
                  <a:gd name="connsiteY57" fmla="*/ 129896 h 151327"/>
                  <a:gd name="connsiteX58" fmla="*/ 211588 w 354462"/>
                  <a:gd name="connsiteY58" fmla="*/ 129325 h 151327"/>
                  <a:gd name="connsiteX59" fmla="*/ 203777 w 354462"/>
                  <a:gd name="connsiteY59" fmla="*/ 121038 h 151327"/>
                  <a:gd name="connsiteX60" fmla="*/ 212350 w 354462"/>
                  <a:gd name="connsiteY60" fmla="*/ 57125 h 151327"/>
                  <a:gd name="connsiteX61" fmla="*/ 213874 w 354462"/>
                  <a:gd name="connsiteY61" fmla="*/ 51029 h 151327"/>
                  <a:gd name="connsiteX62" fmla="*/ 217970 w 354462"/>
                  <a:gd name="connsiteY62" fmla="*/ 60745 h 151327"/>
                  <a:gd name="connsiteX63" fmla="*/ 230733 w 354462"/>
                  <a:gd name="connsiteY63" fmla="*/ 106084 h 151327"/>
                  <a:gd name="connsiteX64" fmla="*/ 234257 w 354462"/>
                  <a:gd name="connsiteY64" fmla="*/ 112180 h 151327"/>
                  <a:gd name="connsiteX65" fmla="*/ 241401 w 354462"/>
                  <a:gd name="connsiteY65" fmla="*/ 115704 h 151327"/>
                  <a:gd name="connsiteX66" fmla="*/ 252069 w 354462"/>
                  <a:gd name="connsiteY66" fmla="*/ 115704 h 151327"/>
                  <a:gd name="connsiteX67" fmla="*/ 260737 w 354462"/>
                  <a:gd name="connsiteY67" fmla="*/ 115704 h 151327"/>
                  <a:gd name="connsiteX68" fmla="*/ 265309 w 354462"/>
                  <a:gd name="connsiteY68" fmla="*/ 113704 h 151327"/>
                  <a:gd name="connsiteX69" fmla="*/ 270357 w 354462"/>
                  <a:gd name="connsiteY69" fmla="*/ 104560 h 151327"/>
                  <a:gd name="connsiteX70" fmla="*/ 284645 w 354462"/>
                  <a:gd name="connsiteY70" fmla="*/ 55220 h 151327"/>
                  <a:gd name="connsiteX71" fmla="*/ 287216 w 354462"/>
                  <a:gd name="connsiteY71" fmla="*/ 50648 h 151327"/>
                  <a:gd name="connsiteX72" fmla="*/ 289693 w 354462"/>
                  <a:gd name="connsiteY72" fmla="*/ 57220 h 151327"/>
                  <a:gd name="connsiteX73" fmla="*/ 298265 w 354462"/>
                  <a:gd name="connsiteY73" fmla="*/ 121133 h 151327"/>
                  <a:gd name="connsiteX74" fmla="*/ 290455 w 354462"/>
                  <a:gd name="connsiteY74" fmla="*/ 129420 h 151327"/>
                  <a:gd name="connsiteX75" fmla="*/ 289026 w 354462"/>
                  <a:gd name="connsiteY75" fmla="*/ 129991 h 151327"/>
                  <a:gd name="connsiteX76" fmla="*/ 288740 w 354462"/>
                  <a:gd name="connsiteY76" fmla="*/ 131420 h 151327"/>
                  <a:gd name="connsiteX77" fmla="*/ 288359 w 354462"/>
                  <a:gd name="connsiteY77" fmla="*/ 149899 h 151327"/>
                  <a:gd name="connsiteX78" fmla="*/ 289788 w 354462"/>
                  <a:gd name="connsiteY78" fmla="*/ 151327 h 151327"/>
                  <a:gd name="connsiteX79" fmla="*/ 353034 w 354462"/>
                  <a:gd name="connsiteY79" fmla="*/ 151327 h 151327"/>
                  <a:gd name="connsiteX80" fmla="*/ 354463 w 354462"/>
                  <a:gd name="connsiteY80" fmla="*/ 149899 h 151327"/>
                  <a:gd name="connsiteX81" fmla="*/ 353510 w 354462"/>
                  <a:gd name="connsiteY81" fmla="*/ 131420 h 151327"/>
                  <a:gd name="connsiteX82" fmla="*/ 96621 w 354462"/>
                  <a:gd name="connsiteY82" fmla="*/ 71317 h 151327"/>
                  <a:gd name="connsiteX83" fmla="*/ 94145 w 354462"/>
                  <a:gd name="connsiteY83" fmla="*/ 71889 h 151327"/>
                  <a:gd name="connsiteX84" fmla="*/ 72047 w 354462"/>
                  <a:gd name="connsiteY84" fmla="*/ 71889 h 151327"/>
                  <a:gd name="connsiteX85" fmla="*/ 69761 w 354462"/>
                  <a:gd name="connsiteY85" fmla="*/ 71508 h 151327"/>
                  <a:gd name="connsiteX86" fmla="*/ 70332 w 354462"/>
                  <a:gd name="connsiteY86" fmla="*/ 69031 h 151327"/>
                  <a:gd name="connsiteX87" fmla="*/ 83286 w 354462"/>
                  <a:gd name="connsiteY87" fmla="*/ 35027 h 151327"/>
                  <a:gd name="connsiteX88" fmla="*/ 95859 w 354462"/>
                  <a:gd name="connsiteY88" fmla="*/ 68079 h 151327"/>
                  <a:gd name="connsiteX89" fmla="*/ 96621 w 354462"/>
                  <a:gd name="connsiteY89" fmla="*/ 71317 h 1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4462" h="151327">
                    <a:moveTo>
                      <a:pt x="353510" y="131420"/>
                    </a:moveTo>
                    <a:cubicBezTo>
                      <a:pt x="353415" y="131420"/>
                      <a:pt x="353606" y="130563"/>
                      <a:pt x="353224" y="129991"/>
                    </a:cubicBezTo>
                    <a:cubicBezTo>
                      <a:pt x="352748" y="129325"/>
                      <a:pt x="351796" y="129420"/>
                      <a:pt x="351796" y="129420"/>
                    </a:cubicBezTo>
                    <a:cubicBezTo>
                      <a:pt x="345414" y="128372"/>
                      <a:pt x="337127" y="124753"/>
                      <a:pt x="337127" y="121133"/>
                    </a:cubicBezTo>
                    <a:lnTo>
                      <a:pt x="318363" y="30360"/>
                    </a:lnTo>
                    <a:cubicBezTo>
                      <a:pt x="318363" y="26740"/>
                      <a:pt x="321887" y="23121"/>
                      <a:pt x="328269" y="22073"/>
                    </a:cubicBezTo>
                    <a:cubicBezTo>
                      <a:pt x="328269" y="22073"/>
                      <a:pt x="329317" y="22073"/>
                      <a:pt x="329698" y="21502"/>
                    </a:cubicBezTo>
                    <a:cubicBezTo>
                      <a:pt x="330174" y="20835"/>
                      <a:pt x="329983" y="20073"/>
                      <a:pt x="329983" y="20073"/>
                    </a:cubicBezTo>
                    <a:lnTo>
                      <a:pt x="329793" y="1594"/>
                    </a:lnTo>
                    <a:cubicBezTo>
                      <a:pt x="329793" y="832"/>
                      <a:pt x="329126" y="166"/>
                      <a:pt x="328364" y="166"/>
                    </a:cubicBezTo>
                    <a:lnTo>
                      <a:pt x="281501" y="166"/>
                    </a:lnTo>
                    <a:cubicBezTo>
                      <a:pt x="281501" y="166"/>
                      <a:pt x="276453" y="-311"/>
                      <a:pt x="274929" y="642"/>
                    </a:cubicBezTo>
                    <a:cubicBezTo>
                      <a:pt x="273405" y="1690"/>
                      <a:pt x="271881" y="5690"/>
                      <a:pt x="271881" y="5690"/>
                    </a:cubicBezTo>
                    <a:lnTo>
                      <a:pt x="261689" y="37218"/>
                    </a:lnTo>
                    <a:cubicBezTo>
                      <a:pt x="261689" y="37218"/>
                      <a:pt x="255593" y="57601"/>
                      <a:pt x="254069" y="57601"/>
                    </a:cubicBezTo>
                    <a:cubicBezTo>
                      <a:pt x="252545" y="57601"/>
                      <a:pt x="247402" y="38266"/>
                      <a:pt x="247402" y="38266"/>
                    </a:cubicBezTo>
                    <a:lnTo>
                      <a:pt x="237210" y="8262"/>
                    </a:lnTo>
                    <a:cubicBezTo>
                      <a:pt x="237210" y="8262"/>
                      <a:pt x="235210" y="2642"/>
                      <a:pt x="233114" y="1118"/>
                    </a:cubicBezTo>
                    <a:cubicBezTo>
                      <a:pt x="231114" y="-406"/>
                      <a:pt x="225494" y="70"/>
                      <a:pt x="225494" y="70"/>
                    </a:cubicBezTo>
                    <a:lnTo>
                      <a:pt x="178727" y="70"/>
                    </a:lnTo>
                    <a:cubicBezTo>
                      <a:pt x="177965" y="70"/>
                      <a:pt x="177298" y="737"/>
                      <a:pt x="177298" y="1499"/>
                    </a:cubicBezTo>
                    <a:lnTo>
                      <a:pt x="177107" y="19978"/>
                    </a:lnTo>
                    <a:cubicBezTo>
                      <a:pt x="177107" y="19978"/>
                      <a:pt x="176917" y="20835"/>
                      <a:pt x="177393" y="21406"/>
                    </a:cubicBezTo>
                    <a:cubicBezTo>
                      <a:pt x="177869" y="22073"/>
                      <a:pt x="178917" y="21978"/>
                      <a:pt x="178917" y="21978"/>
                    </a:cubicBezTo>
                    <a:cubicBezTo>
                      <a:pt x="185299" y="23026"/>
                      <a:pt x="188823" y="26645"/>
                      <a:pt x="188823" y="30265"/>
                    </a:cubicBezTo>
                    <a:lnTo>
                      <a:pt x="170059" y="121038"/>
                    </a:lnTo>
                    <a:cubicBezTo>
                      <a:pt x="169297" y="124753"/>
                      <a:pt x="167773" y="126467"/>
                      <a:pt x="164439" y="126467"/>
                    </a:cubicBezTo>
                    <a:cubicBezTo>
                      <a:pt x="161677" y="126467"/>
                      <a:pt x="160724" y="124943"/>
                      <a:pt x="158819" y="121038"/>
                    </a:cubicBezTo>
                    <a:lnTo>
                      <a:pt x="112432" y="3880"/>
                    </a:lnTo>
                    <a:cubicBezTo>
                      <a:pt x="112432" y="3880"/>
                      <a:pt x="111671" y="1785"/>
                      <a:pt x="110908" y="1023"/>
                    </a:cubicBezTo>
                    <a:cubicBezTo>
                      <a:pt x="110147" y="261"/>
                      <a:pt x="108623" y="261"/>
                      <a:pt x="108623" y="261"/>
                    </a:cubicBezTo>
                    <a:lnTo>
                      <a:pt x="66808" y="261"/>
                    </a:lnTo>
                    <a:cubicBezTo>
                      <a:pt x="66808" y="261"/>
                      <a:pt x="65093" y="261"/>
                      <a:pt x="64331" y="1023"/>
                    </a:cubicBezTo>
                    <a:cubicBezTo>
                      <a:pt x="63569" y="1785"/>
                      <a:pt x="62807" y="3880"/>
                      <a:pt x="62807" y="3880"/>
                    </a:cubicBezTo>
                    <a:lnTo>
                      <a:pt x="16421" y="121038"/>
                    </a:lnTo>
                    <a:cubicBezTo>
                      <a:pt x="16421" y="124657"/>
                      <a:pt x="8134" y="128277"/>
                      <a:pt x="1752" y="129325"/>
                    </a:cubicBezTo>
                    <a:cubicBezTo>
                      <a:pt x="1752" y="129325"/>
                      <a:pt x="704" y="129325"/>
                      <a:pt x="323" y="129896"/>
                    </a:cubicBezTo>
                    <a:cubicBezTo>
                      <a:pt x="-153" y="130563"/>
                      <a:pt x="38" y="131325"/>
                      <a:pt x="38" y="131325"/>
                    </a:cubicBezTo>
                    <a:lnTo>
                      <a:pt x="228" y="149803"/>
                    </a:lnTo>
                    <a:cubicBezTo>
                      <a:pt x="228" y="150565"/>
                      <a:pt x="895" y="151232"/>
                      <a:pt x="1657" y="151232"/>
                    </a:cubicBezTo>
                    <a:lnTo>
                      <a:pt x="61569" y="151232"/>
                    </a:lnTo>
                    <a:cubicBezTo>
                      <a:pt x="62331" y="151232"/>
                      <a:pt x="62998" y="150565"/>
                      <a:pt x="62998" y="149803"/>
                    </a:cubicBezTo>
                    <a:lnTo>
                      <a:pt x="63188" y="131325"/>
                    </a:lnTo>
                    <a:cubicBezTo>
                      <a:pt x="63188" y="131325"/>
                      <a:pt x="63379" y="130468"/>
                      <a:pt x="62903" y="129896"/>
                    </a:cubicBezTo>
                    <a:cubicBezTo>
                      <a:pt x="62426" y="129229"/>
                      <a:pt x="61474" y="129325"/>
                      <a:pt x="61474" y="129325"/>
                    </a:cubicBezTo>
                    <a:cubicBezTo>
                      <a:pt x="55092" y="128277"/>
                      <a:pt x="48710" y="126277"/>
                      <a:pt x="49853" y="121038"/>
                    </a:cubicBezTo>
                    <a:lnTo>
                      <a:pt x="59283" y="97321"/>
                    </a:lnTo>
                    <a:lnTo>
                      <a:pt x="107575" y="97321"/>
                    </a:lnTo>
                    <a:lnTo>
                      <a:pt x="116814" y="121038"/>
                    </a:lnTo>
                    <a:cubicBezTo>
                      <a:pt x="119100" y="125134"/>
                      <a:pt x="114623" y="128277"/>
                      <a:pt x="108241" y="129325"/>
                    </a:cubicBezTo>
                    <a:cubicBezTo>
                      <a:pt x="108241" y="129325"/>
                      <a:pt x="107194" y="129325"/>
                      <a:pt x="106813" y="129896"/>
                    </a:cubicBezTo>
                    <a:cubicBezTo>
                      <a:pt x="106337" y="130563"/>
                      <a:pt x="106527" y="131325"/>
                      <a:pt x="106527" y="131325"/>
                    </a:cubicBezTo>
                    <a:lnTo>
                      <a:pt x="106432" y="149803"/>
                    </a:lnTo>
                    <a:cubicBezTo>
                      <a:pt x="106432" y="150565"/>
                      <a:pt x="107099" y="151232"/>
                      <a:pt x="107861" y="151232"/>
                    </a:cubicBezTo>
                    <a:lnTo>
                      <a:pt x="211874" y="151232"/>
                    </a:lnTo>
                    <a:cubicBezTo>
                      <a:pt x="212636" y="151232"/>
                      <a:pt x="213302" y="150565"/>
                      <a:pt x="213302" y="149803"/>
                    </a:cubicBezTo>
                    <a:lnTo>
                      <a:pt x="213302" y="131325"/>
                    </a:lnTo>
                    <a:cubicBezTo>
                      <a:pt x="213302" y="131325"/>
                      <a:pt x="213493" y="130468"/>
                      <a:pt x="213016" y="129896"/>
                    </a:cubicBezTo>
                    <a:cubicBezTo>
                      <a:pt x="212540" y="129229"/>
                      <a:pt x="211588" y="129325"/>
                      <a:pt x="211588" y="129325"/>
                    </a:cubicBezTo>
                    <a:cubicBezTo>
                      <a:pt x="205206" y="128277"/>
                      <a:pt x="203777" y="124657"/>
                      <a:pt x="203777" y="121038"/>
                    </a:cubicBezTo>
                    <a:lnTo>
                      <a:pt x="212350" y="57125"/>
                    </a:lnTo>
                    <a:cubicBezTo>
                      <a:pt x="212350" y="57125"/>
                      <a:pt x="212350" y="51029"/>
                      <a:pt x="213874" y="51029"/>
                    </a:cubicBezTo>
                    <a:cubicBezTo>
                      <a:pt x="215398" y="51029"/>
                      <a:pt x="217970" y="60745"/>
                      <a:pt x="217970" y="60745"/>
                    </a:cubicBezTo>
                    <a:lnTo>
                      <a:pt x="230733" y="106084"/>
                    </a:lnTo>
                    <a:cubicBezTo>
                      <a:pt x="230733" y="106084"/>
                      <a:pt x="232733" y="110656"/>
                      <a:pt x="234257" y="112180"/>
                    </a:cubicBezTo>
                    <a:cubicBezTo>
                      <a:pt x="235781" y="113704"/>
                      <a:pt x="241401" y="115704"/>
                      <a:pt x="241401" y="115704"/>
                    </a:cubicBezTo>
                    <a:lnTo>
                      <a:pt x="252069" y="115704"/>
                    </a:lnTo>
                    <a:lnTo>
                      <a:pt x="260737" y="115704"/>
                    </a:lnTo>
                    <a:cubicBezTo>
                      <a:pt x="260737" y="115704"/>
                      <a:pt x="262737" y="115704"/>
                      <a:pt x="265309" y="113704"/>
                    </a:cubicBezTo>
                    <a:cubicBezTo>
                      <a:pt x="267881" y="111703"/>
                      <a:pt x="270357" y="104560"/>
                      <a:pt x="270357" y="104560"/>
                    </a:cubicBezTo>
                    <a:lnTo>
                      <a:pt x="284645" y="55220"/>
                    </a:lnTo>
                    <a:cubicBezTo>
                      <a:pt x="284645" y="55220"/>
                      <a:pt x="285692" y="50648"/>
                      <a:pt x="287216" y="50648"/>
                    </a:cubicBezTo>
                    <a:cubicBezTo>
                      <a:pt x="289216" y="50648"/>
                      <a:pt x="289693" y="57220"/>
                      <a:pt x="289693" y="57220"/>
                    </a:cubicBezTo>
                    <a:lnTo>
                      <a:pt x="298265" y="121133"/>
                    </a:lnTo>
                    <a:cubicBezTo>
                      <a:pt x="298265" y="124753"/>
                      <a:pt x="296837" y="128372"/>
                      <a:pt x="290455" y="129420"/>
                    </a:cubicBezTo>
                    <a:cubicBezTo>
                      <a:pt x="290455" y="129420"/>
                      <a:pt x="289407" y="129420"/>
                      <a:pt x="289026" y="129991"/>
                    </a:cubicBezTo>
                    <a:cubicBezTo>
                      <a:pt x="288550" y="130658"/>
                      <a:pt x="288740" y="131420"/>
                      <a:pt x="288740" y="131420"/>
                    </a:cubicBezTo>
                    <a:lnTo>
                      <a:pt x="288359" y="149899"/>
                    </a:lnTo>
                    <a:cubicBezTo>
                      <a:pt x="288359" y="150661"/>
                      <a:pt x="289026" y="151327"/>
                      <a:pt x="289788" y="151327"/>
                    </a:cubicBezTo>
                    <a:lnTo>
                      <a:pt x="353034" y="151327"/>
                    </a:lnTo>
                    <a:cubicBezTo>
                      <a:pt x="353796" y="151327"/>
                      <a:pt x="354463" y="150661"/>
                      <a:pt x="354463" y="149899"/>
                    </a:cubicBezTo>
                    <a:lnTo>
                      <a:pt x="353510" y="131420"/>
                    </a:lnTo>
                    <a:close/>
                    <a:moveTo>
                      <a:pt x="96621" y="71317"/>
                    </a:moveTo>
                    <a:cubicBezTo>
                      <a:pt x="96240" y="72270"/>
                      <a:pt x="94145" y="71889"/>
                      <a:pt x="94145" y="71889"/>
                    </a:cubicBezTo>
                    <a:lnTo>
                      <a:pt x="72047" y="71889"/>
                    </a:lnTo>
                    <a:cubicBezTo>
                      <a:pt x="72047" y="71889"/>
                      <a:pt x="70523" y="72079"/>
                      <a:pt x="69761" y="71508"/>
                    </a:cubicBezTo>
                    <a:cubicBezTo>
                      <a:pt x="69189" y="71127"/>
                      <a:pt x="70332" y="69031"/>
                      <a:pt x="70332" y="69031"/>
                    </a:cubicBezTo>
                    <a:lnTo>
                      <a:pt x="83286" y="35027"/>
                    </a:lnTo>
                    <a:lnTo>
                      <a:pt x="95859" y="68079"/>
                    </a:lnTo>
                    <a:cubicBezTo>
                      <a:pt x="95859" y="67984"/>
                      <a:pt x="96907" y="70460"/>
                      <a:pt x="96621" y="7131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8" name="Freeform 67">
                <a:extLst>
                  <a:ext uri="{FF2B5EF4-FFF2-40B4-BE49-F238E27FC236}">
                    <a16:creationId xmlns:a16="http://schemas.microsoft.com/office/drawing/2014/main" id="{93EF92F1-CD8F-6546-AA16-526D3C832B4D}"/>
                  </a:ext>
                </a:extLst>
              </p:cNvPr>
              <p:cNvSpPr/>
              <p:nvPr/>
            </p:nvSpPr>
            <p:spPr>
              <a:xfrm>
                <a:off x="1701895" y="6439479"/>
                <a:ext cx="125275" cy="68918"/>
              </a:xfrm>
              <a:custGeom>
                <a:avLst/>
                <a:gdLst>
                  <a:gd name="connsiteX0" fmla="*/ 282321 w 282987"/>
                  <a:gd name="connsiteY0" fmla="*/ 133750 h 155681"/>
                  <a:gd name="connsiteX1" fmla="*/ 280892 w 282987"/>
                  <a:gd name="connsiteY1" fmla="*/ 133179 h 155681"/>
                  <a:gd name="connsiteX2" fmla="*/ 266224 w 282987"/>
                  <a:gd name="connsiteY2" fmla="*/ 124892 h 155681"/>
                  <a:gd name="connsiteX3" fmla="*/ 219837 w 282987"/>
                  <a:gd name="connsiteY3" fmla="*/ 7735 h 155681"/>
                  <a:gd name="connsiteX4" fmla="*/ 218313 w 282987"/>
                  <a:gd name="connsiteY4" fmla="*/ 4877 h 155681"/>
                  <a:gd name="connsiteX5" fmla="*/ 216027 w 282987"/>
                  <a:gd name="connsiteY5" fmla="*/ 4115 h 155681"/>
                  <a:gd name="connsiteX6" fmla="*/ 174212 w 282987"/>
                  <a:gd name="connsiteY6" fmla="*/ 4115 h 155681"/>
                  <a:gd name="connsiteX7" fmla="*/ 171736 w 282987"/>
                  <a:gd name="connsiteY7" fmla="*/ 4877 h 155681"/>
                  <a:gd name="connsiteX8" fmla="*/ 170212 w 282987"/>
                  <a:gd name="connsiteY8" fmla="*/ 7735 h 155681"/>
                  <a:gd name="connsiteX9" fmla="*/ 130493 w 282987"/>
                  <a:gd name="connsiteY9" fmla="*/ 107938 h 155681"/>
                  <a:gd name="connsiteX10" fmla="*/ 110681 w 282987"/>
                  <a:gd name="connsiteY10" fmla="*/ 130703 h 155681"/>
                  <a:gd name="connsiteX11" fmla="*/ 84487 w 282987"/>
                  <a:gd name="connsiteY11" fmla="*/ 134227 h 155681"/>
                  <a:gd name="connsiteX12" fmla="*/ 84011 w 282987"/>
                  <a:gd name="connsiteY12" fmla="*/ 134227 h 155681"/>
                  <a:gd name="connsiteX13" fmla="*/ 84011 w 282987"/>
                  <a:gd name="connsiteY13" fmla="*/ 134227 h 155681"/>
                  <a:gd name="connsiteX14" fmla="*/ 62484 w 282987"/>
                  <a:gd name="connsiteY14" fmla="*/ 130703 h 155681"/>
                  <a:gd name="connsiteX15" fmla="*/ 46768 w 282987"/>
                  <a:gd name="connsiteY15" fmla="*/ 112986 h 155681"/>
                  <a:gd name="connsiteX16" fmla="*/ 42386 w 282987"/>
                  <a:gd name="connsiteY16" fmla="*/ 78029 h 155681"/>
                  <a:gd name="connsiteX17" fmla="*/ 46768 w 282987"/>
                  <a:gd name="connsiteY17" fmla="*/ 40405 h 155681"/>
                  <a:gd name="connsiteX18" fmla="*/ 78200 w 282987"/>
                  <a:gd name="connsiteY18" fmla="*/ 24213 h 155681"/>
                  <a:gd name="connsiteX19" fmla="*/ 106775 w 282987"/>
                  <a:gd name="connsiteY19" fmla="*/ 35357 h 155681"/>
                  <a:gd name="connsiteX20" fmla="*/ 112109 w 282987"/>
                  <a:gd name="connsiteY20" fmla="*/ 45168 h 155681"/>
                  <a:gd name="connsiteX21" fmla="*/ 112109 w 282987"/>
                  <a:gd name="connsiteY21" fmla="*/ 46787 h 155681"/>
                  <a:gd name="connsiteX22" fmla="*/ 116777 w 282987"/>
                  <a:gd name="connsiteY22" fmla="*/ 51454 h 155681"/>
                  <a:gd name="connsiteX23" fmla="*/ 128969 w 282987"/>
                  <a:gd name="connsiteY23" fmla="*/ 51454 h 155681"/>
                  <a:gd name="connsiteX24" fmla="*/ 133636 w 282987"/>
                  <a:gd name="connsiteY24" fmla="*/ 46787 h 155681"/>
                  <a:gd name="connsiteX25" fmla="*/ 134017 w 282987"/>
                  <a:gd name="connsiteY25" fmla="*/ 10307 h 155681"/>
                  <a:gd name="connsiteX26" fmla="*/ 131445 w 282987"/>
                  <a:gd name="connsiteY26" fmla="*/ 4973 h 155681"/>
                  <a:gd name="connsiteX27" fmla="*/ 84392 w 282987"/>
                  <a:gd name="connsiteY27" fmla="*/ 19 h 155681"/>
                  <a:gd name="connsiteX28" fmla="*/ 29718 w 282987"/>
                  <a:gd name="connsiteY28" fmla="*/ 11735 h 155681"/>
                  <a:gd name="connsiteX29" fmla="*/ 0 w 282987"/>
                  <a:gd name="connsiteY29" fmla="*/ 75553 h 155681"/>
                  <a:gd name="connsiteX30" fmla="*/ 18860 w 282987"/>
                  <a:gd name="connsiteY30" fmla="*/ 137846 h 155681"/>
                  <a:gd name="connsiteX31" fmla="*/ 59341 w 282987"/>
                  <a:gd name="connsiteY31" fmla="*/ 154515 h 155681"/>
                  <a:gd name="connsiteX32" fmla="*/ 78772 w 282987"/>
                  <a:gd name="connsiteY32" fmla="*/ 155467 h 155681"/>
                  <a:gd name="connsiteX33" fmla="*/ 84106 w 282987"/>
                  <a:gd name="connsiteY33" fmla="*/ 155658 h 155681"/>
                  <a:gd name="connsiteX34" fmla="*/ 98203 w 282987"/>
                  <a:gd name="connsiteY34" fmla="*/ 155086 h 155681"/>
                  <a:gd name="connsiteX35" fmla="*/ 131445 w 282987"/>
                  <a:gd name="connsiteY35" fmla="*/ 154991 h 155681"/>
                  <a:gd name="connsiteX36" fmla="*/ 168878 w 282987"/>
                  <a:gd name="connsiteY36" fmla="*/ 154991 h 155681"/>
                  <a:gd name="connsiteX37" fmla="*/ 170307 w 282987"/>
                  <a:gd name="connsiteY37" fmla="*/ 153562 h 155681"/>
                  <a:gd name="connsiteX38" fmla="*/ 170498 w 282987"/>
                  <a:gd name="connsiteY38" fmla="*/ 135084 h 155681"/>
                  <a:gd name="connsiteX39" fmla="*/ 170212 w 282987"/>
                  <a:gd name="connsiteY39" fmla="*/ 133655 h 155681"/>
                  <a:gd name="connsiteX40" fmla="*/ 168783 w 282987"/>
                  <a:gd name="connsiteY40" fmla="*/ 133084 h 155681"/>
                  <a:gd name="connsiteX41" fmla="*/ 157163 w 282987"/>
                  <a:gd name="connsiteY41" fmla="*/ 124797 h 155681"/>
                  <a:gd name="connsiteX42" fmla="*/ 166592 w 282987"/>
                  <a:gd name="connsiteY42" fmla="*/ 101080 h 155681"/>
                  <a:gd name="connsiteX43" fmla="*/ 214884 w 282987"/>
                  <a:gd name="connsiteY43" fmla="*/ 101080 h 155681"/>
                  <a:gd name="connsiteX44" fmla="*/ 224123 w 282987"/>
                  <a:gd name="connsiteY44" fmla="*/ 124797 h 155681"/>
                  <a:gd name="connsiteX45" fmla="*/ 215551 w 282987"/>
                  <a:gd name="connsiteY45" fmla="*/ 133084 h 155681"/>
                  <a:gd name="connsiteX46" fmla="*/ 214122 w 282987"/>
                  <a:gd name="connsiteY46" fmla="*/ 133655 h 155681"/>
                  <a:gd name="connsiteX47" fmla="*/ 213836 w 282987"/>
                  <a:gd name="connsiteY47" fmla="*/ 135084 h 155681"/>
                  <a:gd name="connsiteX48" fmla="*/ 213932 w 282987"/>
                  <a:gd name="connsiteY48" fmla="*/ 153562 h 155681"/>
                  <a:gd name="connsiteX49" fmla="*/ 215360 w 282987"/>
                  <a:gd name="connsiteY49" fmla="*/ 154991 h 155681"/>
                  <a:gd name="connsiteX50" fmla="*/ 281369 w 282987"/>
                  <a:gd name="connsiteY50" fmla="*/ 154991 h 155681"/>
                  <a:gd name="connsiteX51" fmla="*/ 282797 w 282987"/>
                  <a:gd name="connsiteY51" fmla="*/ 153562 h 155681"/>
                  <a:gd name="connsiteX52" fmla="*/ 282988 w 282987"/>
                  <a:gd name="connsiteY52" fmla="*/ 135084 h 155681"/>
                  <a:gd name="connsiteX53" fmla="*/ 282321 w 282987"/>
                  <a:gd name="connsiteY53" fmla="*/ 133750 h 155681"/>
                  <a:gd name="connsiteX54" fmla="*/ 203930 w 282987"/>
                  <a:gd name="connsiteY54" fmla="*/ 75172 h 155681"/>
                  <a:gd name="connsiteX55" fmla="*/ 201454 w 282987"/>
                  <a:gd name="connsiteY55" fmla="*/ 75743 h 155681"/>
                  <a:gd name="connsiteX56" fmla="*/ 179356 w 282987"/>
                  <a:gd name="connsiteY56" fmla="*/ 75743 h 155681"/>
                  <a:gd name="connsiteX57" fmla="*/ 177070 w 282987"/>
                  <a:gd name="connsiteY57" fmla="*/ 75362 h 155681"/>
                  <a:gd name="connsiteX58" fmla="*/ 177641 w 282987"/>
                  <a:gd name="connsiteY58" fmla="*/ 72886 h 155681"/>
                  <a:gd name="connsiteX59" fmla="*/ 190595 w 282987"/>
                  <a:gd name="connsiteY59" fmla="*/ 38882 h 155681"/>
                  <a:gd name="connsiteX60" fmla="*/ 203168 w 282987"/>
                  <a:gd name="connsiteY60" fmla="*/ 71933 h 155681"/>
                  <a:gd name="connsiteX61" fmla="*/ 203930 w 282987"/>
                  <a:gd name="connsiteY61" fmla="*/ 75172 h 15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987" h="155681">
                    <a:moveTo>
                      <a:pt x="282321" y="133750"/>
                    </a:moveTo>
                    <a:cubicBezTo>
                      <a:pt x="281845" y="133084"/>
                      <a:pt x="280892" y="133179"/>
                      <a:pt x="280892" y="133179"/>
                    </a:cubicBezTo>
                    <a:cubicBezTo>
                      <a:pt x="274511" y="132131"/>
                      <a:pt x="266224" y="128512"/>
                      <a:pt x="266224" y="124892"/>
                    </a:cubicBezTo>
                    <a:lnTo>
                      <a:pt x="219837" y="7735"/>
                    </a:lnTo>
                    <a:cubicBezTo>
                      <a:pt x="219837" y="7735"/>
                      <a:pt x="219075" y="5639"/>
                      <a:pt x="218313" y="4877"/>
                    </a:cubicBezTo>
                    <a:cubicBezTo>
                      <a:pt x="217551" y="4115"/>
                      <a:pt x="216027" y="4115"/>
                      <a:pt x="216027" y="4115"/>
                    </a:cubicBezTo>
                    <a:lnTo>
                      <a:pt x="174212" y="4115"/>
                    </a:lnTo>
                    <a:cubicBezTo>
                      <a:pt x="174212" y="4115"/>
                      <a:pt x="172498" y="4115"/>
                      <a:pt x="171736" y="4877"/>
                    </a:cubicBezTo>
                    <a:cubicBezTo>
                      <a:pt x="170974" y="5639"/>
                      <a:pt x="170212" y="7735"/>
                      <a:pt x="170212" y="7735"/>
                    </a:cubicBezTo>
                    <a:lnTo>
                      <a:pt x="130493" y="107938"/>
                    </a:lnTo>
                    <a:cubicBezTo>
                      <a:pt x="130493" y="107938"/>
                      <a:pt x="122777" y="127273"/>
                      <a:pt x="110681" y="130703"/>
                    </a:cubicBezTo>
                    <a:cubicBezTo>
                      <a:pt x="101537" y="133274"/>
                      <a:pt x="95441" y="133846"/>
                      <a:pt x="84487" y="134227"/>
                    </a:cubicBezTo>
                    <a:cubicBezTo>
                      <a:pt x="84296" y="134227"/>
                      <a:pt x="84201" y="134227"/>
                      <a:pt x="84011" y="134227"/>
                    </a:cubicBezTo>
                    <a:lnTo>
                      <a:pt x="84011" y="134227"/>
                    </a:lnTo>
                    <a:cubicBezTo>
                      <a:pt x="73057" y="133846"/>
                      <a:pt x="70295" y="133846"/>
                      <a:pt x="62484" y="130703"/>
                    </a:cubicBezTo>
                    <a:cubicBezTo>
                      <a:pt x="58103" y="128988"/>
                      <a:pt x="49435" y="120034"/>
                      <a:pt x="46768" y="112986"/>
                    </a:cubicBezTo>
                    <a:cubicBezTo>
                      <a:pt x="44863" y="107557"/>
                      <a:pt x="42386" y="100603"/>
                      <a:pt x="42386" y="78029"/>
                    </a:cubicBezTo>
                    <a:cubicBezTo>
                      <a:pt x="42386" y="55360"/>
                      <a:pt x="44006" y="44882"/>
                      <a:pt x="46768" y="40405"/>
                    </a:cubicBezTo>
                    <a:cubicBezTo>
                      <a:pt x="51816" y="32500"/>
                      <a:pt x="59722" y="24213"/>
                      <a:pt x="78200" y="24213"/>
                    </a:cubicBezTo>
                    <a:cubicBezTo>
                      <a:pt x="96679" y="24213"/>
                      <a:pt x="103537" y="30976"/>
                      <a:pt x="106775" y="35357"/>
                    </a:cubicBezTo>
                    <a:cubicBezTo>
                      <a:pt x="106775" y="35357"/>
                      <a:pt x="111728" y="39453"/>
                      <a:pt x="112109" y="45168"/>
                    </a:cubicBezTo>
                    <a:lnTo>
                      <a:pt x="112109" y="46787"/>
                    </a:lnTo>
                    <a:cubicBezTo>
                      <a:pt x="112109" y="49359"/>
                      <a:pt x="114205" y="51454"/>
                      <a:pt x="116777" y="51454"/>
                    </a:cubicBezTo>
                    <a:lnTo>
                      <a:pt x="128969" y="51454"/>
                    </a:lnTo>
                    <a:cubicBezTo>
                      <a:pt x="131540" y="51454"/>
                      <a:pt x="133636" y="49359"/>
                      <a:pt x="133636" y="46787"/>
                    </a:cubicBezTo>
                    <a:lnTo>
                      <a:pt x="134017" y="10307"/>
                    </a:lnTo>
                    <a:cubicBezTo>
                      <a:pt x="134017" y="10307"/>
                      <a:pt x="134684" y="7640"/>
                      <a:pt x="131445" y="4973"/>
                    </a:cubicBezTo>
                    <a:cubicBezTo>
                      <a:pt x="131445" y="4973"/>
                      <a:pt x="113824" y="-362"/>
                      <a:pt x="84392" y="19"/>
                    </a:cubicBezTo>
                    <a:cubicBezTo>
                      <a:pt x="60008" y="305"/>
                      <a:pt x="40005" y="5353"/>
                      <a:pt x="29718" y="11735"/>
                    </a:cubicBezTo>
                    <a:cubicBezTo>
                      <a:pt x="19431" y="18212"/>
                      <a:pt x="0" y="36976"/>
                      <a:pt x="0" y="75553"/>
                    </a:cubicBezTo>
                    <a:cubicBezTo>
                      <a:pt x="0" y="114034"/>
                      <a:pt x="8573" y="128131"/>
                      <a:pt x="18860" y="137846"/>
                    </a:cubicBezTo>
                    <a:cubicBezTo>
                      <a:pt x="27337" y="145847"/>
                      <a:pt x="36957" y="151467"/>
                      <a:pt x="59341" y="154515"/>
                    </a:cubicBezTo>
                    <a:cubicBezTo>
                      <a:pt x="60198" y="155182"/>
                      <a:pt x="73343" y="155467"/>
                      <a:pt x="78772" y="155467"/>
                    </a:cubicBezTo>
                    <a:cubicBezTo>
                      <a:pt x="80486" y="155563"/>
                      <a:pt x="82296" y="155658"/>
                      <a:pt x="84106" y="155658"/>
                    </a:cubicBezTo>
                    <a:cubicBezTo>
                      <a:pt x="89535" y="155753"/>
                      <a:pt x="94107" y="155563"/>
                      <a:pt x="98203" y="155086"/>
                    </a:cubicBezTo>
                    <a:cubicBezTo>
                      <a:pt x="116396" y="154420"/>
                      <a:pt x="126302" y="156039"/>
                      <a:pt x="131445" y="154991"/>
                    </a:cubicBezTo>
                    <a:lnTo>
                      <a:pt x="168878" y="154991"/>
                    </a:lnTo>
                    <a:cubicBezTo>
                      <a:pt x="169640" y="154991"/>
                      <a:pt x="170307" y="154324"/>
                      <a:pt x="170307" y="153562"/>
                    </a:cubicBezTo>
                    <a:lnTo>
                      <a:pt x="170498" y="135084"/>
                    </a:lnTo>
                    <a:cubicBezTo>
                      <a:pt x="170402" y="135084"/>
                      <a:pt x="170688" y="134227"/>
                      <a:pt x="170212" y="133655"/>
                    </a:cubicBezTo>
                    <a:cubicBezTo>
                      <a:pt x="169736" y="132988"/>
                      <a:pt x="168783" y="133084"/>
                      <a:pt x="168783" y="133084"/>
                    </a:cubicBezTo>
                    <a:cubicBezTo>
                      <a:pt x="162401" y="132036"/>
                      <a:pt x="156020" y="130036"/>
                      <a:pt x="157163" y="124797"/>
                    </a:cubicBezTo>
                    <a:lnTo>
                      <a:pt x="166592" y="101080"/>
                    </a:lnTo>
                    <a:lnTo>
                      <a:pt x="214884" y="101080"/>
                    </a:lnTo>
                    <a:lnTo>
                      <a:pt x="224123" y="124797"/>
                    </a:lnTo>
                    <a:cubicBezTo>
                      <a:pt x="226409" y="128893"/>
                      <a:pt x="221933" y="132036"/>
                      <a:pt x="215551" y="133084"/>
                    </a:cubicBezTo>
                    <a:cubicBezTo>
                      <a:pt x="215551" y="133084"/>
                      <a:pt x="214503" y="133084"/>
                      <a:pt x="214122" y="133655"/>
                    </a:cubicBezTo>
                    <a:cubicBezTo>
                      <a:pt x="213646" y="134322"/>
                      <a:pt x="213836" y="135084"/>
                      <a:pt x="213836" y="135084"/>
                    </a:cubicBezTo>
                    <a:lnTo>
                      <a:pt x="213932" y="153562"/>
                    </a:lnTo>
                    <a:cubicBezTo>
                      <a:pt x="213932" y="154324"/>
                      <a:pt x="214598" y="154991"/>
                      <a:pt x="215360" y="154991"/>
                    </a:cubicBezTo>
                    <a:lnTo>
                      <a:pt x="281369" y="154991"/>
                    </a:lnTo>
                    <a:cubicBezTo>
                      <a:pt x="282131" y="154991"/>
                      <a:pt x="282797" y="154324"/>
                      <a:pt x="282797" y="153562"/>
                    </a:cubicBezTo>
                    <a:lnTo>
                      <a:pt x="282988" y="135084"/>
                    </a:lnTo>
                    <a:cubicBezTo>
                      <a:pt x="282512" y="135274"/>
                      <a:pt x="282702" y="134417"/>
                      <a:pt x="282321" y="133750"/>
                    </a:cubicBezTo>
                    <a:close/>
                    <a:moveTo>
                      <a:pt x="203930" y="75172"/>
                    </a:moveTo>
                    <a:cubicBezTo>
                      <a:pt x="203550" y="76124"/>
                      <a:pt x="201454" y="75743"/>
                      <a:pt x="201454" y="75743"/>
                    </a:cubicBezTo>
                    <a:lnTo>
                      <a:pt x="179356" y="75743"/>
                    </a:lnTo>
                    <a:cubicBezTo>
                      <a:pt x="179356" y="75743"/>
                      <a:pt x="177832" y="75934"/>
                      <a:pt x="177070" y="75362"/>
                    </a:cubicBezTo>
                    <a:cubicBezTo>
                      <a:pt x="176498" y="74981"/>
                      <a:pt x="177641" y="72886"/>
                      <a:pt x="177641" y="72886"/>
                    </a:cubicBezTo>
                    <a:lnTo>
                      <a:pt x="190595" y="38882"/>
                    </a:lnTo>
                    <a:lnTo>
                      <a:pt x="203168" y="71933"/>
                    </a:lnTo>
                    <a:cubicBezTo>
                      <a:pt x="203168" y="71838"/>
                      <a:pt x="204216" y="74315"/>
                      <a:pt x="203930" y="7517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grpSp>
      </p:grpSp>
      <p:sp>
        <p:nvSpPr>
          <p:cNvPr id="69" name="Rectangle 68">
            <a:extLst>
              <a:ext uri="{FF2B5EF4-FFF2-40B4-BE49-F238E27FC236}">
                <a16:creationId xmlns:a16="http://schemas.microsoft.com/office/drawing/2014/main" id="{7D9B1FFE-F473-5448-9801-33616AA7FF28}"/>
              </a:ext>
            </a:extLst>
          </p:cNvPr>
          <p:cNvSpPr/>
          <p:nvPr userDrawn="1"/>
        </p:nvSpPr>
        <p:spPr>
          <a:xfrm>
            <a:off x="0" y="6720840"/>
            <a:ext cx="12188952"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52770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guide id="4" orient="horz" pos="117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E288D673-D9CC-5E48-952C-BD3F88295EB4}"/>
              </a:ext>
            </a:extLst>
          </p:cNvPr>
          <p:cNvGrpSpPr/>
          <p:nvPr userDrawn="1"/>
        </p:nvGrpSpPr>
        <p:grpSpPr>
          <a:xfrm>
            <a:off x="9667588" y="6167077"/>
            <a:ext cx="2143412" cy="350125"/>
            <a:chOff x="7941600" y="7740369"/>
            <a:chExt cx="6440917" cy="1052121"/>
          </a:xfrm>
        </p:grpSpPr>
        <p:grpSp>
          <p:nvGrpSpPr>
            <p:cNvPr id="75" name="Group 74">
              <a:extLst>
                <a:ext uri="{FF2B5EF4-FFF2-40B4-BE49-F238E27FC236}">
                  <a16:creationId xmlns:a16="http://schemas.microsoft.com/office/drawing/2014/main" id="{73973DED-FBAE-F14C-867E-F1C56B23984A}"/>
                </a:ext>
              </a:extLst>
            </p:cNvPr>
            <p:cNvGrpSpPr/>
            <p:nvPr userDrawn="1"/>
          </p:nvGrpSpPr>
          <p:grpSpPr>
            <a:xfrm>
              <a:off x="7941600" y="7740369"/>
              <a:ext cx="6440917" cy="452295"/>
              <a:chOff x="7941600" y="7740364"/>
              <a:chExt cx="6440917" cy="452295"/>
            </a:xfrm>
            <a:solidFill>
              <a:schemeClr val="bg2"/>
            </a:solidFill>
          </p:grpSpPr>
          <p:sp>
            <p:nvSpPr>
              <p:cNvPr id="95" name="Freeform 94">
                <a:extLst>
                  <a:ext uri="{FF2B5EF4-FFF2-40B4-BE49-F238E27FC236}">
                    <a16:creationId xmlns:a16="http://schemas.microsoft.com/office/drawing/2014/main" id="{D8F09EE0-2D60-3A49-83A4-8CADB8BCCA9E}"/>
                  </a:ext>
                </a:extLst>
              </p:cNvPr>
              <p:cNvSpPr/>
              <p:nvPr/>
            </p:nvSpPr>
            <p:spPr>
              <a:xfrm>
                <a:off x="7941600" y="7740364"/>
                <a:ext cx="601211" cy="443649"/>
              </a:xfrm>
              <a:custGeom>
                <a:avLst/>
                <a:gdLst>
                  <a:gd name="connsiteX0" fmla="*/ 120623 w 601211"/>
                  <a:gd name="connsiteY0" fmla="*/ 443650 h 443649"/>
                  <a:gd name="connsiteX1" fmla="*/ 0 w 601211"/>
                  <a:gd name="connsiteY1" fmla="*/ 0 h 443649"/>
                  <a:gd name="connsiteX2" fmla="*/ 135951 w 601211"/>
                  <a:gd name="connsiteY2" fmla="*/ 0 h 443649"/>
                  <a:gd name="connsiteX3" fmla="*/ 178602 w 601211"/>
                  <a:gd name="connsiteY3" fmla="*/ 207480 h 443649"/>
                  <a:gd name="connsiteX4" fmla="*/ 188599 w 601211"/>
                  <a:gd name="connsiteY4" fmla="*/ 271985 h 443649"/>
                  <a:gd name="connsiteX5" fmla="*/ 198595 w 601211"/>
                  <a:gd name="connsiteY5" fmla="*/ 207480 h 443649"/>
                  <a:gd name="connsiteX6" fmla="*/ 241246 w 601211"/>
                  <a:gd name="connsiteY6" fmla="*/ 0 h 443649"/>
                  <a:gd name="connsiteX7" fmla="*/ 361203 w 601211"/>
                  <a:gd name="connsiteY7" fmla="*/ 0 h 443649"/>
                  <a:gd name="connsiteX8" fmla="*/ 404521 w 601211"/>
                  <a:gd name="connsiteY8" fmla="*/ 205485 h 443649"/>
                  <a:gd name="connsiteX9" fmla="*/ 407853 w 601211"/>
                  <a:gd name="connsiteY9" fmla="*/ 224105 h 443649"/>
                  <a:gd name="connsiteX10" fmla="*/ 410519 w 601211"/>
                  <a:gd name="connsiteY10" fmla="*/ 240065 h 443649"/>
                  <a:gd name="connsiteX11" fmla="*/ 414517 w 601211"/>
                  <a:gd name="connsiteY11" fmla="*/ 271985 h 443649"/>
                  <a:gd name="connsiteX12" fmla="*/ 419182 w 601211"/>
                  <a:gd name="connsiteY12" fmla="*/ 240065 h 443649"/>
                  <a:gd name="connsiteX13" fmla="*/ 421848 w 601211"/>
                  <a:gd name="connsiteY13" fmla="*/ 224105 h 443649"/>
                  <a:gd name="connsiteX14" fmla="*/ 425180 w 601211"/>
                  <a:gd name="connsiteY14" fmla="*/ 205485 h 443649"/>
                  <a:gd name="connsiteX15" fmla="*/ 466499 w 601211"/>
                  <a:gd name="connsiteY15" fmla="*/ 0 h 443649"/>
                  <a:gd name="connsiteX16" fmla="*/ 601212 w 601211"/>
                  <a:gd name="connsiteY16" fmla="*/ 0 h 443649"/>
                  <a:gd name="connsiteX17" fmla="*/ 486587 w 601211"/>
                  <a:gd name="connsiteY17" fmla="*/ 443650 h 443649"/>
                  <a:gd name="connsiteX18" fmla="*/ 351873 w 601211"/>
                  <a:gd name="connsiteY18" fmla="*/ 443650 h 443649"/>
                  <a:gd name="connsiteX19" fmla="*/ 314553 w 601211"/>
                  <a:gd name="connsiteY19" fmla="*/ 252130 h 443649"/>
                  <a:gd name="connsiteX20" fmla="*/ 302558 w 601211"/>
                  <a:gd name="connsiteY20" fmla="*/ 167010 h 443649"/>
                  <a:gd name="connsiteX21" fmla="*/ 289229 w 601211"/>
                  <a:gd name="connsiteY21" fmla="*/ 252130 h 443649"/>
                  <a:gd name="connsiteX22" fmla="*/ 251909 w 601211"/>
                  <a:gd name="connsiteY22" fmla="*/ 443650 h 443649"/>
                  <a:gd name="connsiteX23" fmla="*/ 120623 w 601211"/>
                  <a:gd name="connsiteY23"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1211" h="443649">
                    <a:moveTo>
                      <a:pt x="120623" y="443650"/>
                    </a:moveTo>
                    <a:lnTo>
                      <a:pt x="0" y="0"/>
                    </a:lnTo>
                    <a:lnTo>
                      <a:pt x="135951" y="0"/>
                    </a:lnTo>
                    <a:lnTo>
                      <a:pt x="178602" y="207480"/>
                    </a:lnTo>
                    <a:cubicBezTo>
                      <a:pt x="181934" y="221445"/>
                      <a:pt x="186599" y="252700"/>
                      <a:pt x="188599" y="271985"/>
                    </a:cubicBezTo>
                    <a:cubicBezTo>
                      <a:pt x="189932" y="254030"/>
                      <a:pt x="194597" y="226100"/>
                      <a:pt x="198595" y="207480"/>
                    </a:cubicBezTo>
                    <a:lnTo>
                      <a:pt x="241246" y="0"/>
                    </a:lnTo>
                    <a:lnTo>
                      <a:pt x="361203" y="0"/>
                    </a:lnTo>
                    <a:lnTo>
                      <a:pt x="404521" y="205485"/>
                    </a:lnTo>
                    <a:cubicBezTo>
                      <a:pt x="404521" y="205485"/>
                      <a:pt x="405854" y="215460"/>
                      <a:pt x="407853" y="224105"/>
                    </a:cubicBezTo>
                    <a:cubicBezTo>
                      <a:pt x="408519" y="228760"/>
                      <a:pt x="409186" y="234080"/>
                      <a:pt x="410519" y="240065"/>
                    </a:cubicBezTo>
                    <a:cubicBezTo>
                      <a:pt x="413184" y="256025"/>
                      <a:pt x="413184" y="257355"/>
                      <a:pt x="414517" y="271985"/>
                    </a:cubicBezTo>
                    <a:cubicBezTo>
                      <a:pt x="416517" y="257355"/>
                      <a:pt x="416517" y="257355"/>
                      <a:pt x="419182" y="240065"/>
                    </a:cubicBezTo>
                    <a:cubicBezTo>
                      <a:pt x="420515" y="235410"/>
                      <a:pt x="421182" y="230090"/>
                      <a:pt x="421848" y="224105"/>
                    </a:cubicBezTo>
                    <a:cubicBezTo>
                      <a:pt x="423847" y="215460"/>
                      <a:pt x="425180" y="206150"/>
                      <a:pt x="425180" y="205485"/>
                    </a:cubicBezTo>
                    <a:lnTo>
                      <a:pt x="466499" y="0"/>
                    </a:lnTo>
                    <a:lnTo>
                      <a:pt x="601212" y="0"/>
                    </a:lnTo>
                    <a:lnTo>
                      <a:pt x="486587" y="443650"/>
                    </a:lnTo>
                    <a:lnTo>
                      <a:pt x="351873" y="443650"/>
                    </a:lnTo>
                    <a:lnTo>
                      <a:pt x="314553" y="252130"/>
                    </a:lnTo>
                    <a:cubicBezTo>
                      <a:pt x="309888" y="228855"/>
                      <a:pt x="305223" y="195605"/>
                      <a:pt x="302558" y="167010"/>
                    </a:cubicBezTo>
                    <a:cubicBezTo>
                      <a:pt x="299226" y="200260"/>
                      <a:pt x="295893" y="220875"/>
                      <a:pt x="289229" y="252130"/>
                    </a:cubicBezTo>
                    <a:lnTo>
                      <a:pt x="251909" y="443650"/>
                    </a:lnTo>
                    <a:lnTo>
                      <a:pt x="120623"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6" name="Freeform 95">
                <a:extLst>
                  <a:ext uri="{FF2B5EF4-FFF2-40B4-BE49-F238E27FC236}">
                    <a16:creationId xmlns:a16="http://schemas.microsoft.com/office/drawing/2014/main" id="{4E65EF44-2087-8247-B5E1-6F7703C73FBF}"/>
                  </a:ext>
                </a:extLst>
              </p:cNvPr>
              <p:cNvSpPr/>
              <p:nvPr/>
            </p:nvSpPr>
            <p:spPr>
              <a:xfrm>
                <a:off x="8568041" y="7740364"/>
                <a:ext cx="332546" cy="443649"/>
              </a:xfrm>
              <a:custGeom>
                <a:avLst/>
                <a:gdLst>
                  <a:gd name="connsiteX0" fmla="*/ 0 w 332546"/>
                  <a:gd name="connsiteY0" fmla="*/ 0 h 443649"/>
                  <a:gd name="connsiteX1" fmla="*/ 124622 w 332546"/>
                  <a:gd name="connsiteY1" fmla="*/ 0 h 443649"/>
                  <a:gd name="connsiteX2" fmla="*/ 124622 w 332546"/>
                  <a:gd name="connsiteY2" fmla="*/ 148960 h 443649"/>
                  <a:gd name="connsiteX3" fmla="*/ 215922 w 332546"/>
                  <a:gd name="connsiteY3" fmla="*/ 113715 h 443649"/>
                  <a:gd name="connsiteX4" fmla="*/ 300558 w 332546"/>
                  <a:gd name="connsiteY4" fmla="*/ 144305 h 443649"/>
                  <a:gd name="connsiteX5" fmla="*/ 332547 w 332546"/>
                  <a:gd name="connsiteY5" fmla="*/ 232085 h 443649"/>
                  <a:gd name="connsiteX6" fmla="*/ 332547 w 332546"/>
                  <a:gd name="connsiteY6" fmla="*/ 443555 h 443649"/>
                  <a:gd name="connsiteX7" fmla="*/ 207925 w 332546"/>
                  <a:gd name="connsiteY7" fmla="*/ 443555 h 443649"/>
                  <a:gd name="connsiteX8" fmla="*/ 207925 w 332546"/>
                  <a:gd name="connsiteY8" fmla="*/ 266095 h 443649"/>
                  <a:gd name="connsiteX9" fmla="*/ 167939 w 332546"/>
                  <a:gd name="connsiteY9" fmla="*/ 213560 h 443649"/>
                  <a:gd name="connsiteX10" fmla="*/ 124622 w 332546"/>
                  <a:gd name="connsiteY10" fmla="*/ 266095 h 443649"/>
                  <a:gd name="connsiteX11" fmla="*/ 124622 w 332546"/>
                  <a:gd name="connsiteY11" fmla="*/ 443650 h 443649"/>
                  <a:gd name="connsiteX12" fmla="*/ 0 w 332546"/>
                  <a:gd name="connsiteY12" fmla="*/ 443650 h 443649"/>
                  <a:gd name="connsiteX13" fmla="*/ 0 w 332546"/>
                  <a:gd name="connsiteY13"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46" h="443649">
                    <a:moveTo>
                      <a:pt x="0" y="0"/>
                    </a:moveTo>
                    <a:lnTo>
                      <a:pt x="124622" y="0"/>
                    </a:lnTo>
                    <a:lnTo>
                      <a:pt x="124622" y="148960"/>
                    </a:lnTo>
                    <a:cubicBezTo>
                      <a:pt x="157943" y="123025"/>
                      <a:pt x="181268" y="113715"/>
                      <a:pt x="215922" y="113715"/>
                    </a:cubicBezTo>
                    <a:cubicBezTo>
                      <a:pt x="250576" y="113715"/>
                      <a:pt x="279233" y="124355"/>
                      <a:pt x="300558" y="144305"/>
                    </a:cubicBezTo>
                    <a:cubicBezTo>
                      <a:pt x="323217" y="166250"/>
                      <a:pt x="332547" y="191520"/>
                      <a:pt x="332547" y="232085"/>
                    </a:cubicBezTo>
                    <a:lnTo>
                      <a:pt x="332547" y="443555"/>
                    </a:lnTo>
                    <a:lnTo>
                      <a:pt x="207925" y="443555"/>
                    </a:lnTo>
                    <a:lnTo>
                      <a:pt x="207925" y="266095"/>
                    </a:lnTo>
                    <a:cubicBezTo>
                      <a:pt x="207925" y="230850"/>
                      <a:pt x="194597" y="213560"/>
                      <a:pt x="167939" y="213560"/>
                    </a:cubicBezTo>
                    <a:cubicBezTo>
                      <a:pt x="139950" y="213560"/>
                      <a:pt x="124622" y="232180"/>
                      <a:pt x="124622" y="266095"/>
                    </a:cubicBezTo>
                    <a:lnTo>
                      <a:pt x="124622" y="443650"/>
                    </a:lnTo>
                    <a:lnTo>
                      <a:pt x="0" y="443650"/>
                    </a:lnTo>
                    <a:lnTo>
                      <a:pt x="0"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7" name="Freeform 96">
                <a:extLst>
                  <a:ext uri="{FF2B5EF4-FFF2-40B4-BE49-F238E27FC236}">
                    <a16:creationId xmlns:a16="http://schemas.microsoft.com/office/drawing/2014/main" id="{17D9B0F1-D1E4-354D-896A-F15B7B42DC7F}"/>
                  </a:ext>
                </a:extLst>
              </p:cNvPr>
              <p:cNvSpPr/>
              <p:nvPr/>
            </p:nvSpPr>
            <p:spPr>
              <a:xfrm>
                <a:off x="8946571"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4"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8" name="Freeform 97">
                <a:extLst>
                  <a:ext uri="{FF2B5EF4-FFF2-40B4-BE49-F238E27FC236}">
                    <a16:creationId xmlns:a16="http://schemas.microsoft.com/office/drawing/2014/main" id="{7AEDFE50-7B62-D44E-BCB1-3398DA27D49A}"/>
                  </a:ext>
                </a:extLst>
              </p:cNvPr>
              <p:cNvSpPr/>
              <p:nvPr/>
            </p:nvSpPr>
            <p:spPr>
              <a:xfrm>
                <a:off x="9316438"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9" name="Freeform 98">
                <a:extLst>
                  <a:ext uri="{FF2B5EF4-FFF2-40B4-BE49-F238E27FC236}">
                    <a16:creationId xmlns:a16="http://schemas.microsoft.com/office/drawing/2014/main" id="{3434552C-D10F-094B-9E5E-17B729198922}"/>
                  </a:ext>
                </a:extLst>
              </p:cNvPr>
              <p:cNvSpPr/>
              <p:nvPr/>
            </p:nvSpPr>
            <p:spPr>
              <a:xfrm>
                <a:off x="9571013"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2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2"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0" name="Freeform 99">
                <a:extLst>
                  <a:ext uri="{FF2B5EF4-FFF2-40B4-BE49-F238E27FC236}">
                    <a16:creationId xmlns:a16="http://schemas.microsoft.com/office/drawing/2014/main" id="{3376D0AE-79BB-554A-B126-A0C9DB3971BD}"/>
                  </a:ext>
                </a:extLst>
              </p:cNvPr>
              <p:cNvSpPr/>
              <p:nvPr/>
            </p:nvSpPr>
            <p:spPr>
              <a:xfrm>
                <a:off x="9934882" y="7862820"/>
                <a:ext cx="355205" cy="321194"/>
              </a:xfrm>
              <a:custGeom>
                <a:avLst/>
                <a:gdLst>
                  <a:gd name="connsiteX0" fmla="*/ 109294 w 355205"/>
                  <a:gd name="connsiteY0" fmla="*/ 321195 h 321194"/>
                  <a:gd name="connsiteX1" fmla="*/ 0 w 355205"/>
                  <a:gd name="connsiteY1" fmla="*/ 0 h 321194"/>
                  <a:gd name="connsiteX2" fmla="*/ 123289 w 355205"/>
                  <a:gd name="connsiteY2" fmla="*/ 0 h 321194"/>
                  <a:gd name="connsiteX3" fmla="*/ 163275 w 355205"/>
                  <a:gd name="connsiteY3" fmla="*/ 131670 h 321194"/>
                  <a:gd name="connsiteX4" fmla="*/ 177269 w 355205"/>
                  <a:gd name="connsiteY4" fmla="*/ 185535 h 321194"/>
                  <a:gd name="connsiteX5" fmla="*/ 190598 w 355205"/>
                  <a:gd name="connsiteY5" fmla="*/ 131670 h 321194"/>
                  <a:gd name="connsiteX6" fmla="*/ 229251 w 355205"/>
                  <a:gd name="connsiteY6" fmla="*/ 0 h 321194"/>
                  <a:gd name="connsiteX7" fmla="*/ 355205 w 355205"/>
                  <a:gd name="connsiteY7" fmla="*/ 0 h 321194"/>
                  <a:gd name="connsiteX8" fmla="*/ 246578 w 355205"/>
                  <a:gd name="connsiteY8" fmla="*/ 321195 h 321194"/>
                  <a:gd name="connsiteX9" fmla="*/ 109294 w 355205"/>
                  <a:gd name="connsiteY9" fmla="*/ 321195 h 3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05" h="321194">
                    <a:moveTo>
                      <a:pt x="109294" y="321195"/>
                    </a:moveTo>
                    <a:lnTo>
                      <a:pt x="0" y="0"/>
                    </a:lnTo>
                    <a:lnTo>
                      <a:pt x="123289" y="0"/>
                    </a:lnTo>
                    <a:lnTo>
                      <a:pt x="163275" y="131670"/>
                    </a:lnTo>
                    <a:cubicBezTo>
                      <a:pt x="169272" y="150290"/>
                      <a:pt x="173937" y="168910"/>
                      <a:pt x="177269" y="185535"/>
                    </a:cubicBezTo>
                    <a:cubicBezTo>
                      <a:pt x="180602" y="169575"/>
                      <a:pt x="184600" y="152285"/>
                      <a:pt x="190598" y="131670"/>
                    </a:cubicBezTo>
                    <a:lnTo>
                      <a:pt x="229251" y="0"/>
                    </a:lnTo>
                    <a:lnTo>
                      <a:pt x="355205" y="0"/>
                    </a:lnTo>
                    <a:lnTo>
                      <a:pt x="246578" y="321195"/>
                    </a:lnTo>
                    <a:lnTo>
                      <a:pt x="109294" y="32119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1" name="Freeform 100">
                <a:extLst>
                  <a:ext uri="{FF2B5EF4-FFF2-40B4-BE49-F238E27FC236}">
                    <a16:creationId xmlns:a16="http://schemas.microsoft.com/office/drawing/2014/main" id="{E0F3E64F-9FC6-6346-8C39-01088049A008}"/>
                  </a:ext>
                </a:extLst>
              </p:cNvPr>
              <p:cNvSpPr/>
              <p:nvPr/>
            </p:nvSpPr>
            <p:spPr>
              <a:xfrm>
                <a:off x="10293419"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1"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2" name="Freeform 101">
                <a:extLst>
                  <a:ext uri="{FF2B5EF4-FFF2-40B4-BE49-F238E27FC236}">
                    <a16:creationId xmlns:a16="http://schemas.microsoft.com/office/drawing/2014/main" id="{AB59D071-357C-BE4F-A0F3-E5B8CD0A4C10}"/>
                  </a:ext>
                </a:extLst>
              </p:cNvPr>
              <p:cNvSpPr/>
              <p:nvPr/>
            </p:nvSpPr>
            <p:spPr>
              <a:xfrm>
                <a:off x="10697274" y="7854175"/>
                <a:ext cx="251909" cy="329839"/>
              </a:xfrm>
              <a:custGeom>
                <a:avLst/>
                <a:gdLst>
                  <a:gd name="connsiteX0" fmla="*/ 117958 w 251909"/>
                  <a:gd name="connsiteY0" fmla="*/ 8645 h 329839"/>
                  <a:gd name="connsiteX1" fmla="*/ 117958 w 251909"/>
                  <a:gd name="connsiteY1" fmla="*/ 53200 h 329839"/>
                  <a:gd name="connsiteX2" fmla="*/ 213256 w 251909"/>
                  <a:gd name="connsiteY2" fmla="*/ 0 h 329839"/>
                  <a:gd name="connsiteX3" fmla="*/ 251909 w 251909"/>
                  <a:gd name="connsiteY3" fmla="*/ 6650 h 329839"/>
                  <a:gd name="connsiteX4" fmla="*/ 251909 w 251909"/>
                  <a:gd name="connsiteY4" fmla="*/ 117705 h 329839"/>
                  <a:gd name="connsiteX5" fmla="*/ 201927 w 251909"/>
                  <a:gd name="connsiteY5" fmla="*/ 106400 h 329839"/>
                  <a:gd name="connsiteX6" fmla="*/ 124622 w 251909"/>
                  <a:gd name="connsiteY6" fmla="*/ 183540 h 329839"/>
                  <a:gd name="connsiteX7" fmla="*/ 124622 w 251909"/>
                  <a:gd name="connsiteY7" fmla="*/ 329840 h 329839"/>
                  <a:gd name="connsiteX8" fmla="*/ 0 w 251909"/>
                  <a:gd name="connsiteY8" fmla="*/ 329840 h 329839"/>
                  <a:gd name="connsiteX9" fmla="*/ 0 w 251909"/>
                  <a:gd name="connsiteY9" fmla="*/ 8645 h 329839"/>
                  <a:gd name="connsiteX10" fmla="*/ 117958 w 251909"/>
                  <a:gd name="connsiteY10" fmla="*/ 8645 h 32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39">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3" name="Freeform 102">
                <a:extLst>
                  <a:ext uri="{FF2B5EF4-FFF2-40B4-BE49-F238E27FC236}">
                    <a16:creationId xmlns:a16="http://schemas.microsoft.com/office/drawing/2014/main" id="{1CF9C018-E0A5-D64D-96CC-D46C158CDAE9}"/>
                  </a:ext>
                </a:extLst>
              </p:cNvPr>
              <p:cNvSpPr/>
              <p:nvPr/>
            </p:nvSpPr>
            <p:spPr>
              <a:xfrm>
                <a:off x="11179005" y="7740365"/>
                <a:ext cx="137950" cy="443555"/>
              </a:xfrm>
              <a:custGeom>
                <a:avLst/>
                <a:gdLst>
                  <a:gd name="connsiteX0" fmla="*/ 0 w 137950"/>
                  <a:gd name="connsiteY0" fmla="*/ 0 h 443555"/>
                  <a:gd name="connsiteX1" fmla="*/ 137950 w 137950"/>
                  <a:gd name="connsiteY1" fmla="*/ 0 h 443555"/>
                  <a:gd name="connsiteX2" fmla="*/ 137950 w 137950"/>
                  <a:gd name="connsiteY2" fmla="*/ 443555 h 443555"/>
                  <a:gd name="connsiteX3" fmla="*/ 0 w 137950"/>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37950" h="443555">
                    <a:moveTo>
                      <a:pt x="0" y="0"/>
                    </a:moveTo>
                    <a:lnTo>
                      <a:pt x="137950" y="0"/>
                    </a:lnTo>
                    <a:lnTo>
                      <a:pt x="137950"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4" name="Freeform 103">
                <a:extLst>
                  <a:ext uri="{FF2B5EF4-FFF2-40B4-BE49-F238E27FC236}">
                    <a16:creationId xmlns:a16="http://schemas.microsoft.com/office/drawing/2014/main" id="{DCE2C5C1-B6CE-FA48-954C-964593DB8E2B}"/>
                  </a:ext>
                </a:extLst>
              </p:cNvPr>
              <p:cNvSpPr/>
              <p:nvPr/>
            </p:nvSpPr>
            <p:spPr>
              <a:xfrm>
                <a:off x="11350372"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5" name="Freeform 104">
                <a:extLst>
                  <a:ext uri="{FF2B5EF4-FFF2-40B4-BE49-F238E27FC236}">
                    <a16:creationId xmlns:a16="http://schemas.microsoft.com/office/drawing/2014/main" id="{7E98CC12-E8E2-3F41-9620-18BC4B4D963A}"/>
                  </a:ext>
                </a:extLst>
              </p:cNvPr>
              <p:cNvSpPr/>
              <p:nvPr/>
            </p:nvSpPr>
            <p:spPr>
              <a:xfrm>
                <a:off x="11767459" y="7740364"/>
                <a:ext cx="392620" cy="443649"/>
              </a:xfrm>
              <a:custGeom>
                <a:avLst/>
                <a:gdLst>
                  <a:gd name="connsiteX0" fmla="*/ 265238 w 392620"/>
                  <a:gd name="connsiteY0" fmla="*/ 443650 h 443649"/>
                  <a:gd name="connsiteX1" fmla="*/ 127287 w 392620"/>
                  <a:gd name="connsiteY1" fmla="*/ 443650 h 443649"/>
                  <a:gd name="connsiteX2" fmla="*/ 127287 w 392620"/>
                  <a:gd name="connsiteY2" fmla="*/ 117705 h 443649"/>
                  <a:gd name="connsiteX3" fmla="*/ 0 w 392620"/>
                  <a:gd name="connsiteY3" fmla="*/ 117705 h 443649"/>
                  <a:gd name="connsiteX4" fmla="*/ 0 w 392620"/>
                  <a:gd name="connsiteY4" fmla="*/ 0 h 443649"/>
                  <a:gd name="connsiteX5" fmla="*/ 392620 w 392620"/>
                  <a:gd name="connsiteY5" fmla="*/ 0 h 443649"/>
                  <a:gd name="connsiteX6" fmla="*/ 392620 w 392620"/>
                  <a:gd name="connsiteY6" fmla="*/ 117705 h 443649"/>
                  <a:gd name="connsiteX7" fmla="*/ 265238 w 392620"/>
                  <a:gd name="connsiteY7" fmla="*/ 11770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620" h="443649">
                    <a:moveTo>
                      <a:pt x="265238" y="443650"/>
                    </a:moveTo>
                    <a:lnTo>
                      <a:pt x="127287" y="443650"/>
                    </a:lnTo>
                    <a:lnTo>
                      <a:pt x="127287" y="117705"/>
                    </a:lnTo>
                    <a:lnTo>
                      <a:pt x="0" y="117705"/>
                    </a:lnTo>
                    <a:lnTo>
                      <a:pt x="0" y="0"/>
                    </a:lnTo>
                    <a:lnTo>
                      <a:pt x="392620" y="0"/>
                    </a:lnTo>
                    <a:lnTo>
                      <a:pt x="392620" y="117705"/>
                    </a:lnTo>
                    <a:lnTo>
                      <a:pt x="265238" y="11770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6" name="Freeform 105">
                <a:extLst>
                  <a:ext uri="{FF2B5EF4-FFF2-40B4-BE49-F238E27FC236}">
                    <a16:creationId xmlns:a16="http://schemas.microsoft.com/office/drawing/2014/main" id="{0F92C10B-66D9-F34B-8672-E5D6E91DFBBD}"/>
                  </a:ext>
                </a:extLst>
              </p:cNvPr>
              <p:cNvSpPr/>
              <p:nvPr/>
            </p:nvSpPr>
            <p:spPr>
              <a:xfrm>
                <a:off x="12133327"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7" name="Freeform 106">
                <a:extLst>
                  <a:ext uri="{FF2B5EF4-FFF2-40B4-BE49-F238E27FC236}">
                    <a16:creationId xmlns:a16="http://schemas.microsoft.com/office/drawing/2014/main" id="{103A0E3F-DCC1-1B40-A3FC-FC692AFECC39}"/>
                  </a:ext>
                </a:extLst>
              </p:cNvPr>
              <p:cNvSpPr/>
              <p:nvPr/>
            </p:nvSpPr>
            <p:spPr>
              <a:xfrm>
                <a:off x="12519855" y="7740364"/>
                <a:ext cx="361298" cy="443649"/>
              </a:xfrm>
              <a:custGeom>
                <a:avLst/>
                <a:gdLst>
                  <a:gd name="connsiteX0" fmla="*/ 361298 w 361298"/>
                  <a:gd name="connsiteY0" fmla="*/ 443650 h 443649"/>
                  <a:gd name="connsiteX1" fmla="*/ 213923 w 361298"/>
                  <a:gd name="connsiteY1" fmla="*/ 443650 h 443649"/>
                  <a:gd name="connsiteX2" fmla="*/ 147947 w 361298"/>
                  <a:gd name="connsiteY2" fmla="*/ 330600 h 443649"/>
                  <a:gd name="connsiteX3" fmla="*/ 124622 w 361298"/>
                  <a:gd name="connsiteY3" fmla="*/ 354540 h 443649"/>
                  <a:gd name="connsiteX4" fmla="*/ 124622 w 361298"/>
                  <a:gd name="connsiteY4" fmla="*/ 443650 h 443649"/>
                  <a:gd name="connsiteX5" fmla="*/ 0 w 361298"/>
                  <a:gd name="connsiteY5" fmla="*/ 443650 h 443649"/>
                  <a:gd name="connsiteX6" fmla="*/ 0 w 361298"/>
                  <a:gd name="connsiteY6" fmla="*/ 0 h 443649"/>
                  <a:gd name="connsiteX7" fmla="*/ 124622 w 361298"/>
                  <a:gd name="connsiteY7" fmla="*/ 0 h 443649"/>
                  <a:gd name="connsiteX8" fmla="*/ 124622 w 361298"/>
                  <a:gd name="connsiteY8" fmla="*/ 216220 h 443649"/>
                  <a:gd name="connsiteX9" fmla="*/ 205259 w 361298"/>
                  <a:gd name="connsiteY9" fmla="*/ 122360 h 443649"/>
                  <a:gd name="connsiteX10" fmla="*/ 349969 w 361298"/>
                  <a:gd name="connsiteY10" fmla="*/ 122360 h 443649"/>
                  <a:gd name="connsiteX11" fmla="*/ 228584 w 361298"/>
                  <a:gd name="connsiteY11" fmla="*/ 24671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298" h="443649">
                    <a:moveTo>
                      <a:pt x="361298" y="443650"/>
                    </a:moveTo>
                    <a:lnTo>
                      <a:pt x="213923" y="443650"/>
                    </a:lnTo>
                    <a:lnTo>
                      <a:pt x="147947" y="330600"/>
                    </a:lnTo>
                    <a:lnTo>
                      <a:pt x="124622" y="354540"/>
                    </a:lnTo>
                    <a:lnTo>
                      <a:pt x="124622" y="443650"/>
                    </a:lnTo>
                    <a:lnTo>
                      <a:pt x="0" y="443650"/>
                    </a:lnTo>
                    <a:lnTo>
                      <a:pt x="0" y="0"/>
                    </a:lnTo>
                    <a:lnTo>
                      <a:pt x="124622" y="0"/>
                    </a:lnTo>
                    <a:lnTo>
                      <a:pt x="124622" y="216220"/>
                    </a:lnTo>
                    <a:lnTo>
                      <a:pt x="205259" y="122360"/>
                    </a:lnTo>
                    <a:lnTo>
                      <a:pt x="349969" y="122360"/>
                    </a:lnTo>
                    <a:lnTo>
                      <a:pt x="228584" y="24671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8" name="Freeform 107">
                <a:extLst>
                  <a:ext uri="{FF2B5EF4-FFF2-40B4-BE49-F238E27FC236}">
                    <a16:creationId xmlns:a16="http://schemas.microsoft.com/office/drawing/2014/main" id="{CDE7D0A8-6542-2B4C-8DAB-6A00C6142B65}"/>
                  </a:ext>
                </a:extLst>
              </p:cNvPr>
              <p:cNvSpPr/>
              <p:nvPr/>
            </p:nvSpPr>
            <p:spPr>
              <a:xfrm>
                <a:off x="12859732"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8 w 359870"/>
                  <a:gd name="connsiteY10" fmla="*/ 132335 h 338484"/>
                  <a:gd name="connsiteX11" fmla="*/ 179268 w 359870"/>
                  <a:gd name="connsiteY11" fmla="*/ 81795 h 338484"/>
                  <a:gd name="connsiteX12" fmla="*/ 123955 w 359870"/>
                  <a:gd name="connsiteY12" fmla="*/ 132335 h 338484"/>
                  <a:gd name="connsiteX13" fmla="*/ 235248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1"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9" name="Freeform 108">
                <a:extLst>
                  <a:ext uri="{FF2B5EF4-FFF2-40B4-BE49-F238E27FC236}">
                    <a16:creationId xmlns:a16="http://schemas.microsoft.com/office/drawing/2014/main" id="{58BEAC6C-4686-0D40-A084-21E587804D8C}"/>
                  </a:ext>
                </a:extLst>
              </p:cNvPr>
              <p:cNvSpPr/>
              <p:nvPr/>
            </p:nvSpPr>
            <p:spPr>
              <a:xfrm>
                <a:off x="13245593" y="7854175"/>
                <a:ext cx="329214" cy="338484"/>
              </a:xfrm>
              <a:custGeom>
                <a:avLst/>
                <a:gdLst>
                  <a:gd name="connsiteX0" fmla="*/ 201927 w 329214"/>
                  <a:gd name="connsiteY0" fmla="*/ 103075 h 338484"/>
                  <a:gd name="connsiteX1" fmla="*/ 161275 w 329214"/>
                  <a:gd name="connsiteY1" fmla="*/ 73150 h 338484"/>
                  <a:gd name="connsiteX2" fmla="*/ 128620 w 329214"/>
                  <a:gd name="connsiteY2" fmla="*/ 91105 h 338484"/>
                  <a:gd name="connsiteX3" fmla="*/ 159942 w 329214"/>
                  <a:gd name="connsiteY3" fmla="*/ 113050 h 338484"/>
                  <a:gd name="connsiteX4" fmla="*/ 217255 w 329214"/>
                  <a:gd name="connsiteY4" fmla="*/ 124355 h 338484"/>
                  <a:gd name="connsiteX5" fmla="*/ 296560 w 329214"/>
                  <a:gd name="connsiteY5" fmla="*/ 154280 h 338484"/>
                  <a:gd name="connsiteX6" fmla="*/ 329215 w 329214"/>
                  <a:gd name="connsiteY6" fmla="*/ 225435 h 338484"/>
                  <a:gd name="connsiteX7" fmla="*/ 164608 w 329214"/>
                  <a:gd name="connsiteY7" fmla="*/ 338485 h 338484"/>
                  <a:gd name="connsiteX8" fmla="*/ 29989 w 329214"/>
                  <a:gd name="connsiteY8" fmla="*/ 292600 h 338484"/>
                  <a:gd name="connsiteX9" fmla="*/ 0 w 329214"/>
                  <a:gd name="connsiteY9" fmla="*/ 220115 h 338484"/>
                  <a:gd name="connsiteX10" fmla="*/ 119291 w 329214"/>
                  <a:gd name="connsiteY10" fmla="*/ 220115 h 338484"/>
                  <a:gd name="connsiteX11" fmla="*/ 167273 w 329214"/>
                  <a:gd name="connsiteY11" fmla="*/ 258685 h 338484"/>
                  <a:gd name="connsiteX12" fmla="*/ 204593 w 329214"/>
                  <a:gd name="connsiteY12" fmla="*/ 235410 h 338484"/>
                  <a:gd name="connsiteX13" fmla="*/ 175271 w 329214"/>
                  <a:gd name="connsiteY13" fmla="*/ 213465 h 338484"/>
                  <a:gd name="connsiteX14" fmla="*/ 102630 w 329214"/>
                  <a:gd name="connsiteY14" fmla="*/ 196840 h 338484"/>
                  <a:gd name="connsiteX15" fmla="*/ 6664 w 329214"/>
                  <a:gd name="connsiteY15" fmla="*/ 103075 h 338484"/>
                  <a:gd name="connsiteX16" fmla="*/ 165940 w 329214"/>
                  <a:gd name="connsiteY16" fmla="*/ 0 h 338484"/>
                  <a:gd name="connsiteX17" fmla="*/ 317886 w 329214"/>
                  <a:gd name="connsiteY17" fmla="*/ 103075 h 338484"/>
                  <a:gd name="connsiteX18" fmla="*/ 201927 w 329214"/>
                  <a:gd name="connsiteY18" fmla="*/ 10307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4">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10" name="Freeform 109">
                <a:extLst>
                  <a:ext uri="{FF2B5EF4-FFF2-40B4-BE49-F238E27FC236}">
                    <a16:creationId xmlns:a16="http://schemas.microsoft.com/office/drawing/2014/main" id="{6A0ABEF8-5FD2-B74B-AF69-3746180FD236}"/>
                  </a:ext>
                </a:extLst>
              </p:cNvPr>
              <p:cNvSpPr/>
              <p:nvPr/>
            </p:nvSpPr>
            <p:spPr>
              <a:xfrm>
                <a:off x="13765406" y="7766965"/>
                <a:ext cx="229916" cy="421609"/>
              </a:xfrm>
              <a:custGeom>
                <a:avLst/>
                <a:gdLst>
                  <a:gd name="connsiteX0" fmla="*/ 229917 w 229916"/>
                  <a:gd name="connsiteY0" fmla="*/ 173565 h 421609"/>
                  <a:gd name="connsiteX1" fmla="*/ 171938 w 229916"/>
                  <a:gd name="connsiteY1" fmla="*/ 173565 h 421609"/>
                  <a:gd name="connsiteX2" fmla="*/ 171938 w 229916"/>
                  <a:gd name="connsiteY2" fmla="*/ 292600 h 421609"/>
                  <a:gd name="connsiteX3" fmla="*/ 205259 w 229916"/>
                  <a:gd name="connsiteY3" fmla="*/ 331170 h 421609"/>
                  <a:gd name="connsiteX4" fmla="*/ 229917 w 229916"/>
                  <a:gd name="connsiteY4" fmla="*/ 327180 h 421609"/>
                  <a:gd name="connsiteX5" fmla="*/ 229917 w 229916"/>
                  <a:gd name="connsiteY5" fmla="*/ 411635 h 421609"/>
                  <a:gd name="connsiteX6" fmla="*/ 161275 w 229916"/>
                  <a:gd name="connsiteY6" fmla="*/ 421610 h 421609"/>
                  <a:gd name="connsiteX7" fmla="*/ 74639 w 229916"/>
                  <a:gd name="connsiteY7" fmla="*/ 389025 h 421609"/>
                  <a:gd name="connsiteX8" fmla="*/ 47316 w 229916"/>
                  <a:gd name="connsiteY8" fmla="*/ 297255 h 421609"/>
                  <a:gd name="connsiteX9" fmla="*/ 47316 w 229916"/>
                  <a:gd name="connsiteY9" fmla="*/ 173565 h 421609"/>
                  <a:gd name="connsiteX10" fmla="*/ 0 w 229916"/>
                  <a:gd name="connsiteY10" fmla="*/ 173565 h 421609"/>
                  <a:gd name="connsiteX11" fmla="*/ 0 w 229916"/>
                  <a:gd name="connsiteY11" fmla="*/ 95760 h 421609"/>
                  <a:gd name="connsiteX12" fmla="*/ 47316 w 229916"/>
                  <a:gd name="connsiteY12" fmla="*/ 95760 h 421609"/>
                  <a:gd name="connsiteX13" fmla="*/ 47316 w 229916"/>
                  <a:gd name="connsiteY13" fmla="*/ 0 h 421609"/>
                  <a:gd name="connsiteX14" fmla="*/ 171938 w 229916"/>
                  <a:gd name="connsiteY14" fmla="*/ 0 h 421609"/>
                  <a:gd name="connsiteX15" fmla="*/ 171938 w 229916"/>
                  <a:gd name="connsiteY15" fmla="*/ 95760 h 421609"/>
                  <a:gd name="connsiteX16" fmla="*/ 229917 w 229916"/>
                  <a:gd name="connsiteY16" fmla="*/ 95760 h 421609"/>
                  <a:gd name="connsiteX17" fmla="*/ 229917 w 229916"/>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6"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1" y="421610"/>
                      <a:pt x="95299" y="410305"/>
                      <a:pt x="74639"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11" name="Freeform 110">
                <a:extLst>
                  <a:ext uri="{FF2B5EF4-FFF2-40B4-BE49-F238E27FC236}">
                    <a16:creationId xmlns:a16="http://schemas.microsoft.com/office/drawing/2014/main" id="{24026967-0678-F34C-AD38-CD63B3220148}"/>
                  </a:ext>
                </a:extLst>
              </p:cNvPr>
              <p:cNvSpPr/>
              <p:nvPr/>
            </p:nvSpPr>
            <p:spPr>
              <a:xfrm>
                <a:off x="14021980" y="7854175"/>
                <a:ext cx="360537" cy="338484"/>
              </a:xfrm>
              <a:custGeom>
                <a:avLst/>
                <a:gdLst>
                  <a:gd name="connsiteX0" fmla="*/ 360537 w 360537"/>
                  <a:gd name="connsiteY0" fmla="*/ 171570 h 338484"/>
                  <a:gd name="connsiteX1" fmla="*/ 179935 w 360537"/>
                  <a:gd name="connsiteY1" fmla="*/ 338485 h 338484"/>
                  <a:gd name="connsiteX2" fmla="*/ 0 w 360537"/>
                  <a:gd name="connsiteY2" fmla="*/ 168910 h 338484"/>
                  <a:gd name="connsiteX3" fmla="*/ 179935 w 360537"/>
                  <a:gd name="connsiteY3" fmla="*/ 0 h 338484"/>
                  <a:gd name="connsiteX4" fmla="*/ 360537 w 360537"/>
                  <a:gd name="connsiteY4" fmla="*/ 171570 h 338484"/>
                  <a:gd name="connsiteX5" fmla="*/ 124622 w 360537"/>
                  <a:gd name="connsiteY5" fmla="*/ 168910 h 338484"/>
                  <a:gd name="connsiteX6" fmla="*/ 180602 w 360537"/>
                  <a:gd name="connsiteY6" fmla="*/ 250040 h 338484"/>
                  <a:gd name="connsiteX7" fmla="*/ 235915 w 360537"/>
                  <a:gd name="connsiteY7" fmla="*/ 170240 h 338484"/>
                  <a:gd name="connsiteX8" fmla="*/ 179935 w 360537"/>
                  <a:gd name="connsiteY8" fmla="*/ 88445 h 338484"/>
                  <a:gd name="connsiteX9" fmla="*/ 124622 w 360537"/>
                  <a:gd name="connsiteY9" fmla="*/ 168910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537" h="338484">
                    <a:moveTo>
                      <a:pt x="360537" y="171570"/>
                    </a:moveTo>
                    <a:cubicBezTo>
                      <a:pt x="360537" y="266000"/>
                      <a:pt x="282565" y="338485"/>
                      <a:pt x="179935" y="338485"/>
                    </a:cubicBezTo>
                    <a:cubicBezTo>
                      <a:pt x="77306" y="338485"/>
                      <a:pt x="0" y="266000"/>
                      <a:pt x="0" y="168910"/>
                    </a:cubicBezTo>
                    <a:cubicBezTo>
                      <a:pt x="0" y="72485"/>
                      <a:pt x="77306" y="0"/>
                      <a:pt x="179935" y="0"/>
                    </a:cubicBezTo>
                    <a:cubicBezTo>
                      <a:pt x="284564" y="0"/>
                      <a:pt x="360537" y="71820"/>
                      <a:pt x="360537" y="171570"/>
                    </a:cubicBezTo>
                    <a:moveTo>
                      <a:pt x="124622" y="168910"/>
                    </a:moveTo>
                    <a:cubicBezTo>
                      <a:pt x="124622" y="222110"/>
                      <a:pt x="143949" y="250040"/>
                      <a:pt x="180602" y="250040"/>
                    </a:cubicBezTo>
                    <a:cubicBezTo>
                      <a:pt x="215923" y="250040"/>
                      <a:pt x="235915" y="222110"/>
                      <a:pt x="235915" y="170240"/>
                    </a:cubicBezTo>
                    <a:cubicBezTo>
                      <a:pt x="235915" y="116375"/>
                      <a:pt x="216589" y="88445"/>
                      <a:pt x="179935" y="88445"/>
                    </a:cubicBezTo>
                    <a:cubicBezTo>
                      <a:pt x="143949" y="88445"/>
                      <a:pt x="124622" y="116375"/>
                      <a:pt x="124622" y="16891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nvGrpSpPr>
            <p:cNvPr id="76" name="Group 75">
              <a:extLst>
                <a:ext uri="{FF2B5EF4-FFF2-40B4-BE49-F238E27FC236}">
                  <a16:creationId xmlns:a16="http://schemas.microsoft.com/office/drawing/2014/main" id="{EEB48ACB-D3E0-7042-A3B7-7ACDC2458E1B}"/>
                </a:ext>
              </a:extLst>
            </p:cNvPr>
            <p:cNvGrpSpPr/>
            <p:nvPr userDrawn="1"/>
          </p:nvGrpSpPr>
          <p:grpSpPr>
            <a:xfrm>
              <a:off x="7989584" y="8328986"/>
              <a:ext cx="6366276" cy="463504"/>
              <a:chOff x="7989583" y="8328985"/>
              <a:chExt cx="6366277" cy="463505"/>
            </a:xfrm>
            <a:solidFill>
              <a:schemeClr val="accent1"/>
            </a:solidFill>
          </p:grpSpPr>
          <p:sp>
            <p:nvSpPr>
              <p:cNvPr id="77" name="Freeform 76">
                <a:extLst>
                  <a:ext uri="{FF2B5EF4-FFF2-40B4-BE49-F238E27FC236}">
                    <a16:creationId xmlns:a16="http://schemas.microsoft.com/office/drawing/2014/main" id="{8A390040-4FFE-ED42-8A1F-63448E3DB4BE}"/>
                  </a:ext>
                </a:extLst>
              </p:cNvPr>
              <p:cNvSpPr/>
              <p:nvPr/>
            </p:nvSpPr>
            <p:spPr>
              <a:xfrm>
                <a:off x="7989583" y="8338865"/>
                <a:ext cx="401188" cy="443554"/>
              </a:xfrm>
              <a:custGeom>
                <a:avLst/>
                <a:gdLst>
                  <a:gd name="connsiteX0" fmla="*/ 0 w 401188"/>
                  <a:gd name="connsiteY0" fmla="*/ 0 h 443554"/>
                  <a:gd name="connsiteX1" fmla="*/ 229917 w 401188"/>
                  <a:gd name="connsiteY1" fmla="*/ 0 h 443554"/>
                  <a:gd name="connsiteX2" fmla="*/ 345875 w 401188"/>
                  <a:gd name="connsiteY2" fmla="*/ 32585 h 443554"/>
                  <a:gd name="connsiteX3" fmla="*/ 379863 w 401188"/>
                  <a:gd name="connsiteY3" fmla="*/ 115710 h 443554"/>
                  <a:gd name="connsiteX4" fmla="*/ 329881 w 401188"/>
                  <a:gd name="connsiteY4" fmla="*/ 201495 h 443554"/>
                  <a:gd name="connsiteX5" fmla="*/ 401189 w 401188"/>
                  <a:gd name="connsiteY5" fmla="*/ 312550 h 443554"/>
                  <a:gd name="connsiteX6" fmla="*/ 362536 w 401188"/>
                  <a:gd name="connsiteY6" fmla="*/ 410305 h 443554"/>
                  <a:gd name="connsiteX7" fmla="*/ 245911 w 401188"/>
                  <a:gd name="connsiteY7" fmla="*/ 443555 h 443554"/>
                  <a:gd name="connsiteX8" fmla="*/ 0 w 401188"/>
                  <a:gd name="connsiteY8" fmla="*/ 443555 h 443554"/>
                  <a:gd name="connsiteX9" fmla="*/ 0 w 401188"/>
                  <a:gd name="connsiteY9" fmla="*/ 0 h 443554"/>
                  <a:gd name="connsiteX10" fmla="*/ 215922 w 401188"/>
                  <a:gd name="connsiteY10" fmla="*/ 167580 h 443554"/>
                  <a:gd name="connsiteX11" fmla="*/ 255241 w 401188"/>
                  <a:gd name="connsiteY11" fmla="*/ 134330 h 443554"/>
                  <a:gd name="connsiteX12" fmla="*/ 215922 w 401188"/>
                  <a:gd name="connsiteY12" fmla="*/ 101745 h 443554"/>
                  <a:gd name="connsiteX13" fmla="*/ 133285 w 401188"/>
                  <a:gd name="connsiteY13" fmla="*/ 101745 h 443554"/>
                  <a:gd name="connsiteX14" fmla="*/ 133285 w 401188"/>
                  <a:gd name="connsiteY14" fmla="*/ 167580 h 443554"/>
                  <a:gd name="connsiteX15" fmla="*/ 215922 w 401188"/>
                  <a:gd name="connsiteY15" fmla="*/ 167580 h 443554"/>
                  <a:gd name="connsiteX16" fmla="*/ 218588 w 401188"/>
                  <a:gd name="connsiteY16" fmla="*/ 335255 h 443554"/>
                  <a:gd name="connsiteX17" fmla="*/ 272568 w 401188"/>
                  <a:gd name="connsiteY17" fmla="*/ 296020 h 443554"/>
                  <a:gd name="connsiteX18" fmla="*/ 218588 w 401188"/>
                  <a:gd name="connsiteY18" fmla="*/ 257450 h 443554"/>
                  <a:gd name="connsiteX19" fmla="*/ 133285 w 401188"/>
                  <a:gd name="connsiteY19" fmla="*/ 257450 h 443554"/>
                  <a:gd name="connsiteX20" fmla="*/ 133285 w 401188"/>
                  <a:gd name="connsiteY20" fmla="*/ 335255 h 443554"/>
                  <a:gd name="connsiteX21" fmla="*/ 218588 w 401188"/>
                  <a:gd name="connsiteY21" fmla="*/ 335255 h 4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188" h="443554">
                    <a:moveTo>
                      <a:pt x="0" y="0"/>
                    </a:moveTo>
                    <a:lnTo>
                      <a:pt x="229917" y="0"/>
                    </a:lnTo>
                    <a:cubicBezTo>
                      <a:pt x="290562" y="0"/>
                      <a:pt x="319885" y="8645"/>
                      <a:pt x="345875" y="32585"/>
                    </a:cubicBezTo>
                    <a:cubicBezTo>
                      <a:pt x="367867" y="53200"/>
                      <a:pt x="379863" y="82460"/>
                      <a:pt x="379863" y="115710"/>
                    </a:cubicBezTo>
                    <a:cubicBezTo>
                      <a:pt x="379863" y="152950"/>
                      <a:pt x="365202" y="178885"/>
                      <a:pt x="329881" y="201495"/>
                    </a:cubicBezTo>
                    <a:cubicBezTo>
                      <a:pt x="377197" y="222775"/>
                      <a:pt x="401189" y="260015"/>
                      <a:pt x="401189" y="312550"/>
                    </a:cubicBezTo>
                    <a:cubicBezTo>
                      <a:pt x="401189" y="350455"/>
                      <a:pt x="387194" y="387030"/>
                      <a:pt x="362536" y="410305"/>
                    </a:cubicBezTo>
                    <a:cubicBezTo>
                      <a:pt x="337212" y="435575"/>
                      <a:pt x="309222" y="443555"/>
                      <a:pt x="245911" y="443555"/>
                    </a:cubicBezTo>
                    <a:lnTo>
                      <a:pt x="0" y="443555"/>
                    </a:lnTo>
                    <a:lnTo>
                      <a:pt x="0" y="0"/>
                    </a:lnTo>
                    <a:close/>
                    <a:moveTo>
                      <a:pt x="215922" y="167580"/>
                    </a:moveTo>
                    <a:cubicBezTo>
                      <a:pt x="241913" y="167580"/>
                      <a:pt x="255241" y="156275"/>
                      <a:pt x="255241" y="134330"/>
                    </a:cubicBezTo>
                    <a:cubicBezTo>
                      <a:pt x="255241" y="113050"/>
                      <a:pt x="241913" y="101745"/>
                      <a:pt x="215922" y="101745"/>
                    </a:cubicBezTo>
                    <a:lnTo>
                      <a:pt x="133285" y="101745"/>
                    </a:lnTo>
                    <a:lnTo>
                      <a:pt x="133285" y="167580"/>
                    </a:lnTo>
                    <a:lnTo>
                      <a:pt x="215922" y="167580"/>
                    </a:lnTo>
                    <a:close/>
                    <a:moveTo>
                      <a:pt x="218588" y="335255"/>
                    </a:moveTo>
                    <a:cubicBezTo>
                      <a:pt x="254575" y="335255"/>
                      <a:pt x="272568" y="321955"/>
                      <a:pt x="272568" y="296020"/>
                    </a:cubicBezTo>
                    <a:cubicBezTo>
                      <a:pt x="272568" y="270750"/>
                      <a:pt x="254575" y="257450"/>
                      <a:pt x="218588" y="257450"/>
                    </a:cubicBezTo>
                    <a:lnTo>
                      <a:pt x="133285" y="257450"/>
                    </a:lnTo>
                    <a:lnTo>
                      <a:pt x="133285" y="335255"/>
                    </a:lnTo>
                    <a:lnTo>
                      <a:pt x="218588" y="3352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8" name="Freeform 77">
                <a:extLst>
                  <a:ext uri="{FF2B5EF4-FFF2-40B4-BE49-F238E27FC236}">
                    <a16:creationId xmlns:a16="http://schemas.microsoft.com/office/drawing/2014/main" id="{8BDDA770-C9A4-1741-80DF-DB325AD2591C}"/>
                  </a:ext>
                </a:extLst>
              </p:cNvPr>
              <p:cNvSpPr/>
              <p:nvPr/>
            </p:nvSpPr>
            <p:spPr>
              <a:xfrm>
                <a:off x="8442753"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2 w 334546"/>
                  <a:gd name="connsiteY7" fmla="*/ 0 h 329935"/>
                  <a:gd name="connsiteX8" fmla="*/ 124622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6"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9" name="Freeform 78">
                <a:extLst>
                  <a:ext uri="{FF2B5EF4-FFF2-40B4-BE49-F238E27FC236}">
                    <a16:creationId xmlns:a16="http://schemas.microsoft.com/office/drawing/2014/main" id="{1A106515-2AE1-5A4E-B832-F93591EDB226}"/>
                  </a:ext>
                </a:extLst>
              </p:cNvPr>
              <p:cNvSpPr/>
              <p:nvPr/>
            </p:nvSpPr>
            <p:spPr>
              <a:xfrm>
                <a:off x="8829280" y="8338865"/>
                <a:ext cx="124621" cy="443649"/>
              </a:xfrm>
              <a:custGeom>
                <a:avLst/>
                <a:gdLst>
                  <a:gd name="connsiteX0" fmla="*/ 124622 w 124621"/>
                  <a:gd name="connsiteY0" fmla="*/ 88445 h 443649"/>
                  <a:gd name="connsiteX1" fmla="*/ 0 w 124621"/>
                  <a:gd name="connsiteY1" fmla="*/ 88445 h 443649"/>
                  <a:gd name="connsiteX2" fmla="*/ 0 w 124621"/>
                  <a:gd name="connsiteY2" fmla="*/ 0 h 443649"/>
                  <a:gd name="connsiteX3" fmla="*/ 124622 w 124621"/>
                  <a:gd name="connsiteY3" fmla="*/ 0 h 443649"/>
                  <a:gd name="connsiteX4" fmla="*/ 124622 w 124621"/>
                  <a:gd name="connsiteY4" fmla="*/ 88445 h 443649"/>
                  <a:gd name="connsiteX5" fmla="*/ 124622 w 124621"/>
                  <a:gd name="connsiteY5" fmla="*/ 443650 h 443649"/>
                  <a:gd name="connsiteX6" fmla="*/ 0 w 124621"/>
                  <a:gd name="connsiteY6" fmla="*/ 443650 h 443649"/>
                  <a:gd name="connsiteX7" fmla="*/ 0 w 124621"/>
                  <a:gd name="connsiteY7" fmla="*/ 122455 h 443649"/>
                  <a:gd name="connsiteX8" fmla="*/ 124622 w 124621"/>
                  <a:gd name="connsiteY8" fmla="*/ 122455 h 443649"/>
                  <a:gd name="connsiteX9" fmla="*/ 124622 w 124621"/>
                  <a:gd name="connsiteY9"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21" h="443649">
                    <a:moveTo>
                      <a:pt x="124622" y="88445"/>
                    </a:moveTo>
                    <a:lnTo>
                      <a:pt x="0" y="88445"/>
                    </a:lnTo>
                    <a:lnTo>
                      <a:pt x="0" y="0"/>
                    </a:lnTo>
                    <a:lnTo>
                      <a:pt x="124622" y="0"/>
                    </a:lnTo>
                    <a:lnTo>
                      <a:pt x="124622" y="88445"/>
                    </a:lnTo>
                    <a:close/>
                    <a:moveTo>
                      <a:pt x="124622" y="443650"/>
                    </a:moveTo>
                    <a:lnTo>
                      <a:pt x="0" y="443650"/>
                    </a:lnTo>
                    <a:lnTo>
                      <a:pt x="0" y="122455"/>
                    </a:lnTo>
                    <a:lnTo>
                      <a:pt x="124622" y="122455"/>
                    </a:lnTo>
                    <a:lnTo>
                      <a:pt x="124622"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0" name="Freeform 79">
                <a:extLst>
                  <a:ext uri="{FF2B5EF4-FFF2-40B4-BE49-F238E27FC236}">
                    <a16:creationId xmlns:a16="http://schemas.microsoft.com/office/drawing/2014/main" id="{6F63CEE1-BA63-B245-91CB-C4828A5BD18F}"/>
                  </a:ext>
                </a:extLst>
              </p:cNvPr>
              <p:cNvSpPr/>
              <p:nvPr/>
            </p:nvSpPr>
            <p:spPr>
              <a:xfrm>
                <a:off x="9005883" y="8338865"/>
                <a:ext cx="124621" cy="443555"/>
              </a:xfrm>
              <a:custGeom>
                <a:avLst/>
                <a:gdLst>
                  <a:gd name="connsiteX0" fmla="*/ 0 w 124621"/>
                  <a:gd name="connsiteY0" fmla="*/ 0 h 443555"/>
                  <a:gd name="connsiteX1" fmla="*/ 124622 w 124621"/>
                  <a:gd name="connsiteY1" fmla="*/ 0 h 443555"/>
                  <a:gd name="connsiteX2" fmla="*/ 124622 w 124621"/>
                  <a:gd name="connsiteY2" fmla="*/ 443555 h 443555"/>
                  <a:gd name="connsiteX3" fmla="*/ 0 w 124621"/>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24621" h="443555">
                    <a:moveTo>
                      <a:pt x="0" y="0"/>
                    </a:moveTo>
                    <a:lnTo>
                      <a:pt x="124622" y="0"/>
                    </a:lnTo>
                    <a:lnTo>
                      <a:pt x="124622"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1" name="Freeform 80">
                <a:extLst>
                  <a:ext uri="{FF2B5EF4-FFF2-40B4-BE49-F238E27FC236}">
                    <a16:creationId xmlns:a16="http://schemas.microsoft.com/office/drawing/2014/main" id="{1BCB9A47-C64B-AD4A-846B-422B2B2A415E}"/>
                  </a:ext>
                </a:extLst>
              </p:cNvPr>
              <p:cNvSpPr/>
              <p:nvPr/>
            </p:nvSpPr>
            <p:spPr>
              <a:xfrm>
                <a:off x="9179820" y="8338865"/>
                <a:ext cx="354538" cy="452295"/>
              </a:xfrm>
              <a:custGeom>
                <a:avLst/>
                <a:gdLst>
                  <a:gd name="connsiteX0" fmla="*/ 354539 w 354538"/>
                  <a:gd name="connsiteY0" fmla="*/ 443650 h 452295"/>
                  <a:gd name="connsiteX1" fmla="*/ 237248 w 354538"/>
                  <a:gd name="connsiteY1" fmla="*/ 443650 h 452295"/>
                  <a:gd name="connsiteX2" fmla="*/ 237248 w 354538"/>
                  <a:gd name="connsiteY2" fmla="*/ 414390 h 452295"/>
                  <a:gd name="connsiteX3" fmla="*/ 149946 w 354538"/>
                  <a:gd name="connsiteY3" fmla="*/ 452295 h 452295"/>
                  <a:gd name="connsiteX4" fmla="*/ 0 w 354538"/>
                  <a:gd name="connsiteY4" fmla="*/ 279395 h 452295"/>
                  <a:gd name="connsiteX5" fmla="*/ 139950 w 354538"/>
                  <a:gd name="connsiteY5" fmla="*/ 113810 h 452295"/>
                  <a:gd name="connsiteX6" fmla="*/ 229917 w 354538"/>
                  <a:gd name="connsiteY6" fmla="*/ 149720 h 452295"/>
                  <a:gd name="connsiteX7" fmla="*/ 229917 w 354538"/>
                  <a:gd name="connsiteY7" fmla="*/ 0 h 452295"/>
                  <a:gd name="connsiteX8" fmla="*/ 354539 w 354538"/>
                  <a:gd name="connsiteY8" fmla="*/ 0 h 452295"/>
                  <a:gd name="connsiteX9" fmla="*/ 354539 w 354538"/>
                  <a:gd name="connsiteY9" fmla="*/ 443650 h 452295"/>
                  <a:gd name="connsiteX10" fmla="*/ 124622 w 354538"/>
                  <a:gd name="connsiteY10" fmla="*/ 282720 h 452295"/>
                  <a:gd name="connsiteX11" fmla="*/ 179269 w 354538"/>
                  <a:gd name="connsiteY11" fmla="*/ 357200 h 452295"/>
                  <a:gd name="connsiteX12" fmla="*/ 234582 w 354538"/>
                  <a:gd name="connsiteY12" fmla="*/ 284050 h 452295"/>
                  <a:gd name="connsiteX13" fmla="*/ 179269 w 354538"/>
                  <a:gd name="connsiteY13" fmla="*/ 208905 h 452295"/>
                  <a:gd name="connsiteX14" fmla="*/ 124622 w 354538"/>
                  <a:gd name="connsiteY14" fmla="*/ 282720 h 45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38" h="452295">
                    <a:moveTo>
                      <a:pt x="354539" y="443650"/>
                    </a:moveTo>
                    <a:lnTo>
                      <a:pt x="237248" y="443650"/>
                    </a:lnTo>
                    <a:lnTo>
                      <a:pt x="237248" y="414390"/>
                    </a:lnTo>
                    <a:cubicBezTo>
                      <a:pt x="205926" y="444315"/>
                      <a:pt x="187266" y="452295"/>
                      <a:pt x="149946" y="452295"/>
                    </a:cubicBezTo>
                    <a:cubicBezTo>
                      <a:pt x="59312" y="452295"/>
                      <a:pt x="0" y="383800"/>
                      <a:pt x="0" y="279395"/>
                    </a:cubicBezTo>
                    <a:cubicBezTo>
                      <a:pt x="0" y="180310"/>
                      <a:pt x="55980" y="113810"/>
                      <a:pt x="139950" y="113810"/>
                    </a:cubicBezTo>
                    <a:cubicBezTo>
                      <a:pt x="175270" y="113810"/>
                      <a:pt x="199928" y="123785"/>
                      <a:pt x="229917" y="149720"/>
                    </a:cubicBezTo>
                    <a:lnTo>
                      <a:pt x="229917" y="0"/>
                    </a:lnTo>
                    <a:lnTo>
                      <a:pt x="354539" y="0"/>
                    </a:lnTo>
                    <a:lnTo>
                      <a:pt x="354539" y="443650"/>
                    </a:lnTo>
                    <a:close/>
                    <a:moveTo>
                      <a:pt x="124622" y="282720"/>
                    </a:moveTo>
                    <a:cubicBezTo>
                      <a:pt x="124622" y="329270"/>
                      <a:pt x="145281" y="357200"/>
                      <a:pt x="179269" y="357200"/>
                    </a:cubicBezTo>
                    <a:cubicBezTo>
                      <a:pt x="213256" y="357200"/>
                      <a:pt x="234582" y="328605"/>
                      <a:pt x="234582" y="284050"/>
                    </a:cubicBezTo>
                    <a:cubicBezTo>
                      <a:pt x="234582" y="236835"/>
                      <a:pt x="213923" y="208905"/>
                      <a:pt x="179269" y="208905"/>
                    </a:cubicBezTo>
                    <a:cubicBezTo>
                      <a:pt x="145281" y="208905"/>
                      <a:pt x="124622" y="236835"/>
                      <a:pt x="124622" y="28272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2" name="Freeform 81">
                <a:extLst>
                  <a:ext uri="{FF2B5EF4-FFF2-40B4-BE49-F238E27FC236}">
                    <a16:creationId xmlns:a16="http://schemas.microsoft.com/office/drawing/2014/main" id="{EE970E44-D192-264B-997F-C2142204ACA2}"/>
                  </a:ext>
                </a:extLst>
              </p:cNvPr>
              <p:cNvSpPr/>
              <p:nvPr/>
            </p:nvSpPr>
            <p:spPr>
              <a:xfrm>
                <a:off x="9755613" y="8328985"/>
                <a:ext cx="438508" cy="463505"/>
              </a:xfrm>
              <a:custGeom>
                <a:avLst/>
                <a:gdLst>
                  <a:gd name="connsiteX0" fmla="*/ 438509 w 438508"/>
                  <a:gd name="connsiteY0" fmla="*/ 209475 h 463505"/>
                  <a:gd name="connsiteX1" fmla="*/ 438509 w 438508"/>
                  <a:gd name="connsiteY1" fmla="*/ 453530 h 463505"/>
                  <a:gd name="connsiteX2" fmla="*/ 350540 w 438508"/>
                  <a:gd name="connsiteY2" fmla="*/ 453530 h 463505"/>
                  <a:gd name="connsiteX3" fmla="*/ 341877 w 438508"/>
                  <a:gd name="connsiteY3" fmla="*/ 415625 h 463505"/>
                  <a:gd name="connsiteX4" fmla="*/ 210591 w 438508"/>
                  <a:gd name="connsiteY4" fmla="*/ 463505 h 463505"/>
                  <a:gd name="connsiteX5" fmla="*/ 0 w 438508"/>
                  <a:gd name="connsiteY5" fmla="*/ 232085 h 463505"/>
                  <a:gd name="connsiteX6" fmla="*/ 223253 w 438508"/>
                  <a:gd name="connsiteY6" fmla="*/ 0 h 463505"/>
                  <a:gd name="connsiteX7" fmla="*/ 429845 w 438508"/>
                  <a:gd name="connsiteY7" fmla="*/ 163590 h 463505"/>
                  <a:gd name="connsiteX8" fmla="*/ 297893 w 438508"/>
                  <a:gd name="connsiteY8" fmla="*/ 166250 h 463505"/>
                  <a:gd name="connsiteX9" fmla="*/ 224586 w 438508"/>
                  <a:gd name="connsiteY9" fmla="*/ 111055 h 463505"/>
                  <a:gd name="connsiteX10" fmla="*/ 137950 w 438508"/>
                  <a:gd name="connsiteY10" fmla="*/ 228760 h 463505"/>
                  <a:gd name="connsiteX11" fmla="*/ 233916 w 438508"/>
                  <a:gd name="connsiteY11" fmla="*/ 357105 h 463505"/>
                  <a:gd name="connsiteX12" fmla="*/ 310555 w 438508"/>
                  <a:gd name="connsiteY12" fmla="*/ 307230 h 463505"/>
                  <a:gd name="connsiteX13" fmla="*/ 252576 w 438508"/>
                  <a:gd name="connsiteY13" fmla="*/ 307230 h 463505"/>
                  <a:gd name="connsiteX14" fmla="*/ 252576 w 438508"/>
                  <a:gd name="connsiteY14" fmla="*/ 209475 h 463505"/>
                  <a:gd name="connsiteX15" fmla="*/ 438509 w 438508"/>
                  <a:gd name="connsiteY15" fmla="*/ 209475 h 46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508" h="463505">
                    <a:moveTo>
                      <a:pt x="438509" y="209475"/>
                    </a:moveTo>
                    <a:lnTo>
                      <a:pt x="438509" y="453530"/>
                    </a:lnTo>
                    <a:lnTo>
                      <a:pt x="350540" y="453530"/>
                    </a:lnTo>
                    <a:lnTo>
                      <a:pt x="341877" y="415625"/>
                    </a:lnTo>
                    <a:cubicBezTo>
                      <a:pt x="305223" y="448210"/>
                      <a:pt x="262572" y="463505"/>
                      <a:pt x="210591" y="463505"/>
                    </a:cubicBezTo>
                    <a:cubicBezTo>
                      <a:pt x="88635" y="463505"/>
                      <a:pt x="0" y="365750"/>
                      <a:pt x="0" y="232085"/>
                    </a:cubicBezTo>
                    <a:cubicBezTo>
                      <a:pt x="0" y="94430"/>
                      <a:pt x="90634" y="0"/>
                      <a:pt x="223253" y="0"/>
                    </a:cubicBezTo>
                    <a:cubicBezTo>
                      <a:pt x="332547" y="0"/>
                      <a:pt x="412518" y="63840"/>
                      <a:pt x="429845" y="163590"/>
                    </a:cubicBezTo>
                    <a:lnTo>
                      <a:pt x="297893" y="166250"/>
                    </a:lnTo>
                    <a:cubicBezTo>
                      <a:pt x="288563" y="131005"/>
                      <a:pt x="261906" y="111055"/>
                      <a:pt x="224586" y="111055"/>
                    </a:cubicBezTo>
                    <a:cubicBezTo>
                      <a:pt x="169272" y="111055"/>
                      <a:pt x="137950" y="153615"/>
                      <a:pt x="137950" y="228760"/>
                    </a:cubicBezTo>
                    <a:cubicBezTo>
                      <a:pt x="137950" y="311885"/>
                      <a:pt x="171938" y="357105"/>
                      <a:pt x="233916" y="357105"/>
                    </a:cubicBezTo>
                    <a:cubicBezTo>
                      <a:pt x="271236" y="357105"/>
                      <a:pt x="299226" y="339150"/>
                      <a:pt x="310555" y="307230"/>
                    </a:cubicBezTo>
                    <a:lnTo>
                      <a:pt x="252576" y="307230"/>
                    </a:lnTo>
                    <a:lnTo>
                      <a:pt x="252576" y="209475"/>
                    </a:lnTo>
                    <a:lnTo>
                      <a:pt x="438509" y="2094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3" name="Freeform 82">
                <a:extLst>
                  <a:ext uri="{FF2B5EF4-FFF2-40B4-BE49-F238E27FC236}">
                    <a16:creationId xmlns:a16="http://schemas.microsoft.com/office/drawing/2014/main" id="{25A16E6D-05DA-154A-AA9C-071CD7F3C9FE}"/>
                  </a:ext>
                </a:extLst>
              </p:cNvPr>
              <p:cNvSpPr/>
              <p:nvPr/>
            </p:nvSpPr>
            <p:spPr>
              <a:xfrm>
                <a:off x="10246769" y="8452674"/>
                <a:ext cx="251909" cy="329840"/>
              </a:xfrm>
              <a:custGeom>
                <a:avLst/>
                <a:gdLst>
                  <a:gd name="connsiteX0" fmla="*/ 117958 w 251909"/>
                  <a:gd name="connsiteY0" fmla="*/ 8645 h 329840"/>
                  <a:gd name="connsiteX1" fmla="*/ 117958 w 251909"/>
                  <a:gd name="connsiteY1" fmla="*/ 53200 h 329840"/>
                  <a:gd name="connsiteX2" fmla="*/ 213256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4" name="Freeform 83">
                <a:extLst>
                  <a:ext uri="{FF2B5EF4-FFF2-40B4-BE49-F238E27FC236}">
                    <a16:creationId xmlns:a16="http://schemas.microsoft.com/office/drawing/2014/main" id="{B3CF3337-7DE1-AC4F-BF4C-279648FADD07}"/>
                  </a:ext>
                </a:extLst>
              </p:cNvPr>
              <p:cNvSpPr/>
              <p:nvPr/>
            </p:nvSpPr>
            <p:spPr>
              <a:xfrm>
                <a:off x="10526668"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2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9 w 359870"/>
                  <a:gd name="connsiteY10" fmla="*/ 132335 h 338485"/>
                  <a:gd name="connsiteX11" fmla="*/ 179269 w 359870"/>
                  <a:gd name="connsiteY11" fmla="*/ 81795 h 338485"/>
                  <a:gd name="connsiteX12" fmla="*/ 123956 w 359870"/>
                  <a:gd name="connsiteY12" fmla="*/ 132335 h 338485"/>
                  <a:gd name="connsiteX13" fmla="*/ 235249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2"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3" y="0"/>
                      <a:pt x="180602" y="0"/>
                    </a:cubicBezTo>
                    <a:cubicBezTo>
                      <a:pt x="253909" y="0"/>
                      <a:pt x="313887" y="35245"/>
                      <a:pt x="342543" y="96425"/>
                    </a:cubicBezTo>
                    <a:cubicBezTo>
                      <a:pt x="354539" y="123025"/>
                      <a:pt x="359870" y="151620"/>
                      <a:pt x="359870" y="198835"/>
                    </a:cubicBezTo>
                    <a:lnTo>
                      <a:pt x="123289" y="198835"/>
                    </a:lnTo>
                    <a:close/>
                    <a:moveTo>
                      <a:pt x="235249" y="132335"/>
                    </a:moveTo>
                    <a:cubicBezTo>
                      <a:pt x="231917" y="101080"/>
                      <a:pt x="210591" y="81795"/>
                      <a:pt x="179269" y="81795"/>
                    </a:cubicBezTo>
                    <a:cubicBezTo>
                      <a:pt x="148613" y="81795"/>
                      <a:pt x="127288" y="101080"/>
                      <a:pt x="123956"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5" name="Freeform 84">
                <a:extLst>
                  <a:ext uri="{FF2B5EF4-FFF2-40B4-BE49-F238E27FC236}">
                    <a16:creationId xmlns:a16="http://schemas.microsoft.com/office/drawing/2014/main" id="{E89244AC-9B20-074D-920A-E9984B1DB785}"/>
                  </a:ext>
                </a:extLst>
              </p:cNvPr>
              <p:cNvSpPr/>
              <p:nvPr/>
            </p:nvSpPr>
            <p:spPr>
              <a:xfrm>
                <a:off x="10923097" y="8452674"/>
                <a:ext cx="350540" cy="338485"/>
              </a:xfrm>
              <a:custGeom>
                <a:avLst/>
                <a:gdLst>
                  <a:gd name="connsiteX0" fmla="*/ 14661 w 350540"/>
                  <a:gd name="connsiteY0" fmla="*/ 124355 h 338485"/>
                  <a:gd name="connsiteX1" fmla="*/ 47316 w 350540"/>
                  <a:gd name="connsiteY1" fmla="*/ 42560 h 338485"/>
                  <a:gd name="connsiteX2" fmla="*/ 179269 w 350540"/>
                  <a:gd name="connsiteY2" fmla="*/ 0 h 338485"/>
                  <a:gd name="connsiteX3" fmla="*/ 299225 w 350540"/>
                  <a:gd name="connsiteY3" fmla="*/ 32585 h 338485"/>
                  <a:gd name="connsiteX4" fmla="*/ 340544 w 350540"/>
                  <a:gd name="connsiteY4" fmla="*/ 131005 h 338485"/>
                  <a:gd name="connsiteX5" fmla="*/ 340544 w 350540"/>
                  <a:gd name="connsiteY5" fmla="*/ 281960 h 338485"/>
                  <a:gd name="connsiteX6" fmla="*/ 350540 w 350540"/>
                  <a:gd name="connsiteY6" fmla="*/ 329840 h 338485"/>
                  <a:gd name="connsiteX7" fmla="*/ 229917 w 350540"/>
                  <a:gd name="connsiteY7" fmla="*/ 329840 h 338485"/>
                  <a:gd name="connsiteX8" fmla="*/ 219254 w 350540"/>
                  <a:gd name="connsiteY8" fmla="*/ 297255 h 338485"/>
                  <a:gd name="connsiteX9" fmla="*/ 111960 w 350540"/>
                  <a:gd name="connsiteY9" fmla="*/ 338485 h 338485"/>
                  <a:gd name="connsiteX10" fmla="*/ 0 w 350540"/>
                  <a:gd name="connsiteY10" fmla="*/ 244720 h 338485"/>
                  <a:gd name="connsiteX11" fmla="*/ 89968 w 350540"/>
                  <a:gd name="connsiteY11" fmla="*/ 148960 h 338485"/>
                  <a:gd name="connsiteX12" fmla="*/ 183267 w 350540"/>
                  <a:gd name="connsiteY12" fmla="*/ 131005 h 338485"/>
                  <a:gd name="connsiteX13" fmla="*/ 218588 w 350540"/>
                  <a:gd name="connsiteY13" fmla="*/ 107065 h 338485"/>
                  <a:gd name="connsiteX14" fmla="*/ 176603 w 350540"/>
                  <a:gd name="connsiteY14" fmla="*/ 79800 h 338485"/>
                  <a:gd name="connsiteX15" fmla="*/ 128620 w 350540"/>
                  <a:gd name="connsiteY15" fmla="*/ 119700 h 338485"/>
                  <a:gd name="connsiteX16" fmla="*/ 128620 w 350540"/>
                  <a:gd name="connsiteY16" fmla="*/ 124355 h 338485"/>
                  <a:gd name="connsiteX17" fmla="*/ 14661 w 350540"/>
                  <a:gd name="connsiteY17" fmla="*/ 124355 h 338485"/>
                  <a:gd name="connsiteX18" fmla="*/ 167368 w 350540"/>
                  <a:gd name="connsiteY18" fmla="*/ 204155 h 338485"/>
                  <a:gd name="connsiteX19" fmla="*/ 131381 w 350540"/>
                  <a:gd name="connsiteY19" fmla="*/ 217455 h 338485"/>
                  <a:gd name="connsiteX20" fmla="*/ 119386 w 350540"/>
                  <a:gd name="connsiteY20" fmla="*/ 238070 h 338485"/>
                  <a:gd name="connsiteX21" fmla="*/ 154706 w 350540"/>
                  <a:gd name="connsiteY21" fmla="*/ 265335 h 338485"/>
                  <a:gd name="connsiteX22" fmla="*/ 220682 w 350540"/>
                  <a:gd name="connsiteY22" fmla="*/ 202825 h 338485"/>
                  <a:gd name="connsiteX23" fmla="*/ 220682 w 350540"/>
                  <a:gd name="connsiteY23" fmla="*/ 185535 h 338485"/>
                  <a:gd name="connsiteX24" fmla="*/ 167368 w 350540"/>
                  <a:gd name="connsiteY24" fmla="*/ 20415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5">
                    <a:moveTo>
                      <a:pt x="14661" y="124355"/>
                    </a:moveTo>
                    <a:cubicBezTo>
                      <a:pt x="17993"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368" y="204155"/>
                    </a:moveTo>
                    <a:cubicBezTo>
                      <a:pt x="138712" y="213465"/>
                      <a:pt x="138712" y="213465"/>
                      <a:pt x="131381" y="217455"/>
                    </a:cubicBezTo>
                    <a:cubicBezTo>
                      <a:pt x="123384" y="222110"/>
                      <a:pt x="119386" y="229425"/>
                      <a:pt x="119386" y="238070"/>
                    </a:cubicBezTo>
                    <a:cubicBezTo>
                      <a:pt x="119386" y="254695"/>
                      <a:pt x="133381" y="265335"/>
                      <a:pt x="154706" y="265335"/>
                    </a:cubicBezTo>
                    <a:cubicBezTo>
                      <a:pt x="193359" y="265335"/>
                      <a:pt x="220682" y="239400"/>
                      <a:pt x="220682" y="202825"/>
                    </a:cubicBezTo>
                    <a:lnTo>
                      <a:pt x="220682" y="185535"/>
                    </a:lnTo>
                    <a:lnTo>
                      <a:pt x="167368"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6" name="Freeform 85">
                <a:extLst>
                  <a:ext uri="{FF2B5EF4-FFF2-40B4-BE49-F238E27FC236}">
                    <a16:creationId xmlns:a16="http://schemas.microsoft.com/office/drawing/2014/main" id="{656ACD78-1132-774F-9E79-3E78D7CB1FCA}"/>
                  </a:ext>
                </a:extLst>
              </p:cNvPr>
              <p:cNvSpPr/>
              <p:nvPr/>
            </p:nvSpPr>
            <p:spPr>
              <a:xfrm>
                <a:off x="11299057"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5" y="331170"/>
                      <a:pt x="205259" y="331170"/>
                    </a:cubicBezTo>
                    <a:cubicBezTo>
                      <a:pt x="215256" y="331170"/>
                      <a:pt x="222587" y="329840"/>
                      <a:pt x="229917" y="327180"/>
                    </a:cubicBezTo>
                    <a:lnTo>
                      <a:pt x="229917" y="411635"/>
                    </a:lnTo>
                    <a:cubicBezTo>
                      <a:pt x="203260" y="418285"/>
                      <a:pt x="181935"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7" name="Freeform 86">
                <a:extLst>
                  <a:ext uri="{FF2B5EF4-FFF2-40B4-BE49-F238E27FC236}">
                    <a16:creationId xmlns:a16="http://schemas.microsoft.com/office/drawing/2014/main" id="{B512F63E-1423-4640-AF8D-25293E3F6D8B}"/>
                  </a:ext>
                </a:extLst>
              </p:cNvPr>
              <p:cNvSpPr/>
              <p:nvPr/>
            </p:nvSpPr>
            <p:spPr>
              <a:xfrm>
                <a:off x="11770125" y="8338865"/>
                <a:ext cx="355300" cy="443649"/>
              </a:xfrm>
              <a:custGeom>
                <a:avLst/>
                <a:gdLst>
                  <a:gd name="connsiteX0" fmla="*/ 355301 w 355300"/>
                  <a:gd name="connsiteY0" fmla="*/ 117800 h 443649"/>
                  <a:gd name="connsiteX1" fmla="*/ 133285 w 355300"/>
                  <a:gd name="connsiteY1" fmla="*/ 117800 h 443649"/>
                  <a:gd name="connsiteX2" fmla="*/ 133285 w 355300"/>
                  <a:gd name="connsiteY2" fmla="*/ 176320 h 443649"/>
                  <a:gd name="connsiteX3" fmla="*/ 314648 w 355300"/>
                  <a:gd name="connsiteY3" fmla="*/ 176320 h 443649"/>
                  <a:gd name="connsiteX4" fmla="*/ 314648 w 355300"/>
                  <a:gd name="connsiteY4" fmla="*/ 287375 h 443649"/>
                  <a:gd name="connsiteX5" fmla="*/ 133285 w 355300"/>
                  <a:gd name="connsiteY5" fmla="*/ 287375 h 443649"/>
                  <a:gd name="connsiteX6" fmla="*/ 133285 w 355300"/>
                  <a:gd name="connsiteY6" fmla="*/ 443650 h 443649"/>
                  <a:gd name="connsiteX7" fmla="*/ 0 w 355300"/>
                  <a:gd name="connsiteY7" fmla="*/ 443650 h 443649"/>
                  <a:gd name="connsiteX8" fmla="*/ 0 w 355300"/>
                  <a:gd name="connsiteY8" fmla="*/ 0 h 443649"/>
                  <a:gd name="connsiteX9" fmla="*/ 355301 w 355300"/>
                  <a:gd name="connsiteY9"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0" h="443649">
                    <a:moveTo>
                      <a:pt x="355301" y="117800"/>
                    </a:moveTo>
                    <a:lnTo>
                      <a:pt x="133285" y="117800"/>
                    </a:lnTo>
                    <a:lnTo>
                      <a:pt x="133285" y="176320"/>
                    </a:lnTo>
                    <a:lnTo>
                      <a:pt x="314648" y="176320"/>
                    </a:lnTo>
                    <a:lnTo>
                      <a:pt x="314648" y="287375"/>
                    </a:lnTo>
                    <a:lnTo>
                      <a:pt x="133285" y="287375"/>
                    </a:lnTo>
                    <a:lnTo>
                      <a:pt x="133285" y="443650"/>
                    </a:lnTo>
                    <a:lnTo>
                      <a:pt x="0" y="443650"/>
                    </a:lnTo>
                    <a:lnTo>
                      <a:pt x="0" y="0"/>
                    </a:lnTo>
                    <a:lnTo>
                      <a:pt x="355301"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8" name="Freeform 87">
                <a:extLst>
                  <a:ext uri="{FF2B5EF4-FFF2-40B4-BE49-F238E27FC236}">
                    <a16:creationId xmlns:a16="http://schemas.microsoft.com/office/drawing/2014/main" id="{A1E83390-CAEE-5C41-A80B-D62C7B46CCC8}"/>
                  </a:ext>
                </a:extLst>
              </p:cNvPr>
              <p:cNvSpPr/>
              <p:nvPr/>
            </p:nvSpPr>
            <p:spPr>
              <a:xfrm>
                <a:off x="12161413" y="8461225"/>
                <a:ext cx="334545" cy="329935"/>
              </a:xfrm>
              <a:custGeom>
                <a:avLst/>
                <a:gdLst>
                  <a:gd name="connsiteX0" fmla="*/ 334546 w 334545"/>
                  <a:gd name="connsiteY0" fmla="*/ 321290 h 329935"/>
                  <a:gd name="connsiteX1" fmla="*/ 216589 w 334545"/>
                  <a:gd name="connsiteY1" fmla="*/ 321290 h 329935"/>
                  <a:gd name="connsiteX2" fmla="*/ 216589 w 334545"/>
                  <a:gd name="connsiteY2" fmla="*/ 280060 h 329935"/>
                  <a:gd name="connsiteX3" fmla="*/ 117957 w 334545"/>
                  <a:gd name="connsiteY3" fmla="*/ 329935 h 329935"/>
                  <a:gd name="connsiteX4" fmla="*/ 27990 w 334545"/>
                  <a:gd name="connsiteY4" fmla="*/ 288705 h 329935"/>
                  <a:gd name="connsiteX5" fmla="*/ 0 w 334545"/>
                  <a:gd name="connsiteY5" fmla="*/ 188955 h 329935"/>
                  <a:gd name="connsiteX6" fmla="*/ 0 w 334545"/>
                  <a:gd name="connsiteY6" fmla="*/ 0 h 329935"/>
                  <a:gd name="connsiteX7" fmla="*/ 124622 w 334545"/>
                  <a:gd name="connsiteY7" fmla="*/ 0 h 329935"/>
                  <a:gd name="connsiteX8" fmla="*/ 124622 w 334545"/>
                  <a:gd name="connsiteY8" fmla="*/ 168910 h 329935"/>
                  <a:gd name="connsiteX9" fmla="*/ 166607 w 334545"/>
                  <a:gd name="connsiteY9" fmla="*/ 224770 h 329935"/>
                  <a:gd name="connsiteX10" fmla="*/ 209924 w 334545"/>
                  <a:gd name="connsiteY10" fmla="*/ 174895 h 329935"/>
                  <a:gd name="connsiteX11" fmla="*/ 209924 w 334545"/>
                  <a:gd name="connsiteY11" fmla="*/ 0 h 329935"/>
                  <a:gd name="connsiteX12" fmla="*/ 334546 w 334545"/>
                  <a:gd name="connsiteY12" fmla="*/ 0 h 329935"/>
                  <a:gd name="connsiteX13" fmla="*/ 334546 w 334545"/>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5" h="329935">
                    <a:moveTo>
                      <a:pt x="334546" y="321290"/>
                    </a:moveTo>
                    <a:lnTo>
                      <a:pt x="216589" y="321290"/>
                    </a:lnTo>
                    <a:lnTo>
                      <a:pt x="216589" y="280060"/>
                    </a:lnTo>
                    <a:cubicBezTo>
                      <a:pt x="188599" y="315305"/>
                      <a:pt x="159276" y="329935"/>
                      <a:pt x="117957" y="329935"/>
                    </a:cubicBezTo>
                    <a:cubicBezTo>
                      <a:pt x="81304" y="329935"/>
                      <a:pt x="49315"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9" name="Freeform 88">
                <a:extLst>
                  <a:ext uri="{FF2B5EF4-FFF2-40B4-BE49-F238E27FC236}">
                    <a16:creationId xmlns:a16="http://schemas.microsoft.com/office/drawing/2014/main" id="{251DCD6F-7D74-2E41-87AD-0BB5B99C0B55}"/>
                  </a:ext>
                </a:extLst>
              </p:cNvPr>
              <p:cNvSpPr/>
              <p:nvPr/>
            </p:nvSpPr>
            <p:spPr>
              <a:xfrm>
                <a:off x="12526519"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0" name="Freeform 89">
                <a:extLst>
                  <a:ext uri="{FF2B5EF4-FFF2-40B4-BE49-F238E27FC236}">
                    <a16:creationId xmlns:a16="http://schemas.microsoft.com/office/drawing/2014/main" id="{130C313B-7663-F141-8C46-414F1240455F}"/>
                  </a:ext>
                </a:extLst>
              </p:cNvPr>
              <p:cNvSpPr/>
              <p:nvPr/>
            </p:nvSpPr>
            <p:spPr>
              <a:xfrm>
                <a:off x="12786521"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1 w 334546"/>
                  <a:gd name="connsiteY7" fmla="*/ 0 h 329935"/>
                  <a:gd name="connsiteX8" fmla="*/ 124621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5" y="315305"/>
                      <a:pt x="27990" y="288705"/>
                    </a:cubicBezTo>
                    <a:cubicBezTo>
                      <a:pt x="7997" y="264100"/>
                      <a:pt x="0" y="235505"/>
                      <a:pt x="0" y="188955"/>
                    </a:cubicBezTo>
                    <a:lnTo>
                      <a:pt x="0" y="0"/>
                    </a:lnTo>
                    <a:lnTo>
                      <a:pt x="124621" y="0"/>
                    </a:lnTo>
                    <a:lnTo>
                      <a:pt x="124621" y="168910"/>
                    </a:lnTo>
                    <a:cubicBezTo>
                      <a:pt x="124621"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1" name="Freeform 90">
                <a:extLst>
                  <a:ext uri="{FF2B5EF4-FFF2-40B4-BE49-F238E27FC236}">
                    <a16:creationId xmlns:a16="http://schemas.microsoft.com/office/drawing/2014/main" id="{8108187E-9967-A646-A549-87F3D9865741}"/>
                  </a:ext>
                </a:extLst>
              </p:cNvPr>
              <p:cNvSpPr/>
              <p:nvPr/>
            </p:nvSpPr>
            <p:spPr>
              <a:xfrm>
                <a:off x="13174286" y="8452674"/>
                <a:ext cx="251909" cy="329840"/>
              </a:xfrm>
              <a:custGeom>
                <a:avLst/>
                <a:gdLst>
                  <a:gd name="connsiteX0" fmla="*/ 117958 w 251909"/>
                  <a:gd name="connsiteY0" fmla="*/ 8645 h 329840"/>
                  <a:gd name="connsiteX1" fmla="*/ 117958 w 251909"/>
                  <a:gd name="connsiteY1" fmla="*/ 53200 h 329840"/>
                  <a:gd name="connsiteX2" fmla="*/ 213257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6" y="0"/>
                      <a:pt x="213257" y="0"/>
                    </a:cubicBezTo>
                    <a:cubicBezTo>
                      <a:pt x="225918"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2" name="Freeform 91">
                <a:extLst>
                  <a:ext uri="{FF2B5EF4-FFF2-40B4-BE49-F238E27FC236}">
                    <a16:creationId xmlns:a16="http://schemas.microsoft.com/office/drawing/2014/main" id="{1FDB9C75-B6F7-7749-A1D2-8D414296CD4A}"/>
                  </a:ext>
                </a:extLst>
              </p:cNvPr>
              <p:cNvSpPr/>
              <p:nvPr/>
            </p:nvSpPr>
            <p:spPr>
              <a:xfrm>
                <a:off x="13454185"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1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8 w 359870"/>
                  <a:gd name="connsiteY10" fmla="*/ 132335 h 338485"/>
                  <a:gd name="connsiteX11" fmla="*/ 179268 w 359870"/>
                  <a:gd name="connsiteY11" fmla="*/ 81795 h 338485"/>
                  <a:gd name="connsiteX12" fmla="*/ 123955 w 359870"/>
                  <a:gd name="connsiteY12" fmla="*/ 132335 h 338485"/>
                  <a:gd name="connsiteX13" fmla="*/ 235248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1" y="252035"/>
                      <a:pt x="187932" y="252035"/>
                    </a:cubicBezTo>
                    <a:cubicBezTo>
                      <a:pt x="209258" y="252035"/>
                      <a:pt x="223919" y="245385"/>
                      <a:pt x="233249" y="230755"/>
                    </a:cubicBezTo>
                    <a:lnTo>
                      <a:pt x="354539" y="230755"/>
                    </a:lnTo>
                    <a:cubicBezTo>
                      <a:pt x="339878" y="293265"/>
                      <a:pt x="267903"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3" name="Freeform 92">
                <a:extLst>
                  <a:ext uri="{FF2B5EF4-FFF2-40B4-BE49-F238E27FC236}">
                    <a16:creationId xmlns:a16="http://schemas.microsoft.com/office/drawing/2014/main" id="{3DEBE49C-AC5B-3D4B-AEBD-C0B58C5F9586}"/>
                  </a:ext>
                </a:extLst>
              </p:cNvPr>
              <p:cNvSpPr/>
              <p:nvPr/>
            </p:nvSpPr>
            <p:spPr>
              <a:xfrm>
                <a:off x="13846043" y="8452674"/>
                <a:ext cx="329214" cy="338485"/>
              </a:xfrm>
              <a:custGeom>
                <a:avLst/>
                <a:gdLst>
                  <a:gd name="connsiteX0" fmla="*/ 201927 w 329214"/>
                  <a:gd name="connsiteY0" fmla="*/ 103075 h 338485"/>
                  <a:gd name="connsiteX1" fmla="*/ 161275 w 329214"/>
                  <a:gd name="connsiteY1" fmla="*/ 73150 h 338485"/>
                  <a:gd name="connsiteX2" fmla="*/ 128620 w 329214"/>
                  <a:gd name="connsiteY2" fmla="*/ 91105 h 338485"/>
                  <a:gd name="connsiteX3" fmla="*/ 159942 w 329214"/>
                  <a:gd name="connsiteY3" fmla="*/ 113050 h 338485"/>
                  <a:gd name="connsiteX4" fmla="*/ 217255 w 329214"/>
                  <a:gd name="connsiteY4" fmla="*/ 124355 h 338485"/>
                  <a:gd name="connsiteX5" fmla="*/ 296560 w 329214"/>
                  <a:gd name="connsiteY5" fmla="*/ 154280 h 338485"/>
                  <a:gd name="connsiteX6" fmla="*/ 329215 w 329214"/>
                  <a:gd name="connsiteY6" fmla="*/ 225435 h 338485"/>
                  <a:gd name="connsiteX7" fmla="*/ 164608 w 329214"/>
                  <a:gd name="connsiteY7" fmla="*/ 338485 h 338485"/>
                  <a:gd name="connsiteX8" fmla="*/ 29989 w 329214"/>
                  <a:gd name="connsiteY8" fmla="*/ 292600 h 338485"/>
                  <a:gd name="connsiteX9" fmla="*/ 0 w 329214"/>
                  <a:gd name="connsiteY9" fmla="*/ 220115 h 338485"/>
                  <a:gd name="connsiteX10" fmla="*/ 119291 w 329214"/>
                  <a:gd name="connsiteY10" fmla="*/ 220115 h 338485"/>
                  <a:gd name="connsiteX11" fmla="*/ 167273 w 329214"/>
                  <a:gd name="connsiteY11" fmla="*/ 258685 h 338485"/>
                  <a:gd name="connsiteX12" fmla="*/ 204593 w 329214"/>
                  <a:gd name="connsiteY12" fmla="*/ 235410 h 338485"/>
                  <a:gd name="connsiteX13" fmla="*/ 175271 w 329214"/>
                  <a:gd name="connsiteY13" fmla="*/ 213465 h 338485"/>
                  <a:gd name="connsiteX14" fmla="*/ 102630 w 329214"/>
                  <a:gd name="connsiteY14" fmla="*/ 196840 h 338485"/>
                  <a:gd name="connsiteX15" fmla="*/ 6664 w 329214"/>
                  <a:gd name="connsiteY15" fmla="*/ 103075 h 338485"/>
                  <a:gd name="connsiteX16" fmla="*/ 165940 w 329214"/>
                  <a:gd name="connsiteY16" fmla="*/ 0 h 338485"/>
                  <a:gd name="connsiteX17" fmla="*/ 317886 w 329214"/>
                  <a:gd name="connsiteY17" fmla="*/ 103075 h 338485"/>
                  <a:gd name="connsiteX18" fmla="*/ 201927 w 329214"/>
                  <a:gd name="connsiteY18" fmla="*/ 10307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5">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4" name="Freeform 93">
                <a:extLst>
                  <a:ext uri="{FF2B5EF4-FFF2-40B4-BE49-F238E27FC236}">
                    <a16:creationId xmlns:a16="http://schemas.microsoft.com/office/drawing/2014/main" id="{FB817338-5E1C-504F-A437-39DA2ED72C5E}"/>
                  </a:ext>
                </a:extLst>
              </p:cNvPr>
              <p:cNvSpPr/>
              <p:nvPr/>
            </p:nvSpPr>
            <p:spPr>
              <a:xfrm>
                <a:off x="14227240" y="8654170"/>
                <a:ext cx="128620" cy="128345"/>
              </a:xfrm>
              <a:custGeom>
                <a:avLst/>
                <a:gdLst>
                  <a:gd name="connsiteX0" fmla="*/ 0 w 128620"/>
                  <a:gd name="connsiteY0" fmla="*/ 0 h 128345"/>
                  <a:gd name="connsiteX1" fmla="*/ 128621 w 128620"/>
                  <a:gd name="connsiteY1" fmla="*/ 0 h 128345"/>
                  <a:gd name="connsiteX2" fmla="*/ 128621 w 128620"/>
                  <a:gd name="connsiteY2" fmla="*/ 128345 h 128345"/>
                  <a:gd name="connsiteX3" fmla="*/ 0 w 128620"/>
                  <a:gd name="connsiteY3" fmla="*/ 128345 h 128345"/>
                </a:gdLst>
                <a:ahLst/>
                <a:cxnLst>
                  <a:cxn ang="0">
                    <a:pos x="connsiteX0" y="connsiteY0"/>
                  </a:cxn>
                  <a:cxn ang="0">
                    <a:pos x="connsiteX1" y="connsiteY1"/>
                  </a:cxn>
                  <a:cxn ang="0">
                    <a:pos x="connsiteX2" y="connsiteY2"/>
                  </a:cxn>
                  <a:cxn ang="0">
                    <a:pos x="connsiteX3" y="connsiteY3"/>
                  </a:cxn>
                </a:cxnLst>
                <a:rect l="l" t="t" r="r" b="b"/>
                <a:pathLst>
                  <a:path w="128620" h="128345">
                    <a:moveTo>
                      <a:pt x="0" y="0"/>
                    </a:moveTo>
                    <a:lnTo>
                      <a:pt x="128621" y="0"/>
                    </a:lnTo>
                    <a:lnTo>
                      <a:pt x="128621" y="128345"/>
                    </a:lnTo>
                    <a:lnTo>
                      <a:pt x="0" y="1283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grpSp>
        <p:nvGrpSpPr>
          <p:cNvPr id="112" name="Group 111">
            <a:extLst>
              <a:ext uri="{FF2B5EF4-FFF2-40B4-BE49-F238E27FC236}">
                <a16:creationId xmlns:a16="http://schemas.microsoft.com/office/drawing/2014/main" id="{07D2DBF0-37E1-9B4A-A1E0-87FE407275BA}"/>
              </a:ext>
            </a:extLst>
          </p:cNvPr>
          <p:cNvGrpSpPr/>
          <p:nvPr userDrawn="1"/>
        </p:nvGrpSpPr>
        <p:grpSpPr>
          <a:xfrm>
            <a:off x="363881" y="6093628"/>
            <a:ext cx="2219130" cy="482140"/>
            <a:chOff x="363881" y="6093628"/>
            <a:chExt cx="2219130" cy="482140"/>
          </a:xfrm>
        </p:grpSpPr>
        <p:sp>
          <p:nvSpPr>
            <p:cNvPr id="113" name="Freeform 112">
              <a:extLst>
                <a:ext uri="{FF2B5EF4-FFF2-40B4-BE49-F238E27FC236}">
                  <a16:creationId xmlns:a16="http://schemas.microsoft.com/office/drawing/2014/main" id="{A89156B3-A94D-954B-8D28-B062E4C3FFE9}"/>
                </a:ext>
              </a:extLst>
            </p:cNvPr>
            <p:cNvSpPr/>
            <p:nvPr/>
          </p:nvSpPr>
          <p:spPr>
            <a:xfrm>
              <a:off x="363881" y="6093628"/>
              <a:ext cx="795126" cy="482140"/>
            </a:xfrm>
            <a:custGeom>
              <a:avLst/>
              <a:gdLst>
                <a:gd name="connsiteX0" fmla="*/ 1746694 w 1796129"/>
                <a:gd name="connsiteY0" fmla="*/ 497649 h 1089118"/>
                <a:gd name="connsiteX1" fmla="*/ 1253966 w 1796129"/>
                <a:gd name="connsiteY1" fmla="*/ 998759 h 1089118"/>
                <a:gd name="connsiteX2" fmla="*/ 1254443 w 1796129"/>
                <a:gd name="connsiteY2" fmla="*/ 999235 h 1089118"/>
                <a:gd name="connsiteX3" fmla="*/ 1227392 w 1796129"/>
                <a:gd name="connsiteY3" fmla="*/ 1015809 h 1089118"/>
                <a:gd name="connsiteX4" fmla="*/ 1187482 w 1796129"/>
                <a:gd name="connsiteY4" fmla="*/ 1023047 h 1089118"/>
                <a:gd name="connsiteX5" fmla="*/ 1147477 w 1796129"/>
                <a:gd name="connsiteY5" fmla="*/ 1015809 h 1089118"/>
                <a:gd name="connsiteX6" fmla="*/ 1120426 w 1796129"/>
                <a:gd name="connsiteY6" fmla="*/ 999235 h 1089118"/>
                <a:gd name="connsiteX7" fmla="*/ 1120902 w 1796129"/>
                <a:gd name="connsiteY7" fmla="*/ 998759 h 1089118"/>
                <a:gd name="connsiteX8" fmla="*/ 575120 w 1796129"/>
                <a:gd name="connsiteY8" fmla="*/ 447166 h 1089118"/>
                <a:gd name="connsiteX9" fmla="*/ 597408 w 1796129"/>
                <a:gd name="connsiteY9" fmla="*/ 424687 h 1089118"/>
                <a:gd name="connsiteX10" fmla="*/ 596932 w 1796129"/>
                <a:gd name="connsiteY10" fmla="*/ 424211 h 1089118"/>
                <a:gd name="connsiteX11" fmla="*/ 663607 w 1796129"/>
                <a:gd name="connsiteY11" fmla="*/ 389921 h 1089118"/>
                <a:gd name="connsiteX12" fmla="*/ 701897 w 1796129"/>
                <a:gd name="connsiteY12" fmla="*/ 400017 h 1089118"/>
                <a:gd name="connsiteX13" fmla="*/ 701612 w 1796129"/>
                <a:gd name="connsiteY13" fmla="*/ 400303 h 1089118"/>
                <a:gd name="connsiteX14" fmla="*/ 1027462 w 1796129"/>
                <a:gd name="connsiteY14" fmla="*/ 729963 h 1089118"/>
                <a:gd name="connsiteX15" fmla="*/ 1029081 w 1796129"/>
                <a:gd name="connsiteY15" fmla="*/ 728344 h 1089118"/>
                <a:gd name="connsiteX16" fmla="*/ 1130237 w 1796129"/>
                <a:gd name="connsiteY16" fmla="*/ 771778 h 1089118"/>
                <a:gd name="connsiteX17" fmla="*/ 1248632 w 1796129"/>
                <a:gd name="connsiteY17" fmla="*/ 713866 h 1089118"/>
                <a:gd name="connsiteX18" fmla="*/ 1608296 w 1796129"/>
                <a:gd name="connsiteY18" fmla="*/ 354012 h 1089118"/>
                <a:gd name="connsiteX19" fmla="*/ 1310735 w 1796129"/>
                <a:gd name="connsiteY19" fmla="*/ 40925 h 1089118"/>
                <a:gd name="connsiteX20" fmla="*/ 1207675 w 1796129"/>
                <a:gd name="connsiteY20" fmla="*/ 158 h 1089118"/>
                <a:gd name="connsiteX21" fmla="*/ 1098899 w 1796129"/>
                <a:gd name="connsiteY21" fmla="*/ 23589 h 1089118"/>
                <a:gd name="connsiteX22" fmla="*/ 1015270 w 1796129"/>
                <a:gd name="connsiteY22" fmla="*/ 158 h 1089118"/>
                <a:gd name="connsiteX23" fmla="*/ 906399 w 1796129"/>
                <a:gd name="connsiteY23" fmla="*/ 23589 h 1089118"/>
                <a:gd name="connsiteX24" fmla="*/ 822770 w 1796129"/>
                <a:gd name="connsiteY24" fmla="*/ 158 h 1089118"/>
                <a:gd name="connsiteX25" fmla="*/ 709613 w 1796129"/>
                <a:gd name="connsiteY25" fmla="*/ 26352 h 1089118"/>
                <a:gd name="connsiteX26" fmla="*/ 622078 w 1796129"/>
                <a:gd name="connsiteY26" fmla="*/ 158 h 1089118"/>
                <a:gd name="connsiteX27" fmla="*/ 608743 w 1796129"/>
                <a:gd name="connsiteY27" fmla="*/ 63 h 1089118"/>
                <a:gd name="connsiteX28" fmla="*/ 595408 w 1796129"/>
                <a:gd name="connsiteY28" fmla="*/ 158 h 1089118"/>
                <a:gd name="connsiteX29" fmla="*/ 492347 w 1796129"/>
                <a:gd name="connsiteY29" fmla="*/ 40925 h 1089118"/>
                <a:gd name="connsiteX30" fmla="*/ 0 w 1796129"/>
                <a:gd name="connsiteY30" fmla="*/ 541654 h 1089118"/>
                <a:gd name="connsiteX31" fmla="*/ 49530 w 1796129"/>
                <a:gd name="connsiteY31" fmla="*/ 591470 h 1089118"/>
                <a:gd name="connsiteX32" fmla="*/ 542258 w 1796129"/>
                <a:gd name="connsiteY32" fmla="*/ 90360 h 1089118"/>
                <a:gd name="connsiteX33" fmla="*/ 541782 w 1796129"/>
                <a:gd name="connsiteY33" fmla="*/ 89883 h 1089118"/>
                <a:gd name="connsiteX34" fmla="*/ 568833 w 1796129"/>
                <a:gd name="connsiteY34" fmla="*/ 73310 h 1089118"/>
                <a:gd name="connsiteX35" fmla="*/ 608838 w 1796129"/>
                <a:gd name="connsiteY35" fmla="*/ 66071 h 1089118"/>
                <a:gd name="connsiteX36" fmla="*/ 648748 w 1796129"/>
                <a:gd name="connsiteY36" fmla="*/ 73310 h 1089118"/>
                <a:gd name="connsiteX37" fmla="*/ 675799 w 1796129"/>
                <a:gd name="connsiteY37" fmla="*/ 89883 h 1089118"/>
                <a:gd name="connsiteX38" fmla="*/ 675323 w 1796129"/>
                <a:gd name="connsiteY38" fmla="*/ 90360 h 1089118"/>
                <a:gd name="connsiteX39" fmla="*/ 1221105 w 1796129"/>
                <a:gd name="connsiteY39" fmla="*/ 641952 h 1089118"/>
                <a:gd name="connsiteX40" fmla="*/ 1198817 w 1796129"/>
                <a:gd name="connsiteY40" fmla="*/ 664431 h 1089118"/>
                <a:gd name="connsiteX41" fmla="*/ 1199293 w 1796129"/>
                <a:gd name="connsiteY41" fmla="*/ 664908 h 1089118"/>
                <a:gd name="connsiteX42" fmla="*/ 1132618 w 1796129"/>
                <a:gd name="connsiteY42" fmla="*/ 699198 h 1089118"/>
                <a:gd name="connsiteX43" fmla="*/ 1065371 w 1796129"/>
                <a:gd name="connsiteY43" fmla="*/ 664908 h 1089118"/>
                <a:gd name="connsiteX44" fmla="*/ 1065848 w 1796129"/>
                <a:gd name="connsiteY44" fmla="*/ 664431 h 1089118"/>
                <a:gd name="connsiteX45" fmla="*/ 780479 w 1796129"/>
                <a:gd name="connsiteY45" fmla="*/ 375252 h 1089118"/>
                <a:gd name="connsiteX46" fmla="*/ 666083 w 1796129"/>
                <a:gd name="connsiteY46" fmla="*/ 317340 h 1089118"/>
                <a:gd name="connsiteX47" fmla="*/ 547688 w 1796129"/>
                <a:gd name="connsiteY47" fmla="*/ 375252 h 1089118"/>
                <a:gd name="connsiteX48" fmla="*/ 188024 w 1796129"/>
                <a:gd name="connsiteY48" fmla="*/ 735107 h 1089118"/>
                <a:gd name="connsiteX49" fmla="*/ 485489 w 1796129"/>
                <a:gd name="connsiteY49" fmla="*/ 1048194 h 1089118"/>
                <a:gd name="connsiteX50" fmla="*/ 588550 w 1796129"/>
                <a:gd name="connsiteY50" fmla="*/ 1088961 h 1089118"/>
                <a:gd name="connsiteX51" fmla="*/ 697325 w 1796129"/>
                <a:gd name="connsiteY51" fmla="*/ 1065529 h 1089118"/>
                <a:gd name="connsiteX52" fmla="*/ 780955 w 1796129"/>
                <a:gd name="connsiteY52" fmla="*/ 1088961 h 1089118"/>
                <a:gd name="connsiteX53" fmla="*/ 889730 w 1796129"/>
                <a:gd name="connsiteY53" fmla="*/ 1065529 h 1089118"/>
                <a:gd name="connsiteX54" fmla="*/ 973360 w 1796129"/>
                <a:gd name="connsiteY54" fmla="*/ 1088961 h 1089118"/>
                <a:gd name="connsiteX55" fmla="*/ 1086517 w 1796129"/>
                <a:gd name="connsiteY55" fmla="*/ 1062767 h 1089118"/>
                <a:gd name="connsiteX56" fmla="*/ 1174052 w 1796129"/>
                <a:gd name="connsiteY56" fmla="*/ 1088961 h 1089118"/>
                <a:gd name="connsiteX57" fmla="*/ 1187387 w 1796129"/>
                <a:gd name="connsiteY57" fmla="*/ 1089056 h 1089118"/>
                <a:gd name="connsiteX58" fmla="*/ 1200722 w 1796129"/>
                <a:gd name="connsiteY58" fmla="*/ 1088961 h 1089118"/>
                <a:gd name="connsiteX59" fmla="*/ 1303782 w 1796129"/>
                <a:gd name="connsiteY59" fmla="*/ 1048194 h 1089118"/>
                <a:gd name="connsiteX60" fmla="*/ 1796129 w 1796129"/>
                <a:gd name="connsiteY60" fmla="*/ 547464 h 1089118"/>
                <a:gd name="connsiteX61" fmla="*/ 1746694 w 1796129"/>
                <a:gd name="connsiteY61" fmla="*/ 497649 h 1089118"/>
                <a:gd name="connsiteX62" fmla="*/ 1204627 w 1796129"/>
                <a:gd name="connsiteY62" fmla="*/ 66357 h 1089118"/>
                <a:gd name="connsiteX63" fmla="*/ 1261301 w 1796129"/>
                <a:gd name="connsiteY63" fmla="*/ 89883 h 1089118"/>
                <a:gd name="connsiteX64" fmla="*/ 1260824 w 1796129"/>
                <a:gd name="connsiteY64" fmla="*/ 90360 h 1089118"/>
                <a:gd name="connsiteX65" fmla="*/ 1317879 w 1796129"/>
                <a:gd name="connsiteY65" fmla="*/ 147795 h 1089118"/>
                <a:gd name="connsiteX66" fmla="*/ 1325975 w 1796129"/>
                <a:gd name="connsiteY66" fmla="*/ 155987 h 1089118"/>
                <a:gd name="connsiteX67" fmla="*/ 1514189 w 1796129"/>
                <a:gd name="connsiteY67" fmla="*/ 345725 h 1089118"/>
                <a:gd name="connsiteX68" fmla="*/ 1467517 w 1796129"/>
                <a:gd name="connsiteY68" fmla="*/ 392874 h 1089118"/>
                <a:gd name="connsiteX69" fmla="*/ 1151477 w 1796129"/>
                <a:gd name="connsiteY69" fmla="*/ 74358 h 1089118"/>
                <a:gd name="connsiteX70" fmla="*/ 1204627 w 1796129"/>
                <a:gd name="connsiteY70" fmla="*/ 66357 h 1089118"/>
                <a:gd name="connsiteX71" fmla="*/ 1012127 w 1796129"/>
                <a:gd name="connsiteY71" fmla="*/ 66357 h 1089118"/>
                <a:gd name="connsiteX72" fmla="*/ 1068800 w 1796129"/>
                <a:gd name="connsiteY72" fmla="*/ 89883 h 1089118"/>
                <a:gd name="connsiteX73" fmla="*/ 1068324 w 1796129"/>
                <a:gd name="connsiteY73" fmla="*/ 90360 h 1089118"/>
                <a:gd name="connsiteX74" fmla="*/ 1125379 w 1796129"/>
                <a:gd name="connsiteY74" fmla="*/ 147795 h 1089118"/>
                <a:gd name="connsiteX75" fmla="*/ 1133475 w 1796129"/>
                <a:gd name="connsiteY75" fmla="*/ 155987 h 1089118"/>
                <a:gd name="connsiteX76" fmla="*/ 1418082 w 1796129"/>
                <a:gd name="connsiteY76" fmla="*/ 442880 h 1089118"/>
                <a:gd name="connsiteX77" fmla="*/ 1371410 w 1796129"/>
                <a:gd name="connsiteY77" fmla="*/ 490029 h 1089118"/>
                <a:gd name="connsiteX78" fmla="*/ 958977 w 1796129"/>
                <a:gd name="connsiteY78" fmla="*/ 74358 h 1089118"/>
                <a:gd name="connsiteX79" fmla="*/ 1012127 w 1796129"/>
                <a:gd name="connsiteY79" fmla="*/ 66357 h 1089118"/>
                <a:gd name="connsiteX80" fmla="*/ 760667 w 1796129"/>
                <a:gd name="connsiteY80" fmla="*/ 76834 h 1089118"/>
                <a:gd name="connsiteX81" fmla="*/ 819722 w 1796129"/>
                <a:gd name="connsiteY81" fmla="*/ 66357 h 1089118"/>
                <a:gd name="connsiteX82" fmla="*/ 876395 w 1796129"/>
                <a:gd name="connsiteY82" fmla="*/ 89883 h 1089118"/>
                <a:gd name="connsiteX83" fmla="*/ 875919 w 1796129"/>
                <a:gd name="connsiteY83" fmla="*/ 90360 h 1089118"/>
                <a:gd name="connsiteX84" fmla="*/ 932974 w 1796129"/>
                <a:gd name="connsiteY84" fmla="*/ 147795 h 1089118"/>
                <a:gd name="connsiteX85" fmla="*/ 941070 w 1796129"/>
                <a:gd name="connsiteY85" fmla="*/ 155987 h 1089118"/>
                <a:gd name="connsiteX86" fmla="*/ 1322070 w 1796129"/>
                <a:gd name="connsiteY86" fmla="*/ 539940 h 1089118"/>
                <a:gd name="connsiteX87" fmla="*/ 1270540 w 1796129"/>
                <a:gd name="connsiteY87" fmla="*/ 591946 h 1089118"/>
                <a:gd name="connsiteX88" fmla="*/ 760667 w 1796129"/>
                <a:gd name="connsiteY88" fmla="*/ 76834 h 1089118"/>
                <a:gd name="connsiteX89" fmla="*/ 591598 w 1796129"/>
                <a:gd name="connsiteY89" fmla="*/ 1022762 h 1089118"/>
                <a:gd name="connsiteX90" fmla="*/ 534924 w 1796129"/>
                <a:gd name="connsiteY90" fmla="*/ 999235 h 1089118"/>
                <a:gd name="connsiteX91" fmla="*/ 535400 w 1796129"/>
                <a:gd name="connsiteY91" fmla="*/ 998759 h 1089118"/>
                <a:gd name="connsiteX92" fmla="*/ 478346 w 1796129"/>
                <a:gd name="connsiteY92" fmla="*/ 941323 h 1089118"/>
                <a:gd name="connsiteX93" fmla="*/ 470249 w 1796129"/>
                <a:gd name="connsiteY93" fmla="*/ 933132 h 1089118"/>
                <a:gd name="connsiteX94" fmla="*/ 282035 w 1796129"/>
                <a:gd name="connsiteY94" fmla="*/ 743394 h 1089118"/>
                <a:gd name="connsiteX95" fmla="*/ 328708 w 1796129"/>
                <a:gd name="connsiteY95" fmla="*/ 696245 h 1089118"/>
                <a:gd name="connsiteX96" fmla="*/ 644747 w 1796129"/>
                <a:gd name="connsiteY96" fmla="*/ 1014761 h 1089118"/>
                <a:gd name="connsiteX97" fmla="*/ 591598 w 1796129"/>
                <a:gd name="connsiteY97" fmla="*/ 1022762 h 1089118"/>
                <a:gd name="connsiteX98" fmla="*/ 784098 w 1796129"/>
                <a:gd name="connsiteY98" fmla="*/ 1022762 h 1089118"/>
                <a:gd name="connsiteX99" fmla="*/ 727424 w 1796129"/>
                <a:gd name="connsiteY99" fmla="*/ 999235 h 1089118"/>
                <a:gd name="connsiteX100" fmla="*/ 727901 w 1796129"/>
                <a:gd name="connsiteY100" fmla="*/ 998759 h 1089118"/>
                <a:gd name="connsiteX101" fmla="*/ 670846 w 1796129"/>
                <a:gd name="connsiteY101" fmla="*/ 941323 h 1089118"/>
                <a:gd name="connsiteX102" fmla="*/ 662750 w 1796129"/>
                <a:gd name="connsiteY102" fmla="*/ 933132 h 1089118"/>
                <a:gd name="connsiteX103" fmla="*/ 378143 w 1796129"/>
                <a:gd name="connsiteY103" fmla="*/ 646239 h 1089118"/>
                <a:gd name="connsiteX104" fmla="*/ 424815 w 1796129"/>
                <a:gd name="connsiteY104" fmla="*/ 599090 h 1089118"/>
                <a:gd name="connsiteX105" fmla="*/ 837248 w 1796129"/>
                <a:gd name="connsiteY105" fmla="*/ 1014761 h 1089118"/>
                <a:gd name="connsiteX106" fmla="*/ 784098 w 1796129"/>
                <a:gd name="connsiteY106" fmla="*/ 1022762 h 1089118"/>
                <a:gd name="connsiteX107" fmla="*/ 976503 w 1796129"/>
                <a:gd name="connsiteY107" fmla="*/ 1022762 h 1089118"/>
                <a:gd name="connsiteX108" fmla="*/ 919829 w 1796129"/>
                <a:gd name="connsiteY108" fmla="*/ 999235 h 1089118"/>
                <a:gd name="connsiteX109" fmla="*/ 920306 w 1796129"/>
                <a:gd name="connsiteY109" fmla="*/ 998759 h 1089118"/>
                <a:gd name="connsiteX110" fmla="*/ 863251 w 1796129"/>
                <a:gd name="connsiteY110" fmla="*/ 941323 h 1089118"/>
                <a:gd name="connsiteX111" fmla="*/ 855155 w 1796129"/>
                <a:gd name="connsiteY111" fmla="*/ 933132 h 1089118"/>
                <a:gd name="connsiteX112" fmla="*/ 474155 w 1796129"/>
                <a:gd name="connsiteY112" fmla="*/ 549179 h 1089118"/>
                <a:gd name="connsiteX113" fmla="*/ 525685 w 1796129"/>
                <a:gd name="connsiteY113" fmla="*/ 497077 h 1089118"/>
                <a:gd name="connsiteX114" fmla="*/ 1035558 w 1796129"/>
                <a:gd name="connsiteY114" fmla="*/ 1012380 h 1089118"/>
                <a:gd name="connsiteX115" fmla="*/ 976503 w 1796129"/>
                <a:gd name="connsiteY115" fmla="*/ 1022762 h 10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796129" h="1089118">
                  <a:moveTo>
                    <a:pt x="1746694" y="497649"/>
                  </a:moveTo>
                  <a:lnTo>
                    <a:pt x="1253966" y="998759"/>
                  </a:lnTo>
                  <a:lnTo>
                    <a:pt x="1254443" y="999235"/>
                  </a:lnTo>
                  <a:cubicBezTo>
                    <a:pt x="1246251" y="1006188"/>
                    <a:pt x="1237202" y="1011808"/>
                    <a:pt x="1227392" y="1015809"/>
                  </a:cubicBezTo>
                  <a:cubicBezTo>
                    <a:pt x="1214438" y="1020380"/>
                    <a:pt x="1200817" y="1022857"/>
                    <a:pt x="1187482" y="1023047"/>
                  </a:cubicBezTo>
                  <a:cubicBezTo>
                    <a:pt x="1174052" y="1022857"/>
                    <a:pt x="1160431" y="1020380"/>
                    <a:pt x="1147477" y="1015809"/>
                  </a:cubicBezTo>
                  <a:cubicBezTo>
                    <a:pt x="1137666" y="1011808"/>
                    <a:pt x="1128617" y="1006188"/>
                    <a:pt x="1120426" y="999235"/>
                  </a:cubicBezTo>
                  <a:lnTo>
                    <a:pt x="1120902" y="998759"/>
                  </a:lnTo>
                  <a:lnTo>
                    <a:pt x="575120" y="447166"/>
                  </a:lnTo>
                  <a:lnTo>
                    <a:pt x="597408" y="424687"/>
                  </a:lnTo>
                  <a:lnTo>
                    <a:pt x="596932" y="424211"/>
                  </a:lnTo>
                  <a:cubicBezTo>
                    <a:pt x="605123" y="417258"/>
                    <a:pt x="632365" y="389159"/>
                    <a:pt x="663607" y="389921"/>
                  </a:cubicBezTo>
                  <a:cubicBezTo>
                    <a:pt x="678847" y="389254"/>
                    <a:pt x="691610" y="393921"/>
                    <a:pt x="701897" y="400017"/>
                  </a:cubicBezTo>
                  <a:lnTo>
                    <a:pt x="701612" y="400303"/>
                  </a:lnTo>
                  <a:lnTo>
                    <a:pt x="1027462" y="729963"/>
                  </a:lnTo>
                  <a:lnTo>
                    <a:pt x="1029081" y="728344"/>
                  </a:lnTo>
                  <a:cubicBezTo>
                    <a:pt x="1050417" y="749775"/>
                    <a:pt x="1081850" y="771778"/>
                    <a:pt x="1130237" y="771778"/>
                  </a:cubicBezTo>
                  <a:cubicBezTo>
                    <a:pt x="1176052" y="771778"/>
                    <a:pt x="1227773" y="738441"/>
                    <a:pt x="1248632" y="713866"/>
                  </a:cubicBezTo>
                  <a:lnTo>
                    <a:pt x="1608296" y="354012"/>
                  </a:lnTo>
                  <a:lnTo>
                    <a:pt x="1310735" y="40925"/>
                  </a:lnTo>
                  <a:cubicBezTo>
                    <a:pt x="1289780" y="16350"/>
                    <a:pt x="1255395" y="1872"/>
                    <a:pt x="1207675" y="158"/>
                  </a:cubicBezTo>
                  <a:cubicBezTo>
                    <a:pt x="1173671" y="-1080"/>
                    <a:pt x="1129570" y="4825"/>
                    <a:pt x="1098899" y="23589"/>
                  </a:cubicBezTo>
                  <a:cubicBezTo>
                    <a:pt x="1078230" y="9588"/>
                    <a:pt x="1050417" y="1396"/>
                    <a:pt x="1015270" y="158"/>
                  </a:cubicBezTo>
                  <a:cubicBezTo>
                    <a:pt x="981266" y="-1080"/>
                    <a:pt x="937165" y="4825"/>
                    <a:pt x="906399" y="23589"/>
                  </a:cubicBezTo>
                  <a:cubicBezTo>
                    <a:pt x="885730" y="9588"/>
                    <a:pt x="857917" y="1396"/>
                    <a:pt x="822770" y="158"/>
                  </a:cubicBezTo>
                  <a:cubicBezTo>
                    <a:pt x="787146" y="-1080"/>
                    <a:pt x="740378" y="5397"/>
                    <a:pt x="709613" y="26352"/>
                  </a:cubicBezTo>
                  <a:cubicBezTo>
                    <a:pt x="688658" y="10635"/>
                    <a:pt x="659511" y="1491"/>
                    <a:pt x="622078" y="158"/>
                  </a:cubicBezTo>
                  <a:cubicBezTo>
                    <a:pt x="617792" y="-33"/>
                    <a:pt x="613315" y="-33"/>
                    <a:pt x="608743" y="63"/>
                  </a:cubicBezTo>
                  <a:cubicBezTo>
                    <a:pt x="604171" y="-33"/>
                    <a:pt x="599694" y="63"/>
                    <a:pt x="595408" y="158"/>
                  </a:cubicBezTo>
                  <a:cubicBezTo>
                    <a:pt x="547688" y="1872"/>
                    <a:pt x="513207" y="16350"/>
                    <a:pt x="492347" y="40925"/>
                  </a:cubicBezTo>
                  <a:lnTo>
                    <a:pt x="0" y="541654"/>
                  </a:lnTo>
                  <a:lnTo>
                    <a:pt x="49530" y="591470"/>
                  </a:lnTo>
                  <a:lnTo>
                    <a:pt x="542258" y="90360"/>
                  </a:lnTo>
                  <a:lnTo>
                    <a:pt x="541782" y="89883"/>
                  </a:lnTo>
                  <a:cubicBezTo>
                    <a:pt x="549878" y="82930"/>
                    <a:pt x="559022" y="77310"/>
                    <a:pt x="568833" y="73310"/>
                  </a:cubicBezTo>
                  <a:cubicBezTo>
                    <a:pt x="581787" y="68738"/>
                    <a:pt x="595408" y="66261"/>
                    <a:pt x="608838" y="66071"/>
                  </a:cubicBezTo>
                  <a:cubicBezTo>
                    <a:pt x="622268" y="66261"/>
                    <a:pt x="635889" y="68738"/>
                    <a:pt x="648748" y="73310"/>
                  </a:cubicBezTo>
                  <a:cubicBezTo>
                    <a:pt x="658559" y="77310"/>
                    <a:pt x="667607" y="82930"/>
                    <a:pt x="675799" y="89883"/>
                  </a:cubicBezTo>
                  <a:lnTo>
                    <a:pt x="675323" y="90360"/>
                  </a:lnTo>
                  <a:lnTo>
                    <a:pt x="1221105" y="641952"/>
                  </a:lnTo>
                  <a:lnTo>
                    <a:pt x="1198817" y="664431"/>
                  </a:lnTo>
                  <a:lnTo>
                    <a:pt x="1199293" y="664908"/>
                  </a:lnTo>
                  <a:cubicBezTo>
                    <a:pt x="1191197" y="671861"/>
                    <a:pt x="1163955" y="699960"/>
                    <a:pt x="1132618" y="699198"/>
                  </a:cubicBezTo>
                  <a:cubicBezTo>
                    <a:pt x="1095947" y="700722"/>
                    <a:pt x="1073468" y="671861"/>
                    <a:pt x="1065371" y="664908"/>
                  </a:cubicBezTo>
                  <a:lnTo>
                    <a:pt x="1065848" y="664431"/>
                  </a:lnTo>
                  <a:lnTo>
                    <a:pt x="780479" y="375252"/>
                  </a:lnTo>
                  <a:cubicBezTo>
                    <a:pt x="759619" y="350678"/>
                    <a:pt x="725615" y="317340"/>
                    <a:pt x="666083" y="317340"/>
                  </a:cubicBezTo>
                  <a:cubicBezTo>
                    <a:pt x="620268" y="317340"/>
                    <a:pt x="568547" y="350678"/>
                    <a:pt x="547688" y="375252"/>
                  </a:cubicBezTo>
                  <a:lnTo>
                    <a:pt x="188024" y="735107"/>
                  </a:lnTo>
                  <a:lnTo>
                    <a:pt x="485489" y="1048194"/>
                  </a:lnTo>
                  <a:cubicBezTo>
                    <a:pt x="506444" y="1072768"/>
                    <a:pt x="540830" y="1087246"/>
                    <a:pt x="588550" y="1088961"/>
                  </a:cubicBezTo>
                  <a:cubicBezTo>
                    <a:pt x="622554" y="1090199"/>
                    <a:pt x="666655" y="1084293"/>
                    <a:pt x="697325" y="1065529"/>
                  </a:cubicBezTo>
                  <a:cubicBezTo>
                    <a:pt x="717995" y="1079531"/>
                    <a:pt x="745808" y="1087722"/>
                    <a:pt x="780955" y="1088961"/>
                  </a:cubicBezTo>
                  <a:cubicBezTo>
                    <a:pt x="814959" y="1090199"/>
                    <a:pt x="859060" y="1084293"/>
                    <a:pt x="889730" y="1065529"/>
                  </a:cubicBezTo>
                  <a:cubicBezTo>
                    <a:pt x="910400" y="1079531"/>
                    <a:pt x="938213" y="1087722"/>
                    <a:pt x="973360" y="1088961"/>
                  </a:cubicBezTo>
                  <a:cubicBezTo>
                    <a:pt x="1008983" y="1090199"/>
                    <a:pt x="1055751" y="1083722"/>
                    <a:pt x="1086517" y="1062767"/>
                  </a:cubicBezTo>
                  <a:cubicBezTo>
                    <a:pt x="1107472" y="1078483"/>
                    <a:pt x="1136618" y="1087627"/>
                    <a:pt x="1174052" y="1088961"/>
                  </a:cubicBezTo>
                  <a:cubicBezTo>
                    <a:pt x="1178338" y="1089151"/>
                    <a:pt x="1182815" y="1089151"/>
                    <a:pt x="1187387" y="1089056"/>
                  </a:cubicBezTo>
                  <a:cubicBezTo>
                    <a:pt x="1191959" y="1089151"/>
                    <a:pt x="1196435" y="1089056"/>
                    <a:pt x="1200722" y="1088961"/>
                  </a:cubicBezTo>
                  <a:cubicBezTo>
                    <a:pt x="1248442" y="1087246"/>
                    <a:pt x="1282922" y="1072768"/>
                    <a:pt x="1303782" y="1048194"/>
                  </a:cubicBezTo>
                  <a:lnTo>
                    <a:pt x="1796129" y="547464"/>
                  </a:lnTo>
                  <a:lnTo>
                    <a:pt x="1746694" y="497649"/>
                  </a:lnTo>
                  <a:close/>
                  <a:moveTo>
                    <a:pt x="1204627" y="66357"/>
                  </a:moveTo>
                  <a:cubicBezTo>
                    <a:pt x="1225963" y="67881"/>
                    <a:pt x="1245394" y="76358"/>
                    <a:pt x="1261301" y="89883"/>
                  </a:cubicBezTo>
                  <a:lnTo>
                    <a:pt x="1260824" y="90360"/>
                  </a:lnTo>
                  <a:lnTo>
                    <a:pt x="1317879" y="147795"/>
                  </a:lnTo>
                  <a:lnTo>
                    <a:pt x="1325975" y="155987"/>
                  </a:lnTo>
                  <a:lnTo>
                    <a:pt x="1514189" y="345725"/>
                  </a:lnTo>
                  <a:lnTo>
                    <a:pt x="1467517" y="392874"/>
                  </a:lnTo>
                  <a:lnTo>
                    <a:pt x="1151477" y="74358"/>
                  </a:lnTo>
                  <a:cubicBezTo>
                    <a:pt x="1168527" y="67976"/>
                    <a:pt x="1187006" y="65118"/>
                    <a:pt x="1204627" y="66357"/>
                  </a:cubicBezTo>
                  <a:close/>
                  <a:moveTo>
                    <a:pt x="1012127" y="66357"/>
                  </a:moveTo>
                  <a:cubicBezTo>
                    <a:pt x="1033463" y="67881"/>
                    <a:pt x="1052894" y="76358"/>
                    <a:pt x="1068800" y="89883"/>
                  </a:cubicBezTo>
                  <a:lnTo>
                    <a:pt x="1068324" y="90360"/>
                  </a:lnTo>
                  <a:lnTo>
                    <a:pt x="1125379" y="147795"/>
                  </a:lnTo>
                  <a:lnTo>
                    <a:pt x="1133475" y="155987"/>
                  </a:lnTo>
                  <a:lnTo>
                    <a:pt x="1418082" y="442880"/>
                  </a:lnTo>
                  <a:lnTo>
                    <a:pt x="1371410" y="490029"/>
                  </a:lnTo>
                  <a:lnTo>
                    <a:pt x="958977" y="74358"/>
                  </a:lnTo>
                  <a:cubicBezTo>
                    <a:pt x="976122" y="67976"/>
                    <a:pt x="994505" y="65118"/>
                    <a:pt x="1012127" y="66357"/>
                  </a:cubicBezTo>
                  <a:close/>
                  <a:moveTo>
                    <a:pt x="760667" y="76834"/>
                  </a:moveTo>
                  <a:cubicBezTo>
                    <a:pt x="779336" y="68643"/>
                    <a:pt x="800005" y="65023"/>
                    <a:pt x="819722" y="66357"/>
                  </a:cubicBezTo>
                  <a:cubicBezTo>
                    <a:pt x="841058" y="67881"/>
                    <a:pt x="860488" y="76358"/>
                    <a:pt x="876395" y="89883"/>
                  </a:cubicBezTo>
                  <a:lnTo>
                    <a:pt x="875919" y="90360"/>
                  </a:lnTo>
                  <a:lnTo>
                    <a:pt x="932974" y="147795"/>
                  </a:lnTo>
                  <a:lnTo>
                    <a:pt x="941070" y="155987"/>
                  </a:lnTo>
                  <a:lnTo>
                    <a:pt x="1322070" y="539940"/>
                  </a:lnTo>
                  <a:lnTo>
                    <a:pt x="1270540" y="591946"/>
                  </a:lnTo>
                  <a:lnTo>
                    <a:pt x="760667" y="76834"/>
                  </a:lnTo>
                  <a:close/>
                  <a:moveTo>
                    <a:pt x="591598" y="1022762"/>
                  </a:moveTo>
                  <a:cubicBezTo>
                    <a:pt x="570262" y="1021238"/>
                    <a:pt x="550831" y="1012761"/>
                    <a:pt x="534924" y="999235"/>
                  </a:cubicBezTo>
                  <a:lnTo>
                    <a:pt x="535400" y="998759"/>
                  </a:lnTo>
                  <a:lnTo>
                    <a:pt x="478346" y="941323"/>
                  </a:lnTo>
                  <a:lnTo>
                    <a:pt x="470249" y="933132"/>
                  </a:lnTo>
                  <a:lnTo>
                    <a:pt x="282035" y="743394"/>
                  </a:lnTo>
                  <a:lnTo>
                    <a:pt x="328708" y="696245"/>
                  </a:lnTo>
                  <a:lnTo>
                    <a:pt x="644747" y="1014761"/>
                  </a:lnTo>
                  <a:cubicBezTo>
                    <a:pt x="627698" y="1021238"/>
                    <a:pt x="609314" y="1024000"/>
                    <a:pt x="591598" y="1022762"/>
                  </a:cubicBezTo>
                  <a:close/>
                  <a:moveTo>
                    <a:pt x="784098" y="1022762"/>
                  </a:moveTo>
                  <a:cubicBezTo>
                    <a:pt x="762762" y="1021238"/>
                    <a:pt x="743331" y="1012761"/>
                    <a:pt x="727424" y="999235"/>
                  </a:cubicBezTo>
                  <a:lnTo>
                    <a:pt x="727901" y="998759"/>
                  </a:lnTo>
                  <a:lnTo>
                    <a:pt x="670846" y="941323"/>
                  </a:lnTo>
                  <a:lnTo>
                    <a:pt x="662750" y="933132"/>
                  </a:lnTo>
                  <a:lnTo>
                    <a:pt x="378143" y="646239"/>
                  </a:lnTo>
                  <a:lnTo>
                    <a:pt x="424815" y="599090"/>
                  </a:lnTo>
                  <a:lnTo>
                    <a:pt x="837248" y="1014761"/>
                  </a:lnTo>
                  <a:cubicBezTo>
                    <a:pt x="820103" y="1021238"/>
                    <a:pt x="801719" y="1024000"/>
                    <a:pt x="784098" y="1022762"/>
                  </a:cubicBezTo>
                  <a:close/>
                  <a:moveTo>
                    <a:pt x="976503" y="1022762"/>
                  </a:moveTo>
                  <a:cubicBezTo>
                    <a:pt x="955167" y="1021238"/>
                    <a:pt x="935736" y="1012761"/>
                    <a:pt x="919829" y="999235"/>
                  </a:cubicBezTo>
                  <a:lnTo>
                    <a:pt x="920306" y="998759"/>
                  </a:lnTo>
                  <a:lnTo>
                    <a:pt x="863251" y="941323"/>
                  </a:lnTo>
                  <a:lnTo>
                    <a:pt x="855155" y="933132"/>
                  </a:lnTo>
                  <a:lnTo>
                    <a:pt x="474155" y="549179"/>
                  </a:lnTo>
                  <a:lnTo>
                    <a:pt x="525685" y="497077"/>
                  </a:lnTo>
                  <a:lnTo>
                    <a:pt x="1035558" y="1012380"/>
                  </a:lnTo>
                  <a:cubicBezTo>
                    <a:pt x="1016889" y="1020476"/>
                    <a:pt x="996220" y="1024191"/>
                    <a:pt x="976503" y="1022762"/>
                  </a:cubicBezTo>
                  <a:close/>
                </a:path>
              </a:pathLst>
            </a:custGeom>
            <a:solidFill>
              <a:schemeClr val="accent1"/>
            </a:solidFill>
            <a:ln w="9525" cap="flat">
              <a:noFill/>
              <a:prstDash val="solid"/>
              <a:miter/>
            </a:ln>
          </p:spPr>
          <p:txBody>
            <a:bodyPr rtlCol="0" anchor="ctr"/>
            <a:lstStyle/>
            <a:p>
              <a:endParaRPr lang="en-US" b="0" i="0">
                <a:latin typeface="Arial" panose="020B0604020202020204" pitchFamily="34" charset="0"/>
              </a:endParaRPr>
            </a:p>
          </p:txBody>
        </p:sp>
        <p:grpSp>
          <p:nvGrpSpPr>
            <p:cNvPr id="114" name="Group 113">
              <a:extLst>
                <a:ext uri="{FF2B5EF4-FFF2-40B4-BE49-F238E27FC236}">
                  <a16:creationId xmlns:a16="http://schemas.microsoft.com/office/drawing/2014/main" id="{70FF8FCD-39FD-F04C-BB42-C8D55B451770}"/>
                </a:ext>
              </a:extLst>
            </p:cNvPr>
            <p:cNvGrpSpPr/>
            <p:nvPr userDrawn="1"/>
          </p:nvGrpSpPr>
          <p:grpSpPr>
            <a:xfrm>
              <a:off x="1215214" y="6234480"/>
              <a:ext cx="1367797" cy="210040"/>
              <a:chOff x="1215214" y="6300582"/>
              <a:chExt cx="1367797" cy="210040"/>
            </a:xfrm>
            <a:solidFill>
              <a:schemeClr val="bg2"/>
            </a:solidFill>
          </p:grpSpPr>
          <p:sp>
            <p:nvSpPr>
              <p:cNvPr id="115" name="Freeform 114">
                <a:extLst>
                  <a:ext uri="{FF2B5EF4-FFF2-40B4-BE49-F238E27FC236}">
                    <a16:creationId xmlns:a16="http://schemas.microsoft.com/office/drawing/2014/main" id="{A1A3B9C3-0A13-1D47-9755-EE782BF868B6}"/>
                  </a:ext>
                </a:extLst>
              </p:cNvPr>
              <p:cNvSpPr/>
              <p:nvPr/>
            </p:nvSpPr>
            <p:spPr>
              <a:xfrm>
                <a:off x="1216741"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90 w 199052"/>
                  <a:gd name="connsiteY3" fmla="*/ 93631 h 198405"/>
                  <a:gd name="connsiteX4" fmla="*/ 149904 w 199052"/>
                  <a:gd name="connsiteY4" fmla="*/ 91345 h 198405"/>
                  <a:gd name="connsiteX5" fmla="*/ 152190 w 199052"/>
                  <a:gd name="connsiteY5" fmla="*/ 89059 h 198405"/>
                  <a:gd name="connsiteX6" fmla="*/ 157809 w 199052"/>
                  <a:gd name="connsiteY6" fmla="*/ 89059 h 198405"/>
                  <a:gd name="connsiteX7" fmla="*/ 191337 w 199052"/>
                  <a:gd name="connsiteY7" fmla="*/ 51530 h 198405"/>
                  <a:gd name="connsiteX8" fmla="*/ 191337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7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1 w 199052"/>
                  <a:gd name="connsiteY23" fmla="*/ 198406 h 198405"/>
                  <a:gd name="connsiteX24" fmla="*/ 153618 w 199052"/>
                  <a:gd name="connsiteY24" fmla="*/ 198406 h 198405"/>
                  <a:gd name="connsiteX25" fmla="*/ 199052 w 199052"/>
                  <a:gd name="connsiteY25" fmla="*/ 151447 h 198405"/>
                  <a:gd name="connsiteX26" fmla="*/ 199052 w 199052"/>
                  <a:gd name="connsiteY26" fmla="*/ 131826 h 198405"/>
                  <a:gd name="connsiteX27" fmla="*/ 153618 w 199052"/>
                  <a:gd name="connsiteY27" fmla="*/ 93917 h 198405"/>
                  <a:gd name="connsiteX28" fmla="*/ 147522 w 199052"/>
                  <a:gd name="connsiteY28" fmla="*/ 140208 h 198405"/>
                  <a:gd name="connsiteX29" fmla="*/ 119328 w 199052"/>
                  <a:gd name="connsiteY29" fmla="*/ 165830 h 198405"/>
                  <a:gd name="connsiteX30" fmla="*/ 75132 w 199052"/>
                  <a:gd name="connsiteY30" fmla="*/ 165830 h 198405"/>
                  <a:gd name="connsiteX31" fmla="*/ 73418 w 199052"/>
                  <a:gd name="connsiteY31" fmla="*/ 165449 h 198405"/>
                  <a:gd name="connsiteX32" fmla="*/ 72465 w 199052"/>
                  <a:gd name="connsiteY32" fmla="*/ 163544 h 198405"/>
                  <a:gd name="connsiteX33" fmla="*/ 72465 w 199052"/>
                  <a:gd name="connsiteY33" fmla="*/ 35719 h 198405"/>
                  <a:gd name="connsiteX34" fmla="*/ 73227 w 199052"/>
                  <a:gd name="connsiteY34" fmla="*/ 33052 h 198405"/>
                  <a:gd name="connsiteX35" fmla="*/ 75704 w 199052"/>
                  <a:gd name="connsiteY35" fmla="*/ 32480 h 198405"/>
                  <a:gd name="connsiteX36" fmla="*/ 119328 w 199052"/>
                  <a:gd name="connsiteY36" fmla="*/ 32480 h 198405"/>
                  <a:gd name="connsiteX37" fmla="*/ 138188 w 199052"/>
                  <a:gd name="connsiteY37" fmla="*/ 49435 h 198405"/>
                  <a:gd name="connsiteX38" fmla="*/ 138188 w 199052"/>
                  <a:gd name="connsiteY38" fmla="*/ 60770 h 198405"/>
                  <a:gd name="connsiteX39" fmla="*/ 118947 w 199052"/>
                  <a:gd name="connsiteY39" fmla="*/ 79534 h 198405"/>
                  <a:gd name="connsiteX40" fmla="*/ 99135 w 199052"/>
                  <a:gd name="connsiteY40" fmla="*/ 79724 h 198405"/>
                  <a:gd name="connsiteX41" fmla="*/ 93039 w 199052"/>
                  <a:gd name="connsiteY41" fmla="*/ 85820 h 198405"/>
                  <a:gd name="connsiteX42" fmla="*/ 93039 w 199052"/>
                  <a:gd name="connsiteY42" fmla="*/ 107156 h 198405"/>
                  <a:gd name="connsiteX43" fmla="*/ 99135 w 199052"/>
                  <a:gd name="connsiteY43" fmla="*/ 113252 h 198405"/>
                  <a:gd name="connsiteX44" fmla="*/ 121329 w 199052"/>
                  <a:gd name="connsiteY44" fmla="*/ 113252 h 198405"/>
                  <a:gd name="connsiteX45" fmla="*/ 147522 w 199052"/>
                  <a:gd name="connsiteY45" fmla="*/ 131540 h 198405"/>
                  <a:gd name="connsiteX46" fmla="*/ 147522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90" y="93631"/>
                    </a:lnTo>
                    <a:cubicBezTo>
                      <a:pt x="150951" y="93631"/>
                      <a:pt x="149904" y="92583"/>
                      <a:pt x="149904" y="91345"/>
                    </a:cubicBezTo>
                    <a:cubicBezTo>
                      <a:pt x="149904" y="90106"/>
                      <a:pt x="150951" y="89059"/>
                      <a:pt x="152190" y="89059"/>
                    </a:cubicBezTo>
                    <a:lnTo>
                      <a:pt x="157809" y="89059"/>
                    </a:lnTo>
                    <a:cubicBezTo>
                      <a:pt x="176669" y="86963"/>
                      <a:pt x="191337" y="70961"/>
                      <a:pt x="191337" y="51530"/>
                    </a:cubicBezTo>
                    <a:lnTo>
                      <a:pt x="191337" y="37814"/>
                    </a:lnTo>
                    <a:cubicBezTo>
                      <a:pt x="191337" y="16954"/>
                      <a:pt x="174383" y="95"/>
                      <a:pt x="153618" y="95"/>
                    </a:cubicBezTo>
                    <a:lnTo>
                      <a:pt x="1885" y="0"/>
                    </a:lnTo>
                    <a:cubicBezTo>
                      <a:pt x="837" y="0"/>
                      <a:pt x="75" y="857"/>
                      <a:pt x="75" y="1810"/>
                    </a:cubicBezTo>
                    <a:cubicBezTo>
                      <a:pt x="75" y="1810"/>
                      <a:pt x="-20" y="25717"/>
                      <a:pt x="75" y="25717"/>
                    </a:cubicBezTo>
                    <a:cubicBezTo>
                      <a:pt x="75" y="25717"/>
                      <a:pt x="-115" y="27051"/>
                      <a:pt x="837" y="27813"/>
                    </a:cubicBezTo>
                    <a:cubicBezTo>
                      <a:pt x="1409" y="28194"/>
                      <a:pt x="3123" y="28384"/>
                      <a:pt x="3123" y="28384"/>
                    </a:cubicBezTo>
                    <a:cubicBezTo>
                      <a:pt x="10172" y="29146"/>
                      <a:pt x="21221" y="34862"/>
                      <a:pt x="21221" y="39529"/>
                    </a:cubicBezTo>
                    <a:lnTo>
                      <a:pt x="21221" y="158115"/>
                    </a:lnTo>
                    <a:cubicBezTo>
                      <a:pt x="21030"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3" y="198310"/>
                      <a:pt x="1885" y="198310"/>
                    </a:cubicBezTo>
                    <a:lnTo>
                      <a:pt x="21221" y="198310"/>
                    </a:lnTo>
                    <a:cubicBezTo>
                      <a:pt x="21792" y="198310"/>
                      <a:pt x="22364" y="198406"/>
                      <a:pt x="23031" y="198406"/>
                    </a:cubicBezTo>
                    <a:lnTo>
                      <a:pt x="153618" y="198406"/>
                    </a:lnTo>
                    <a:cubicBezTo>
                      <a:pt x="180383" y="198406"/>
                      <a:pt x="199052" y="172307"/>
                      <a:pt x="199052" y="151447"/>
                    </a:cubicBezTo>
                    <a:lnTo>
                      <a:pt x="199052" y="131826"/>
                    </a:lnTo>
                    <a:cubicBezTo>
                      <a:pt x="199148" y="110871"/>
                      <a:pt x="187337" y="93917"/>
                      <a:pt x="153618" y="93917"/>
                    </a:cubicBezTo>
                    <a:close/>
                    <a:moveTo>
                      <a:pt x="147522" y="140208"/>
                    </a:moveTo>
                    <a:cubicBezTo>
                      <a:pt x="147713" y="160115"/>
                      <a:pt x="135711" y="165830"/>
                      <a:pt x="119328" y="165830"/>
                    </a:cubicBezTo>
                    <a:lnTo>
                      <a:pt x="75132" y="165830"/>
                    </a:lnTo>
                    <a:lnTo>
                      <a:pt x="73418" y="165449"/>
                    </a:lnTo>
                    <a:cubicBezTo>
                      <a:pt x="72465" y="164497"/>
                      <a:pt x="72465" y="163544"/>
                      <a:pt x="72465" y="163544"/>
                    </a:cubicBezTo>
                    <a:lnTo>
                      <a:pt x="72465" y="35719"/>
                    </a:lnTo>
                    <a:cubicBezTo>
                      <a:pt x="72465" y="35719"/>
                      <a:pt x="72465" y="33623"/>
                      <a:pt x="73227" y="33052"/>
                    </a:cubicBezTo>
                    <a:cubicBezTo>
                      <a:pt x="73989" y="32480"/>
                      <a:pt x="75704" y="32480"/>
                      <a:pt x="75704" y="32480"/>
                    </a:cubicBezTo>
                    <a:lnTo>
                      <a:pt x="119328" y="32480"/>
                    </a:lnTo>
                    <a:cubicBezTo>
                      <a:pt x="128758" y="32480"/>
                      <a:pt x="138188" y="40100"/>
                      <a:pt x="138188" y="49435"/>
                    </a:cubicBezTo>
                    <a:lnTo>
                      <a:pt x="138188" y="60770"/>
                    </a:lnTo>
                    <a:cubicBezTo>
                      <a:pt x="138378" y="66104"/>
                      <a:pt x="130091" y="80200"/>
                      <a:pt x="118947" y="79534"/>
                    </a:cubicBezTo>
                    <a:lnTo>
                      <a:pt x="99135" y="79724"/>
                    </a:lnTo>
                    <a:cubicBezTo>
                      <a:pt x="95801" y="79724"/>
                      <a:pt x="93039" y="82487"/>
                      <a:pt x="93039" y="85820"/>
                    </a:cubicBezTo>
                    <a:lnTo>
                      <a:pt x="93039" y="107156"/>
                    </a:lnTo>
                    <a:cubicBezTo>
                      <a:pt x="93039" y="110490"/>
                      <a:pt x="95801" y="113252"/>
                      <a:pt x="99135" y="113252"/>
                    </a:cubicBezTo>
                    <a:lnTo>
                      <a:pt x="121329" y="113252"/>
                    </a:lnTo>
                    <a:cubicBezTo>
                      <a:pt x="142188" y="114491"/>
                      <a:pt x="147427" y="126397"/>
                      <a:pt x="147522" y="131540"/>
                    </a:cubicBezTo>
                    <a:lnTo>
                      <a:pt x="147522"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16" name="Freeform 115">
                <a:extLst>
                  <a:ext uri="{FF2B5EF4-FFF2-40B4-BE49-F238E27FC236}">
                    <a16:creationId xmlns:a16="http://schemas.microsoft.com/office/drawing/2014/main" id="{A514CAEF-CCB1-F041-A456-4A4B573316DF}"/>
                  </a:ext>
                </a:extLst>
              </p:cNvPr>
              <p:cNvSpPr/>
              <p:nvPr/>
            </p:nvSpPr>
            <p:spPr>
              <a:xfrm>
                <a:off x="2417589"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89 w 199052"/>
                  <a:gd name="connsiteY3" fmla="*/ 93631 h 198405"/>
                  <a:gd name="connsiteX4" fmla="*/ 149903 w 199052"/>
                  <a:gd name="connsiteY4" fmla="*/ 91345 h 198405"/>
                  <a:gd name="connsiteX5" fmla="*/ 152189 w 199052"/>
                  <a:gd name="connsiteY5" fmla="*/ 89059 h 198405"/>
                  <a:gd name="connsiteX6" fmla="*/ 157809 w 199052"/>
                  <a:gd name="connsiteY6" fmla="*/ 89059 h 198405"/>
                  <a:gd name="connsiteX7" fmla="*/ 191338 w 199052"/>
                  <a:gd name="connsiteY7" fmla="*/ 51530 h 198405"/>
                  <a:gd name="connsiteX8" fmla="*/ 191338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8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0 w 199052"/>
                  <a:gd name="connsiteY23" fmla="*/ 198406 h 198405"/>
                  <a:gd name="connsiteX24" fmla="*/ 153618 w 199052"/>
                  <a:gd name="connsiteY24" fmla="*/ 198406 h 198405"/>
                  <a:gd name="connsiteX25" fmla="*/ 199053 w 199052"/>
                  <a:gd name="connsiteY25" fmla="*/ 151447 h 198405"/>
                  <a:gd name="connsiteX26" fmla="*/ 199053 w 199052"/>
                  <a:gd name="connsiteY26" fmla="*/ 131826 h 198405"/>
                  <a:gd name="connsiteX27" fmla="*/ 153618 w 199052"/>
                  <a:gd name="connsiteY27" fmla="*/ 93917 h 198405"/>
                  <a:gd name="connsiteX28" fmla="*/ 147427 w 199052"/>
                  <a:gd name="connsiteY28" fmla="*/ 140208 h 198405"/>
                  <a:gd name="connsiteX29" fmla="*/ 119233 w 199052"/>
                  <a:gd name="connsiteY29" fmla="*/ 165830 h 198405"/>
                  <a:gd name="connsiteX30" fmla="*/ 75037 w 199052"/>
                  <a:gd name="connsiteY30" fmla="*/ 165830 h 198405"/>
                  <a:gd name="connsiteX31" fmla="*/ 73323 w 199052"/>
                  <a:gd name="connsiteY31" fmla="*/ 165449 h 198405"/>
                  <a:gd name="connsiteX32" fmla="*/ 72370 w 199052"/>
                  <a:gd name="connsiteY32" fmla="*/ 163544 h 198405"/>
                  <a:gd name="connsiteX33" fmla="*/ 72370 w 199052"/>
                  <a:gd name="connsiteY33" fmla="*/ 35719 h 198405"/>
                  <a:gd name="connsiteX34" fmla="*/ 73132 w 199052"/>
                  <a:gd name="connsiteY34" fmla="*/ 33052 h 198405"/>
                  <a:gd name="connsiteX35" fmla="*/ 75609 w 199052"/>
                  <a:gd name="connsiteY35" fmla="*/ 32480 h 198405"/>
                  <a:gd name="connsiteX36" fmla="*/ 119233 w 199052"/>
                  <a:gd name="connsiteY36" fmla="*/ 32480 h 198405"/>
                  <a:gd name="connsiteX37" fmla="*/ 138093 w 199052"/>
                  <a:gd name="connsiteY37" fmla="*/ 49435 h 198405"/>
                  <a:gd name="connsiteX38" fmla="*/ 138093 w 199052"/>
                  <a:gd name="connsiteY38" fmla="*/ 60770 h 198405"/>
                  <a:gd name="connsiteX39" fmla="*/ 118852 w 199052"/>
                  <a:gd name="connsiteY39" fmla="*/ 79534 h 198405"/>
                  <a:gd name="connsiteX40" fmla="*/ 99040 w 199052"/>
                  <a:gd name="connsiteY40" fmla="*/ 79724 h 198405"/>
                  <a:gd name="connsiteX41" fmla="*/ 92944 w 199052"/>
                  <a:gd name="connsiteY41" fmla="*/ 85820 h 198405"/>
                  <a:gd name="connsiteX42" fmla="*/ 92944 w 199052"/>
                  <a:gd name="connsiteY42" fmla="*/ 107156 h 198405"/>
                  <a:gd name="connsiteX43" fmla="*/ 99040 w 199052"/>
                  <a:gd name="connsiteY43" fmla="*/ 113252 h 198405"/>
                  <a:gd name="connsiteX44" fmla="*/ 121233 w 199052"/>
                  <a:gd name="connsiteY44" fmla="*/ 113252 h 198405"/>
                  <a:gd name="connsiteX45" fmla="*/ 147427 w 199052"/>
                  <a:gd name="connsiteY45" fmla="*/ 131540 h 198405"/>
                  <a:gd name="connsiteX46" fmla="*/ 147427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89" y="93631"/>
                    </a:lnTo>
                    <a:cubicBezTo>
                      <a:pt x="150951" y="93631"/>
                      <a:pt x="149903" y="92583"/>
                      <a:pt x="149903" y="91345"/>
                    </a:cubicBezTo>
                    <a:cubicBezTo>
                      <a:pt x="149903" y="90106"/>
                      <a:pt x="150951" y="89059"/>
                      <a:pt x="152189" y="89059"/>
                    </a:cubicBezTo>
                    <a:lnTo>
                      <a:pt x="157809" y="89059"/>
                    </a:lnTo>
                    <a:cubicBezTo>
                      <a:pt x="176669" y="86963"/>
                      <a:pt x="191338" y="70961"/>
                      <a:pt x="191338" y="51530"/>
                    </a:cubicBezTo>
                    <a:lnTo>
                      <a:pt x="191338" y="37814"/>
                    </a:lnTo>
                    <a:cubicBezTo>
                      <a:pt x="191338" y="16954"/>
                      <a:pt x="174478" y="95"/>
                      <a:pt x="153618" y="95"/>
                    </a:cubicBezTo>
                    <a:lnTo>
                      <a:pt x="1885" y="0"/>
                    </a:lnTo>
                    <a:cubicBezTo>
                      <a:pt x="838" y="0"/>
                      <a:pt x="75" y="857"/>
                      <a:pt x="75" y="1810"/>
                    </a:cubicBezTo>
                    <a:cubicBezTo>
                      <a:pt x="75" y="1810"/>
                      <a:pt x="-20" y="25717"/>
                      <a:pt x="75" y="25717"/>
                    </a:cubicBezTo>
                    <a:cubicBezTo>
                      <a:pt x="75" y="25717"/>
                      <a:pt x="-115" y="27051"/>
                      <a:pt x="838" y="27813"/>
                    </a:cubicBezTo>
                    <a:cubicBezTo>
                      <a:pt x="1409" y="28194"/>
                      <a:pt x="3123" y="28384"/>
                      <a:pt x="3123" y="28384"/>
                    </a:cubicBezTo>
                    <a:cubicBezTo>
                      <a:pt x="10172" y="29146"/>
                      <a:pt x="21221" y="34862"/>
                      <a:pt x="21221" y="39529"/>
                    </a:cubicBezTo>
                    <a:lnTo>
                      <a:pt x="21221" y="158115"/>
                    </a:lnTo>
                    <a:cubicBezTo>
                      <a:pt x="21031"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2" y="198310"/>
                      <a:pt x="1885" y="198310"/>
                    </a:cubicBezTo>
                    <a:lnTo>
                      <a:pt x="21221" y="198310"/>
                    </a:lnTo>
                    <a:cubicBezTo>
                      <a:pt x="21792" y="198310"/>
                      <a:pt x="22364" y="198406"/>
                      <a:pt x="23030" y="198406"/>
                    </a:cubicBezTo>
                    <a:lnTo>
                      <a:pt x="153618" y="198406"/>
                    </a:lnTo>
                    <a:cubicBezTo>
                      <a:pt x="180384" y="198406"/>
                      <a:pt x="199053" y="172307"/>
                      <a:pt x="199053" y="151447"/>
                    </a:cubicBezTo>
                    <a:lnTo>
                      <a:pt x="199053" y="131826"/>
                    </a:lnTo>
                    <a:cubicBezTo>
                      <a:pt x="199053" y="110871"/>
                      <a:pt x="187241" y="93917"/>
                      <a:pt x="153618" y="93917"/>
                    </a:cubicBezTo>
                    <a:close/>
                    <a:moveTo>
                      <a:pt x="147427" y="140208"/>
                    </a:moveTo>
                    <a:cubicBezTo>
                      <a:pt x="147618" y="160115"/>
                      <a:pt x="135616" y="165830"/>
                      <a:pt x="119233" y="165830"/>
                    </a:cubicBezTo>
                    <a:lnTo>
                      <a:pt x="75037" y="165830"/>
                    </a:lnTo>
                    <a:lnTo>
                      <a:pt x="73323" y="165449"/>
                    </a:lnTo>
                    <a:cubicBezTo>
                      <a:pt x="72370" y="164497"/>
                      <a:pt x="72370" y="163544"/>
                      <a:pt x="72370" y="163544"/>
                    </a:cubicBezTo>
                    <a:lnTo>
                      <a:pt x="72370" y="35719"/>
                    </a:lnTo>
                    <a:cubicBezTo>
                      <a:pt x="72370" y="35719"/>
                      <a:pt x="72370" y="33623"/>
                      <a:pt x="73132" y="33052"/>
                    </a:cubicBezTo>
                    <a:cubicBezTo>
                      <a:pt x="73894" y="32480"/>
                      <a:pt x="75609" y="32480"/>
                      <a:pt x="75609" y="32480"/>
                    </a:cubicBezTo>
                    <a:lnTo>
                      <a:pt x="119233" y="32480"/>
                    </a:lnTo>
                    <a:cubicBezTo>
                      <a:pt x="128663" y="32480"/>
                      <a:pt x="138093" y="40100"/>
                      <a:pt x="138093" y="49435"/>
                    </a:cubicBezTo>
                    <a:lnTo>
                      <a:pt x="138093" y="60770"/>
                    </a:lnTo>
                    <a:cubicBezTo>
                      <a:pt x="138283" y="66104"/>
                      <a:pt x="129901" y="80200"/>
                      <a:pt x="118852" y="79534"/>
                    </a:cubicBezTo>
                    <a:lnTo>
                      <a:pt x="99040" y="79724"/>
                    </a:lnTo>
                    <a:cubicBezTo>
                      <a:pt x="95706" y="79724"/>
                      <a:pt x="92944" y="82487"/>
                      <a:pt x="92944" y="85820"/>
                    </a:cubicBezTo>
                    <a:lnTo>
                      <a:pt x="92944" y="107156"/>
                    </a:lnTo>
                    <a:cubicBezTo>
                      <a:pt x="92944" y="110490"/>
                      <a:pt x="95706" y="113252"/>
                      <a:pt x="99040" y="113252"/>
                    </a:cubicBezTo>
                    <a:lnTo>
                      <a:pt x="121233" y="113252"/>
                    </a:lnTo>
                    <a:cubicBezTo>
                      <a:pt x="142093" y="114491"/>
                      <a:pt x="147237" y="126397"/>
                      <a:pt x="147427" y="131540"/>
                    </a:cubicBezTo>
                    <a:lnTo>
                      <a:pt x="147427"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17" name="Freeform 116">
                <a:extLst>
                  <a:ext uri="{FF2B5EF4-FFF2-40B4-BE49-F238E27FC236}">
                    <a16:creationId xmlns:a16="http://schemas.microsoft.com/office/drawing/2014/main" id="{09CDF848-0B3A-4B43-9FE6-D877C5D67880}"/>
                  </a:ext>
                </a:extLst>
              </p:cNvPr>
              <p:cNvSpPr/>
              <p:nvPr/>
            </p:nvSpPr>
            <p:spPr>
              <a:xfrm>
                <a:off x="1399859" y="6302443"/>
                <a:ext cx="87290" cy="87921"/>
              </a:xfrm>
              <a:custGeom>
                <a:avLst/>
                <a:gdLst>
                  <a:gd name="connsiteX0" fmla="*/ 191167 w 197182"/>
                  <a:gd name="connsiteY0" fmla="*/ 11 h 198607"/>
                  <a:gd name="connsiteX1" fmla="*/ 130492 w 197182"/>
                  <a:gd name="connsiteY1" fmla="*/ 11 h 198607"/>
                  <a:gd name="connsiteX2" fmla="*/ 124396 w 197182"/>
                  <a:gd name="connsiteY2" fmla="*/ 6107 h 198607"/>
                  <a:gd name="connsiteX3" fmla="*/ 124396 w 197182"/>
                  <a:gd name="connsiteY3" fmla="*/ 20395 h 198607"/>
                  <a:gd name="connsiteX4" fmla="*/ 129921 w 197182"/>
                  <a:gd name="connsiteY4" fmla="*/ 22205 h 198607"/>
                  <a:gd name="connsiteX5" fmla="*/ 134874 w 197182"/>
                  <a:gd name="connsiteY5" fmla="*/ 25253 h 198607"/>
                  <a:gd name="connsiteX6" fmla="*/ 135826 w 197182"/>
                  <a:gd name="connsiteY6" fmla="*/ 27539 h 198607"/>
                  <a:gd name="connsiteX7" fmla="*/ 133350 w 197182"/>
                  <a:gd name="connsiteY7" fmla="*/ 36492 h 198607"/>
                  <a:gd name="connsiteX8" fmla="*/ 112490 w 197182"/>
                  <a:gd name="connsiteY8" fmla="*/ 70877 h 198607"/>
                  <a:gd name="connsiteX9" fmla="*/ 105537 w 197182"/>
                  <a:gd name="connsiteY9" fmla="*/ 75449 h 198607"/>
                  <a:gd name="connsiteX10" fmla="*/ 105061 w 197182"/>
                  <a:gd name="connsiteY10" fmla="*/ 75449 h 198607"/>
                  <a:gd name="connsiteX11" fmla="*/ 99250 w 197182"/>
                  <a:gd name="connsiteY11" fmla="*/ 71163 h 198607"/>
                  <a:gd name="connsiteX12" fmla="*/ 76390 w 197182"/>
                  <a:gd name="connsiteY12" fmla="*/ 38111 h 198607"/>
                  <a:gd name="connsiteX13" fmla="*/ 76009 w 197182"/>
                  <a:gd name="connsiteY13" fmla="*/ 24872 h 198607"/>
                  <a:gd name="connsiteX14" fmla="*/ 83153 w 197182"/>
                  <a:gd name="connsiteY14" fmla="*/ 21538 h 198607"/>
                  <a:gd name="connsiteX15" fmla="*/ 87058 w 197182"/>
                  <a:gd name="connsiteY15" fmla="*/ 16680 h 198607"/>
                  <a:gd name="connsiteX16" fmla="*/ 87058 w 197182"/>
                  <a:gd name="connsiteY16" fmla="*/ 4774 h 198607"/>
                  <a:gd name="connsiteX17" fmla="*/ 82963 w 197182"/>
                  <a:gd name="connsiteY17" fmla="*/ 11 h 198607"/>
                  <a:gd name="connsiteX18" fmla="*/ 6096 w 197182"/>
                  <a:gd name="connsiteY18" fmla="*/ 11 h 198607"/>
                  <a:gd name="connsiteX19" fmla="*/ 0 w 197182"/>
                  <a:gd name="connsiteY19" fmla="*/ 3726 h 198607"/>
                  <a:gd name="connsiteX20" fmla="*/ 0 w 197182"/>
                  <a:gd name="connsiteY20" fmla="*/ 19347 h 198607"/>
                  <a:gd name="connsiteX21" fmla="*/ 3429 w 197182"/>
                  <a:gd name="connsiteY21" fmla="*/ 26396 h 198607"/>
                  <a:gd name="connsiteX22" fmla="*/ 17431 w 197182"/>
                  <a:gd name="connsiteY22" fmla="*/ 33349 h 198607"/>
                  <a:gd name="connsiteX23" fmla="*/ 71533 w 197182"/>
                  <a:gd name="connsiteY23" fmla="*/ 110597 h 198607"/>
                  <a:gd name="connsiteX24" fmla="*/ 71533 w 197182"/>
                  <a:gd name="connsiteY24" fmla="*/ 162794 h 198607"/>
                  <a:gd name="connsiteX25" fmla="*/ 61055 w 197182"/>
                  <a:gd name="connsiteY25" fmla="*/ 167937 h 198607"/>
                  <a:gd name="connsiteX26" fmla="*/ 56007 w 197182"/>
                  <a:gd name="connsiteY26" fmla="*/ 168985 h 198607"/>
                  <a:gd name="connsiteX27" fmla="*/ 54197 w 197182"/>
                  <a:gd name="connsiteY27" fmla="*/ 170509 h 198607"/>
                  <a:gd name="connsiteX28" fmla="*/ 54102 w 197182"/>
                  <a:gd name="connsiteY28" fmla="*/ 170509 h 198607"/>
                  <a:gd name="connsiteX29" fmla="*/ 54102 w 197182"/>
                  <a:gd name="connsiteY29" fmla="*/ 170795 h 198607"/>
                  <a:gd name="connsiteX30" fmla="*/ 54102 w 197182"/>
                  <a:gd name="connsiteY30" fmla="*/ 196798 h 198607"/>
                  <a:gd name="connsiteX31" fmla="*/ 54102 w 197182"/>
                  <a:gd name="connsiteY31" fmla="*/ 197084 h 198607"/>
                  <a:gd name="connsiteX32" fmla="*/ 54197 w 197182"/>
                  <a:gd name="connsiteY32" fmla="*/ 197084 h 198607"/>
                  <a:gd name="connsiteX33" fmla="*/ 56007 w 197182"/>
                  <a:gd name="connsiteY33" fmla="*/ 198608 h 198607"/>
                  <a:gd name="connsiteX34" fmla="*/ 140779 w 197182"/>
                  <a:gd name="connsiteY34" fmla="*/ 198608 h 198607"/>
                  <a:gd name="connsiteX35" fmla="*/ 142589 w 197182"/>
                  <a:gd name="connsiteY35" fmla="*/ 197084 h 198607"/>
                  <a:gd name="connsiteX36" fmla="*/ 142684 w 197182"/>
                  <a:gd name="connsiteY36" fmla="*/ 197084 h 198607"/>
                  <a:gd name="connsiteX37" fmla="*/ 142684 w 197182"/>
                  <a:gd name="connsiteY37" fmla="*/ 196798 h 198607"/>
                  <a:gd name="connsiteX38" fmla="*/ 142684 w 197182"/>
                  <a:gd name="connsiteY38" fmla="*/ 170795 h 198607"/>
                  <a:gd name="connsiteX39" fmla="*/ 142684 w 197182"/>
                  <a:gd name="connsiteY39" fmla="*/ 170509 h 198607"/>
                  <a:gd name="connsiteX40" fmla="*/ 142589 w 197182"/>
                  <a:gd name="connsiteY40" fmla="*/ 170509 h 198607"/>
                  <a:gd name="connsiteX41" fmla="*/ 140779 w 197182"/>
                  <a:gd name="connsiteY41" fmla="*/ 168985 h 198607"/>
                  <a:gd name="connsiteX42" fmla="*/ 138589 w 197182"/>
                  <a:gd name="connsiteY42" fmla="*/ 168985 h 198607"/>
                  <a:gd name="connsiteX43" fmla="*/ 122777 w 197182"/>
                  <a:gd name="connsiteY43" fmla="*/ 160698 h 198607"/>
                  <a:gd name="connsiteX44" fmla="*/ 122777 w 197182"/>
                  <a:gd name="connsiteY44" fmla="*/ 115454 h 198607"/>
                  <a:gd name="connsiteX45" fmla="*/ 167068 w 197182"/>
                  <a:gd name="connsiteY45" fmla="*/ 46874 h 198607"/>
                  <a:gd name="connsiteX46" fmla="*/ 177260 w 197182"/>
                  <a:gd name="connsiteY46" fmla="*/ 33635 h 198607"/>
                  <a:gd name="connsiteX47" fmla="*/ 185547 w 197182"/>
                  <a:gd name="connsiteY47" fmla="*/ 28015 h 198607"/>
                  <a:gd name="connsiteX48" fmla="*/ 192214 w 197182"/>
                  <a:gd name="connsiteY48" fmla="*/ 26967 h 198607"/>
                  <a:gd name="connsiteX49" fmla="*/ 197167 w 197182"/>
                  <a:gd name="connsiteY49" fmla="*/ 21919 h 198607"/>
                  <a:gd name="connsiteX50" fmla="*/ 197167 w 197182"/>
                  <a:gd name="connsiteY50" fmla="*/ 6107 h 198607"/>
                  <a:gd name="connsiteX51" fmla="*/ 191167 w 197182"/>
                  <a:gd name="connsiteY51" fmla="*/ 11 h 1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7182" h="198607">
                    <a:moveTo>
                      <a:pt x="191167" y="11"/>
                    </a:moveTo>
                    <a:lnTo>
                      <a:pt x="130492" y="11"/>
                    </a:lnTo>
                    <a:cubicBezTo>
                      <a:pt x="125158" y="-84"/>
                      <a:pt x="124492" y="297"/>
                      <a:pt x="124396" y="6107"/>
                    </a:cubicBezTo>
                    <a:lnTo>
                      <a:pt x="124396" y="20395"/>
                    </a:lnTo>
                    <a:cubicBezTo>
                      <a:pt x="124492" y="23443"/>
                      <a:pt x="129921" y="22205"/>
                      <a:pt x="129921" y="22205"/>
                    </a:cubicBezTo>
                    <a:cubicBezTo>
                      <a:pt x="129921" y="22205"/>
                      <a:pt x="133159" y="22395"/>
                      <a:pt x="134874" y="25253"/>
                    </a:cubicBezTo>
                    <a:cubicBezTo>
                      <a:pt x="135255" y="25919"/>
                      <a:pt x="135826" y="27539"/>
                      <a:pt x="135826" y="27539"/>
                    </a:cubicBezTo>
                    <a:cubicBezTo>
                      <a:pt x="135826" y="27539"/>
                      <a:pt x="135922" y="31920"/>
                      <a:pt x="133350" y="36492"/>
                    </a:cubicBezTo>
                    <a:cubicBezTo>
                      <a:pt x="130492" y="41636"/>
                      <a:pt x="117919" y="62495"/>
                      <a:pt x="112490" y="70877"/>
                    </a:cubicBezTo>
                    <a:cubicBezTo>
                      <a:pt x="111823" y="73544"/>
                      <a:pt x="108394" y="75449"/>
                      <a:pt x="105537" y="75449"/>
                    </a:cubicBezTo>
                    <a:lnTo>
                      <a:pt x="105061" y="75449"/>
                    </a:lnTo>
                    <a:cubicBezTo>
                      <a:pt x="102298" y="75449"/>
                      <a:pt x="100489" y="73354"/>
                      <a:pt x="99250" y="71163"/>
                    </a:cubicBezTo>
                    <a:lnTo>
                      <a:pt x="76390" y="38111"/>
                    </a:lnTo>
                    <a:cubicBezTo>
                      <a:pt x="76390" y="38111"/>
                      <a:pt x="72676" y="30872"/>
                      <a:pt x="76009" y="24872"/>
                    </a:cubicBezTo>
                    <a:cubicBezTo>
                      <a:pt x="77343" y="22490"/>
                      <a:pt x="81915" y="21538"/>
                      <a:pt x="83153" y="21538"/>
                    </a:cubicBezTo>
                    <a:cubicBezTo>
                      <a:pt x="85725" y="21538"/>
                      <a:pt x="87058" y="21252"/>
                      <a:pt x="87058" y="16680"/>
                    </a:cubicBezTo>
                    <a:cubicBezTo>
                      <a:pt x="87058" y="15347"/>
                      <a:pt x="87058" y="4774"/>
                      <a:pt x="87058" y="4774"/>
                    </a:cubicBezTo>
                    <a:cubicBezTo>
                      <a:pt x="87058" y="2774"/>
                      <a:pt x="86392" y="11"/>
                      <a:pt x="82963" y="11"/>
                    </a:cubicBezTo>
                    <a:lnTo>
                      <a:pt x="6096" y="11"/>
                    </a:lnTo>
                    <a:cubicBezTo>
                      <a:pt x="2762" y="11"/>
                      <a:pt x="0" y="392"/>
                      <a:pt x="0" y="3726"/>
                    </a:cubicBezTo>
                    <a:lnTo>
                      <a:pt x="0" y="19347"/>
                    </a:lnTo>
                    <a:cubicBezTo>
                      <a:pt x="286" y="25062"/>
                      <a:pt x="-667" y="26205"/>
                      <a:pt x="3429" y="26396"/>
                    </a:cubicBezTo>
                    <a:cubicBezTo>
                      <a:pt x="10477" y="26681"/>
                      <a:pt x="17431" y="33349"/>
                      <a:pt x="17431" y="33349"/>
                    </a:cubicBezTo>
                    <a:lnTo>
                      <a:pt x="71533" y="110597"/>
                    </a:lnTo>
                    <a:lnTo>
                      <a:pt x="71533" y="162794"/>
                    </a:lnTo>
                    <a:cubicBezTo>
                      <a:pt x="71723" y="165461"/>
                      <a:pt x="65437" y="167175"/>
                      <a:pt x="61055" y="167937"/>
                    </a:cubicBezTo>
                    <a:lnTo>
                      <a:pt x="56007" y="168985"/>
                    </a:lnTo>
                    <a:cubicBezTo>
                      <a:pt x="55054" y="168985"/>
                      <a:pt x="54388" y="169652"/>
                      <a:pt x="54197" y="170509"/>
                    </a:cubicBezTo>
                    <a:cubicBezTo>
                      <a:pt x="54197" y="170509"/>
                      <a:pt x="54197" y="170509"/>
                      <a:pt x="54102" y="170509"/>
                    </a:cubicBezTo>
                    <a:lnTo>
                      <a:pt x="54102" y="170795"/>
                    </a:lnTo>
                    <a:lnTo>
                      <a:pt x="54102" y="196798"/>
                    </a:lnTo>
                    <a:lnTo>
                      <a:pt x="54102" y="197084"/>
                    </a:lnTo>
                    <a:lnTo>
                      <a:pt x="54197" y="197084"/>
                    </a:lnTo>
                    <a:cubicBezTo>
                      <a:pt x="54292" y="197941"/>
                      <a:pt x="55054" y="198608"/>
                      <a:pt x="56007" y="198608"/>
                    </a:cubicBezTo>
                    <a:lnTo>
                      <a:pt x="140779" y="198608"/>
                    </a:lnTo>
                    <a:cubicBezTo>
                      <a:pt x="141732" y="198608"/>
                      <a:pt x="142399" y="197941"/>
                      <a:pt x="142589" y="197084"/>
                    </a:cubicBezTo>
                    <a:lnTo>
                      <a:pt x="142684" y="197084"/>
                    </a:lnTo>
                    <a:lnTo>
                      <a:pt x="142684" y="196798"/>
                    </a:lnTo>
                    <a:lnTo>
                      <a:pt x="142684" y="170795"/>
                    </a:lnTo>
                    <a:lnTo>
                      <a:pt x="142684" y="170509"/>
                    </a:lnTo>
                    <a:cubicBezTo>
                      <a:pt x="142684" y="170509"/>
                      <a:pt x="142684" y="170509"/>
                      <a:pt x="142589" y="170509"/>
                    </a:cubicBezTo>
                    <a:cubicBezTo>
                      <a:pt x="142399" y="169652"/>
                      <a:pt x="141732" y="168985"/>
                      <a:pt x="140779" y="168985"/>
                    </a:cubicBezTo>
                    <a:lnTo>
                      <a:pt x="138589" y="168985"/>
                    </a:lnTo>
                    <a:cubicBezTo>
                      <a:pt x="131921" y="167937"/>
                      <a:pt x="123158" y="163937"/>
                      <a:pt x="122777" y="160698"/>
                    </a:cubicBezTo>
                    <a:lnTo>
                      <a:pt x="122777" y="115454"/>
                    </a:lnTo>
                    <a:lnTo>
                      <a:pt x="167068" y="46874"/>
                    </a:lnTo>
                    <a:cubicBezTo>
                      <a:pt x="167068" y="46874"/>
                      <a:pt x="174879" y="36397"/>
                      <a:pt x="177260" y="33635"/>
                    </a:cubicBezTo>
                    <a:cubicBezTo>
                      <a:pt x="180022" y="30491"/>
                      <a:pt x="182975" y="28872"/>
                      <a:pt x="185547" y="28015"/>
                    </a:cubicBezTo>
                    <a:lnTo>
                      <a:pt x="192214" y="26967"/>
                    </a:lnTo>
                    <a:cubicBezTo>
                      <a:pt x="197263" y="27253"/>
                      <a:pt x="197167" y="25253"/>
                      <a:pt x="197167" y="21919"/>
                    </a:cubicBezTo>
                    <a:lnTo>
                      <a:pt x="197167" y="6107"/>
                    </a:lnTo>
                    <a:cubicBezTo>
                      <a:pt x="197358" y="583"/>
                      <a:pt x="195739" y="11"/>
                      <a:pt x="191167" y="11"/>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18" name="Freeform 117">
                <a:extLst>
                  <a:ext uri="{FF2B5EF4-FFF2-40B4-BE49-F238E27FC236}">
                    <a16:creationId xmlns:a16="http://schemas.microsoft.com/office/drawing/2014/main" id="{51BEB0CB-0836-8A46-B52B-E9D4EA4E04DF}"/>
                  </a:ext>
                </a:extLst>
              </p:cNvPr>
              <p:cNvSpPr/>
              <p:nvPr/>
            </p:nvSpPr>
            <p:spPr>
              <a:xfrm>
                <a:off x="2248578" y="6302743"/>
                <a:ext cx="71625" cy="87157"/>
              </a:xfrm>
              <a:custGeom>
                <a:avLst/>
                <a:gdLst>
                  <a:gd name="connsiteX0" fmla="*/ 161258 w 161795"/>
                  <a:gd name="connsiteY0" fmla="*/ 166116 h 196881"/>
                  <a:gd name="connsiteX1" fmla="*/ 161258 w 161795"/>
                  <a:gd name="connsiteY1" fmla="*/ 124968 h 196881"/>
                  <a:gd name="connsiteX2" fmla="*/ 155163 w 161795"/>
                  <a:gd name="connsiteY2" fmla="*/ 118872 h 196881"/>
                  <a:gd name="connsiteX3" fmla="*/ 139351 w 161795"/>
                  <a:gd name="connsiteY3" fmla="*/ 118872 h 196881"/>
                  <a:gd name="connsiteX4" fmla="*/ 133255 w 161795"/>
                  <a:gd name="connsiteY4" fmla="*/ 124968 h 196881"/>
                  <a:gd name="connsiteX5" fmla="*/ 133255 w 161795"/>
                  <a:gd name="connsiteY5" fmla="*/ 132874 h 196881"/>
                  <a:gd name="connsiteX6" fmla="*/ 130683 w 161795"/>
                  <a:gd name="connsiteY6" fmla="*/ 143351 h 196881"/>
                  <a:gd name="connsiteX7" fmla="*/ 112395 w 161795"/>
                  <a:gd name="connsiteY7" fmla="*/ 160115 h 196881"/>
                  <a:gd name="connsiteX8" fmla="*/ 89440 w 161795"/>
                  <a:gd name="connsiteY8" fmla="*/ 162687 h 196881"/>
                  <a:gd name="connsiteX9" fmla="*/ 89440 w 161795"/>
                  <a:gd name="connsiteY9" fmla="*/ 162782 h 196881"/>
                  <a:gd name="connsiteX10" fmla="*/ 68485 w 161795"/>
                  <a:gd name="connsiteY10" fmla="*/ 162782 h 196881"/>
                  <a:gd name="connsiteX11" fmla="*/ 64484 w 161795"/>
                  <a:gd name="connsiteY11" fmla="*/ 157639 h 196881"/>
                  <a:gd name="connsiteX12" fmla="*/ 64484 w 161795"/>
                  <a:gd name="connsiteY12" fmla="*/ 39243 h 196881"/>
                  <a:gd name="connsiteX13" fmla="*/ 83534 w 161795"/>
                  <a:gd name="connsiteY13" fmla="*/ 28480 h 196881"/>
                  <a:gd name="connsiteX14" fmla="*/ 85440 w 161795"/>
                  <a:gd name="connsiteY14" fmla="*/ 27718 h 196881"/>
                  <a:gd name="connsiteX15" fmla="*/ 85820 w 161795"/>
                  <a:gd name="connsiteY15" fmla="*/ 25813 h 196881"/>
                  <a:gd name="connsiteX16" fmla="*/ 85630 w 161795"/>
                  <a:gd name="connsiteY16" fmla="*/ 1810 h 196881"/>
                  <a:gd name="connsiteX17" fmla="*/ 83820 w 161795"/>
                  <a:gd name="connsiteY17" fmla="*/ 0 h 196881"/>
                  <a:gd name="connsiteX18" fmla="*/ 2000 w 161795"/>
                  <a:gd name="connsiteY18" fmla="*/ 0 h 196881"/>
                  <a:gd name="connsiteX19" fmla="*/ 191 w 161795"/>
                  <a:gd name="connsiteY19" fmla="*/ 1810 h 196881"/>
                  <a:gd name="connsiteX20" fmla="*/ 0 w 161795"/>
                  <a:gd name="connsiteY20" fmla="*/ 25813 h 196881"/>
                  <a:gd name="connsiteX21" fmla="*/ 381 w 161795"/>
                  <a:gd name="connsiteY21" fmla="*/ 27718 h 196881"/>
                  <a:gd name="connsiteX22" fmla="*/ 2286 w 161795"/>
                  <a:gd name="connsiteY22" fmla="*/ 28480 h 196881"/>
                  <a:gd name="connsiteX23" fmla="*/ 21336 w 161795"/>
                  <a:gd name="connsiteY23" fmla="*/ 39243 h 196881"/>
                  <a:gd name="connsiteX24" fmla="*/ 21336 w 161795"/>
                  <a:gd name="connsiteY24" fmla="*/ 157639 h 196881"/>
                  <a:gd name="connsiteX25" fmla="*/ 2286 w 161795"/>
                  <a:gd name="connsiteY25" fmla="*/ 168402 h 196881"/>
                  <a:gd name="connsiteX26" fmla="*/ 381 w 161795"/>
                  <a:gd name="connsiteY26" fmla="*/ 169164 h 196881"/>
                  <a:gd name="connsiteX27" fmla="*/ 0 w 161795"/>
                  <a:gd name="connsiteY27" fmla="*/ 171069 h 196881"/>
                  <a:gd name="connsiteX28" fmla="*/ 191 w 161795"/>
                  <a:gd name="connsiteY28" fmla="*/ 195072 h 196881"/>
                  <a:gd name="connsiteX29" fmla="*/ 2000 w 161795"/>
                  <a:gd name="connsiteY29" fmla="*/ 196882 h 196881"/>
                  <a:gd name="connsiteX30" fmla="*/ 67437 w 161795"/>
                  <a:gd name="connsiteY30" fmla="*/ 196882 h 196881"/>
                  <a:gd name="connsiteX31" fmla="*/ 67533 w 161795"/>
                  <a:gd name="connsiteY31" fmla="*/ 196882 h 196881"/>
                  <a:gd name="connsiteX32" fmla="*/ 155639 w 161795"/>
                  <a:gd name="connsiteY32" fmla="*/ 196882 h 196881"/>
                  <a:gd name="connsiteX33" fmla="*/ 161735 w 161795"/>
                  <a:gd name="connsiteY33" fmla="*/ 190786 h 196881"/>
                  <a:gd name="connsiteX34" fmla="*/ 161735 w 161795"/>
                  <a:gd name="connsiteY34" fmla="*/ 168878 h 196881"/>
                  <a:gd name="connsiteX35" fmla="*/ 161258 w 161795"/>
                  <a:gd name="connsiteY35" fmla="*/ 166116 h 19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881">
                    <a:moveTo>
                      <a:pt x="161258" y="166116"/>
                    </a:moveTo>
                    <a:lnTo>
                      <a:pt x="161258" y="124968"/>
                    </a:lnTo>
                    <a:cubicBezTo>
                      <a:pt x="161258" y="121634"/>
                      <a:pt x="158496" y="118872"/>
                      <a:pt x="155163" y="118872"/>
                    </a:cubicBezTo>
                    <a:lnTo>
                      <a:pt x="139351" y="118872"/>
                    </a:lnTo>
                    <a:cubicBezTo>
                      <a:pt x="136017" y="118872"/>
                      <a:pt x="133255" y="121634"/>
                      <a:pt x="133255" y="124968"/>
                    </a:cubicBezTo>
                    <a:lnTo>
                      <a:pt x="133255" y="132874"/>
                    </a:lnTo>
                    <a:cubicBezTo>
                      <a:pt x="132969" y="136493"/>
                      <a:pt x="132112" y="140399"/>
                      <a:pt x="130683" y="143351"/>
                    </a:cubicBezTo>
                    <a:cubicBezTo>
                      <a:pt x="126588" y="151543"/>
                      <a:pt x="116396" y="158591"/>
                      <a:pt x="112395" y="160115"/>
                    </a:cubicBezTo>
                    <a:cubicBezTo>
                      <a:pt x="102394" y="163830"/>
                      <a:pt x="89440" y="162687"/>
                      <a:pt x="89440" y="162687"/>
                    </a:cubicBezTo>
                    <a:lnTo>
                      <a:pt x="89440" y="162782"/>
                    </a:lnTo>
                    <a:lnTo>
                      <a:pt x="68485" y="162782"/>
                    </a:lnTo>
                    <a:cubicBezTo>
                      <a:pt x="66104" y="161163"/>
                      <a:pt x="64484" y="159353"/>
                      <a:pt x="64484" y="157639"/>
                    </a:cubicBezTo>
                    <a:lnTo>
                      <a:pt x="64484" y="39243"/>
                    </a:lnTo>
                    <a:cubicBezTo>
                      <a:pt x="64484" y="34576"/>
                      <a:pt x="75248" y="29813"/>
                      <a:pt x="83534" y="28480"/>
                    </a:cubicBezTo>
                    <a:cubicBezTo>
                      <a:pt x="83534" y="28480"/>
                      <a:pt x="84868" y="28575"/>
                      <a:pt x="85440" y="27718"/>
                    </a:cubicBezTo>
                    <a:cubicBezTo>
                      <a:pt x="86011" y="26861"/>
                      <a:pt x="85725" y="25813"/>
                      <a:pt x="85820" y="25813"/>
                    </a:cubicBezTo>
                    <a:lnTo>
                      <a:pt x="85630" y="1810"/>
                    </a:lnTo>
                    <a:cubicBezTo>
                      <a:pt x="85630" y="762"/>
                      <a:pt x="84773" y="0"/>
                      <a:pt x="83820" y="0"/>
                    </a:cubicBezTo>
                    <a:lnTo>
                      <a:pt x="2000" y="0"/>
                    </a:lnTo>
                    <a:cubicBezTo>
                      <a:pt x="953" y="0"/>
                      <a:pt x="191" y="857"/>
                      <a:pt x="191" y="1810"/>
                    </a:cubicBezTo>
                    <a:lnTo>
                      <a:pt x="0" y="25813"/>
                    </a:lnTo>
                    <a:cubicBezTo>
                      <a:pt x="95" y="25813"/>
                      <a:pt x="-190" y="26861"/>
                      <a:pt x="381" y="27718"/>
                    </a:cubicBezTo>
                    <a:cubicBezTo>
                      <a:pt x="953" y="28575"/>
                      <a:pt x="2286" y="28480"/>
                      <a:pt x="2286" y="28480"/>
                    </a:cubicBezTo>
                    <a:cubicBezTo>
                      <a:pt x="10573" y="29813"/>
                      <a:pt x="21336" y="34576"/>
                      <a:pt x="21336" y="39243"/>
                    </a:cubicBezTo>
                    <a:lnTo>
                      <a:pt x="21336" y="157639"/>
                    </a:lnTo>
                    <a:cubicBezTo>
                      <a:pt x="21336" y="162306"/>
                      <a:pt x="10478" y="167069"/>
                      <a:pt x="2286" y="168402"/>
                    </a:cubicBezTo>
                    <a:cubicBezTo>
                      <a:pt x="2286" y="168402"/>
                      <a:pt x="953" y="168307"/>
                      <a:pt x="381" y="169164"/>
                    </a:cubicBezTo>
                    <a:cubicBezTo>
                      <a:pt x="-190" y="170021"/>
                      <a:pt x="95" y="171069"/>
                      <a:pt x="0" y="171069"/>
                    </a:cubicBezTo>
                    <a:lnTo>
                      <a:pt x="191" y="195072"/>
                    </a:lnTo>
                    <a:cubicBezTo>
                      <a:pt x="191" y="196120"/>
                      <a:pt x="1048" y="196882"/>
                      <a:pt x="2000" y="196882"/>
                    </a:cubicBezTo>
                    <a:lnTo>
                      <a:pt x="67437" y="196882"/>
                    </a:lnTo>
                    <a:cubicBezTo>
                      <a:pt x="67437" y="196882"/>
                      <a:pt x="67533" y="196882"/>
                      <a:pt x="67533" y="196882"/>
                    </a:cubicBezTo>
                    <a:lnTo>
                      <a:pt x="155639" y="196882"/>
                    </a:lnTo>
                    <a:cubicBezTo>
                      <a:pt x="158972" y="196882"/>
                      <a:pt x="161735" y="194120"/>
                      <a:pt x="161735" y="190786"/>
                    </a:cubicBezTo>
                    <a:lnTo>
                      <a:pt x="161735" y="168878"/>
                    </a:lnTo>
                    <a:cubicBezTo>
                      <a:pt x="161925" y="167831"/>
                      <a:pt x="161640" y="166878"/>
                      <a:pt x="161258" y="1661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19" name="Freeform 118">
                <a:extLst>
                  <a:ext uri="{FF2B5EF4-FFF2-40B4-BE49-F238E27FC236}">
                    <a16:creationId xmlns:a16="http://schemas.microsoft.com/office/drawing/2014/main" id="{1EFB5B16-D796-2042-A00D-6F3C2C7053C8}"/>
                  </a:ext>
                </a:extLst>
              </p:cNvPr>
              <p:cNvSpPr/>
              <p:nvPr/>
            </p:nvSpPr>
            <p:spPr>
              <a:xfrm>
                <a:off x="1972728" y="6302911"/>
                <a:ext cx="71625" cy="86988"/>
              </a:xfrm>
              <a:custGeom>
                <a:avLst/>
                <a:gdLst>
                  <a:gd name="connsiteX0" fmla="*/ 161258 w 161795"/>
                  <a:gd name="connsiteY0" fmla="*/ 165735 h 196500"/>
                  <a:gd name="connsiteX1" fmla="*/ 161258 w 161795"/>
                  <a:gd name="connsiteY1" fmla="*/ 124587 h 196500"/>
                  <a:gd name="connsiteX2" fmla="*/ 155162 w 161795"/>
                  <a:gd name="connsiteY2" fmla="*/ 118491 h 196500"/>
                  <a:gd name="connsiteX3" fmla="*/ 139351 w 161795"/>
                  <a:gd name="connsiteY3" fmla="*/ 118491 h 196500"/>
                  <a:gd name="connsiteX4" fmla="*/ 133255 w 161795"/>
                  <a:gd name="connsiteY4" fmla="*/ 124587 h 196500"/>
                  <a:gd name="connsiteX5" fmla="*/ 133255 w 161795"/>
                  <a:gd name="connsiteY5" fmla="*/ 132493 h 196500"/>
                  <a:gd name="connsiteX6" fmla="*/ 130683 w 161795"/>
                  <a:gd name="connsiteY6" fmla="*/ 142970 h 196500"/>
                  <a:gd name="connsiteX7" fmla="*/ 112395 w 161795"/>
                  <a:gd name="connsiteY7" fmla="*/ 159734 h 196500"/>
                  <a:gd name="connsiteX8" fmla="*/ 89440 w 161795"/>
                  <a:gd name="connsiteY8" fmla="*/ 162306 h 196500"/>
                  <a:gd name="connsiteX9" fmla="*/ 89440 w 161795"/>
                  <a:gd name="connsiteY9" fmla="*/ 162401 h 196500"/>
                  <a:gd name="connsiteX10" fmla="*/ 68485 w 161795"/>
                  <a:gd name="connsiteY10" fmla="*/ 162401 h 196500"/>
                  <a:gd name="connsiteX11" fmla="*/ 64484 w 161795"/>
                  <a:gd name="connsiteY11" fmla="*/ 157258 h 196500"/>
                  <a:gd name="connsiteX12" fmla="*/ 64484 w 161795"/>
                  <a:gd name="connsiteY12" fmla="*/ 39243 h 196500"/>
                  <a:gd name="connsiteX13" fmla="*/ 83534 w 161795"/>
                  <a:gd name="connsiteY13" fmla="*/ 28480 h 196500"/>
                  <a:gd name="connsiteX14" fmla="*/ 85439 w 161795"/>
                  <a:gd name="connsiteY14" fmla="*/ 27718 h 196500"/>
                  <a:gd name="connsiteX15" fmla="*/ 85820 w 161795"/>
                  <a:gd name="connsiteY15" fmla="*/ 25813 h 196500"/>
                  <a:gd name="connsiteX16" fmla="*/ 85630 w 161795"/>
                  <a:gd name="connsiteY16" fmla="*/ 1810 h 196500"/>
                  <a:gd name="connsiteX17" fmla="*/ 83820 w 161795"/>
                  <a:gd name="connsiteY17" fmla="*/ 0 h 196500"/>
                  <a:gd name="connsiteX18" fmla="*/ 2000 w 161795"/>
                  <a:gd name="connsiteY18" fmla="*/ 0 h 196500"/>
                  <a:gd name="connsiteX19" fmla="*/ 190 w 161795"/>
                  <a:gd name="connsiteY19" fmla="*/ 1810 h 196500"/>
                  <a:gd name="connsiteX20" fmla="*/ 0 w 161795"/>
                  <a:gd name="connsiteY20" fmla="*/ 25813 h 196500"/>
                  <a:gd name="connsiteX21" fmla="*/ 381 w 161795"/>
                  <a:gd name="connsiteY21" fmla="*/ 27718 h 196500"/>
                  <a:gd name="connsiteX22" fmla="*/ 2286 w 161795"/>
                  <a:gd name="connsiteY22" fmla="*/ 28480 h 196500"/>
                  <a:gd name="connsiteX23" fmla="*/ 21336 w 161795"/>
                  <a:gd name="connsiteY23" fmla="*/ 39243 h 196500"/>
                  <a:gd name="connsiteX24" fmla="*/ 21336 w 161795"/>
                  <a:gd name="connsiteY24" fmla="*/ 157258 h 196500"/>
                  <a:gd name="connsiteX25" fmla="*/ 2286 w 161795"/>
                  <a:gd name="connsiteY25" fmla="*/ 168021 h 196500"/>
                  <a:gd name="connsiteX26" fmla="*/ 381 w 161795"/>
                  <a:gd name="connsiteY26" fmla="*/ 168783 h 196500"/>
                  <a:gd name="connsiteX27" fmla="*/ 0 w 161795"/>
                  <a:gd name="connsiteY27" fmla="*/ 170688 h 196500"/>
                  <a:gd name="connsiteX28" fmla="*/ 190 w 161795"/>
                  <a:gd name="connsiteY28" fmla="*/ 194691 h 196500"/>
                  <a:gd name="connsiteX29" fmla="*/ 2000 w 161795"/>
                  <a:gd name="connsiteY29" fmla="*/ 196501 h 196500"/>
                  <a:gd name="connsiteX30" fmla="*/ 67437 w 161795"/>
                  <a:gd name="connsiteY30" fmla="*/ 196501 h 196500"/>
                  <a:gd name="connsiteX31" fmla="*/ 67532 w 161795"/>
                  <a:gd name="connsiteY31" fmla="*/ 196501 h 196500"/>
                  <a:gd name="connsiteX32" fmla="*/ 155638 w 161795"/>
                  <a:gd name="connsiteY32" fmla="*/ 196501 h 196500"/>
                  <a:gd name="connsiteX33" fmla="*/ 161735 w 161795"/>
                  <a:gd name="connsiteY33" fmla="*/ 190405 h 196500"/>
                  <a:gd name="connsiteX34" fmla="*/ 161735 w 161795"/>
                  <a:gd name="connsiteY34" fmla="*/ 168497 h 196500"/>
                  <a:gd name="connsiteX35" fmla="*/ 161258 w 161795"/>
                  <a:gd name="connsiteY35" fmla="*/ 165735 h 19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500">
                    <a:moveTo>
                      <a:pt x="161258" y="165735"/>
                    </a:moveTo>
                    <a:lnTo>
                      <a:pt x="161258" y="124587"/>
                    </a:lnTo>
                    <a:cubicBezTo>
                      <a:pt x="161258" y="121253"/>
                      <a:pt x="158496" y="118491"/>
                      <a:pt x="155162" y="118491"/>
                    </a:cubicBezTo>
                    <a:lnTo>
                      <a:pt x="139351" y="118491"/>
                    </a:lnTo>
                    <a:cubicBezTo>
                      <a:pt x="136017" y="118491"/>
                      <a:pt x="133255" y="121253"/>
                      <a:pt x="133255" y="124587"/>
                    </a:cubicBezTo>
                    <a:lnTo>
                      <a:pt x="133255" y="132493"/>
                    </a:lnTo>
                    <a:cubicBezTo>
                      <a:pt x="132969" y="136112"/>
                      <a:pt x="132112" y="140017"/>
                      <a:pt x="130683" y="142970"/>
                    </a:cubicBezTo>
                    <a:cubicBezTo>
                      <a:pt x="126587" y="151162"/>
                      <a:pt x="116396" y="158210"/>
                      <a:pt x="112395" y="159734"/>
                    </a:cubicBezTo>
                    <a:cubicBezTo>
                      <a:pt x="102489" y="163449"/>
                      <a:pt x="89440" y="162306"/>
                      <a:pt x="89440" y="162306"/>
                    </a:cubicBezTo>
                    <a:lnTo>
                      <a:pt x="89440" y="162401"/>
                    </a:lnTo>
                    <a:lnTo>
                      <a:pt x="68485" y="162401"/>
                    </a:lnTo>
                    <a:cubicBezTo>
                      <a:pt x="66104" y="160782"/>
                      <a:pt x="64484" y="158972"/>
                      <a:pt x="64484" y="157258"/>
                    </a:cubicBezTo>
                    <a:lnTo>
                      <a:pt x="64484" y="39243"/>
                    </a:lnTo>
                    <a:cubicBezTo>
                      <a:pt x="64484" y="34576"/>
                      <a:pt x="75247" y="29813"/>
                      <a:pt x="83534" y="28480"/>
                    </a:cubicBezTo>
                    <a:cubicBezTo>
                      <a:pt x="83534" y="28480"/>
                      <a:pt x="84868" y="28480"/>
                      <a:pt x="85439" y="27718"/>
                    </a:cubicBezTo>
                    <a:cubicBezTo>
                      <a:pt x="86011" y="26956"/>
                      <a:pt x="85725" y="25813"/>
                      <a:pt x="85820" y="25813"/>
                    </a:cubicBezTo>
                    <a:lnTo>
                      <a:pt x="85630" y="1810"/>
                    </a:lnTo>
                    <a:cubicBezTo>
                      <a:pt x="85630" y="762"/>
                      <a:pt x="84772" y="0"/>
                      <a:pt x="83820" y="0"/>
                    </a:cubicBezTo>
                    <a:lnTo>
                      <a:pt x="2000" y="0"/>
                    </a:lnTo>
                    <a:cubicBezTo>
                      <a:pt x="953" y="0"/>
                      <a:pt x="190" y="857"/>
                      <a:pt x="190" y="1810"/>
                    </a:cubicBezTo>
                    <a:lnTo>
                      <a:pt x="0" y="25813"/>
                    </a:lnTo>
                    <a:cubicBezTo>
                      <a:pt x="95" y="25813"/>
                      <a:pt x="-190" y="26956"/>
                      <a:pt x="381" y="27718"/>
                    </a:cubicBezTo>
                    <a:cubicBezTo>
                      <a:pt x="953" y="28575"/>
                      <a:pt x="2286" y="28480"/>
                      <a:pt x="2286" y="28480"/>
                    </a:cubicBezTo>
                    <a:cubicBezTo>
                      <a:pt x="10573" y="29813"/>
                      <a:pt x="21336" y="34576"/>
                      <a:pt x="21336" y="39243"/>
                    </a:cubicBezTo>
                    <a:lnTo>
                      <a:pt x="21336" y="157258"/>
                    </a:lnTo>
                    <a:cubicBezTo>
                      <a:pt x="21336" y="161925"/>
                      <a:pt x="10573" y="166688"/>
                      <a:pt x="2286" y="168021"/>
                    </a:cubicBezTo>
                    <a:cubicBezTo>
                      <a:pt x="2286" y="168021"/>
                      <a:pt x="953" y="167926"/>
                      <a:pt x="381" y="168783"/>
                    </a:cubicBezTo>
                    <a:cubicBezTo>
                      <a:pt x="-190" y="169640"/>
                      <a:pt x="95" y="170688"/>
                      <a:pt x="0" y="170688"/>
                    </a:cubicBezTo>
                    <a:lnTo>
                      <a:pt x="190" y="194691"/>
                    </a:lnTo>
                    <a:cubicBezTo>
                      <a:pt x="190" y="195739"/>
                      <a:pt x="1048" y="196501"/>
                      <a:pt x="2000" y="196501"/>
                    </a:cubicBezTo>
                    <a:lnTo>
                      <a:pt x="67437" y="196501"/>
                    </a:lnTo>
                    <a:cubicBezTo>
                      <a:pt x="67437" y="196501"/>
                      <a:pt x="67532" y="196501"/>
                      <a:pt x="67532" y="196501"/>
                    </a:cubicBezTo>
                    <a:lnTo>
                      <a:pt x="155638" y="196501"/>
                    </a:lnTo>
                    <a:cubicBezTo>
                      <a:pt x="158972" y="196501"/>
                      <a:pt x="161735" y="193738"/>
                      <a:pt x="161735" y="190405"/>
                    </a:cubicBezTo>
                    <a:lnTo>
                      <a:pt x="161735" y="168497"/>
                    </a:lnTo>
                    <a:cubicBezTo>
                      <a:pt x="161925" y="167450"/>
                      <a:pt x="161639" y="166497"/>
                      <a:pt x="161258" y="165735"/>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0" name="Freeform 119">
                <a:extLst>
                  <a:ext uri="{FF2B5EF4-FFF2-40B4-BE49-F238E27FC236}">
                    <a16:creationId xmlns:a16="http://schemas.microsoft.com/office/drawing/2014/main" id="{639438F8-C7EA-DC49-96DC-55F2DDB17FF0}"/>
                  </a:ext>
                </a:extLst>
              </p:cNvPr>
              <p:cNvSpPr/>
              <p:nvPr/>
            </p:nvSpPr>
            <p:spPr>
              <a:xfrm>
                <a:off x="2315496" y="6302659"/>
                <a:ext cx="98036" cy="88591"/>
              </a:xfrm>
              <a:custGeom>
                <a:avLst/>
                <a:gdLst>
                  <a:gd name="connsiteX0" fmla="*/ 110680 w 221456"/>
                  <a:gd name="connsiteY0" fmla="*/ 165259 h 200120"/>
                  <a:gd name="connsiteX1" fmla="*/ 90488 w 221456"/>
                  <a:gd name="connsiteY1" fmla="*/ 164306 h 200120"/>
                  <a:gd name="connsiteX2" fmla="*/ 74009 w 221456"/>
                  <a:gd name="connsiteY2" fmla="*/ 154114 h 200120"/>
                  <a:gd name="connsiteX3" fmla="*/ 72295 w 221456"/>
                  <a:gd name="connsiteY3" fmla="*/ 127444 h 200120"/>
                  <a:gd name="connsiteX4" fmla="*/ 72295 w 221456"/>
                  <a:gd name="connsiteY4" fmla="*/ 39243 h 200120"/>
                  <a:gd name="connsiteX5" fmla="*/ 91345 w 221456"/>
                  <a:gd name="connsiteY5" fmla="*/ 28480 h 200120"/>
                  <a:gd name="connsiteX6" fmla="*/ 93250 w 221456"/>
                  <a:gd name="connsiteY6" fmla="*/ 27718 h 200120"/>
                  <a:gd name="connsiteX7" fmla="*/ 93631 w 221456"/>
                  <a:gd name="connsiteY7" fmla="*/ 25813 h 200120"/>
                  <a:gd name="connsiteX8" fmla="*/ 93440 w 221456"/>
                  <a:gd name="connsiteY8" fmla="*/ 1810 h 200120"/>
                  <a:gd name="connsiteX9" fmla="*/ 91630 w 221456"/>
                  <a:gd name="connsiteY9" fmla="*/ 0 h 200120"/>
                  <a:gd name="connsiteX10" fmla="*/ 2000 w 221456"/>
                  <a:gd name="connsiteY10" fmla="*/ 0 h 200120"/>
                  <a:gd name="connsiteX11" fmla="*/ 191 w 221456"/>
                  <a:gd name="connsiteY11" fmla="*/ 1810 h 200120"/>
                  <a:gd name="connsiteX12" fmla="*/ 0 w 221456"/>
                  <a:gd name="connsiteY12" fmla="*/ 25813 h 200120"/>
                  <a:gd name="connsiteX13" fmla="*/ 381 w 221456"/>
                  <a:gd name="connsiteY13" fmla="*/ 27718 h 200120"/>
                  <a:gd name="connsiteX14" fmla="*/ 2286 w 221456"/>
                  <a:gd name="connsiteY14" fmla="*/ 28480 h 200120"/>
                  <a:gd name="connsiteX15" fmla="*/ 21336 w 221456"/>
                  <a:gd name="connsiteY15" fmla="*/ 39243 h 200120"/>
                  <a:gd name="connsiteX16" fmla="*/ 21336 w 221456"/>
                  <a:gd name="connsiteY16" fmla="*/ 122968 h 200120"/>
                  <a:gd name="connsiteX17" fmla="*/ 21241 w 221456"/>
                  <a:gd name="connsiteY17" fmla="*/ 123063 h 200120"/>
                  <a:gd name="connsiteX18" fmla="*/ 21241 w 221456"/>
                  <a:gd name="connsiteY18" fmla="*/ 140398 h 200120"/>
                  <a:gd name="connsiteX19" fmla="*/ 25432 w 221456"/>
                  <a:gd name="connsiteY19" fmla="*/ 172593 h 200120"/>
                  <a:gd name="connsiteX20" fmla="*/ 104585 w 221456"/>
                  <a:gd name="connsiteY20" fmla="*/ 200120 h 200120"/>
                  <a:gd name="connsiteX21" fmla="*/ 114491 w 221456"/>
                  <a:gd name="connsiteY21" fmla="*/ 200120 h 200120"/>
                  <a:gd name="connsiteX22" fmla="*/ 196025 w 221456"/>
                  <a:gd name="connsiteY22" fmla="*/ 172593 h 200120"/>
                  <a:gd name="connsiteX23" fmla="*/ 200216 w 221456"/>
                  <a:gd name="connsiteY23" fmla="*/ 140398 h 200120"/>
                  <a:gd name="connsiteX24" fmla="*/ 200216 w 221456"/>
                  <a:gd name="connsiteY24" fmla="*/ 123063 h 200120"/>
                  <a:gd name="connsiteX25" fmla="*/ 200120 w 221456"/>
                  <a:gd name="connsiteY25" fmla="*/ 122968 h 200120"/>
                  <a:gd name="connsiteX26" fmla="*/ 200120 w 221456"/>
                  <a:gd name="connsiteY26" fmla="*/ 39243 h 200120"/>
                  <a:gd name="connsiteX27" fmla="*/ 219170 w 221456"/>
                  <a:gd name="connsiteY27" fmla="*/ 28480 h 200120"/>
                  <a:gd name="connsiteX28" fmla="*/ 221075 w 221456"/>
                  <a:gd name="connsiteY28" fmla="*/ 27718 h 200120"/>
                  <a:gd name="connsiteX29" fmla="*/ 221456 w 221456"/>
                  <a:gd name="connsiteY29" fmla="*/ 25813 h 200120"/>
                  <a:gd name="connsiteX30" fmla="*/ 221266 w 221456"/>
                  <a:gd name="connsiteY30" fmla="*/ 1810 h 200120"/>
                  <a:gd name="connsiteX31" fmla="*/ 219456 w 221456"/>
                  <a:gd name="connsiteY31" fmla="*/ 0 h 200120"/>
                  <a:gd name="connsiteX32" fmla="*/ 129826 w 221456"/>
                  <a:gd name="connsiteY32" fmla="*/ 0 h 200120"/>
                  <a:gd name="connsiteX33" fmla="*/ 128016 w 221456"/>
                  <a:gd name="connsiteY33" fmla="*/ 1810 h 200120"/>
                  <a:gd name="connsiteX34" fmla="*/ 127826 w 221456"/>
                  <a:gd name="connsiteY34" fmla="*/ 25813 h 200120"/>
                  <a:gd name="connsiteX35" fmla="*/ 128207 w 221456"/>
                  <a:gd name="connsiteY35" fmla="*/ 27718 h 200120"/>
                  <a:gd name="connsiteX36" fmla="*/ 130112 w 221456"/>
                  <a:gd name="connsiteY36" fmla="*/ 28480 h 200120"/>
                  <a:gd name="connsiteX37" fmla="*/ 149162 w 221456"/>
                  <a:gd name="connsiteY37" fmla="*/ 39243 h 200120"/>
                  <a:gd name="connsiteX38" fmla="*/ 149162 w 221456"/>
                  <a:gd name="connsiteY38" fmla="*/ 127444 h 200120"/>
                  <a:gd name="connsiteX39" fmla="*/ 147447 w 221456"/>
                  <a:gd name="connsiteY39" fmla="*/ 154114 h 200120"/>
                  <a:gd name="connsiteX40" fmla="*/ 130969 w 221456"/>
                  <a:gd name="connsiteY40" fmla="*/ 164306 h 200120"/>
                  <a:gd name="connsiteX41" fmla="*/ 110680 w 221456"/>
                  <a:gd name="connsiteY41" fmla="*/ 165259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1456" h="200120">
                    <a:moveTo>
                      <a:pt x="110680" y="165259"/>
                    </a:moveTo>
                    <a:cubicBezTo>
                      <a:pt x="105252" y="165163"/>
                      <a:pt x="93917" y="164878"/>
                      <a:pt x="90488" y="164306"/>
                    </a:cubicBezTo>
                    <a:cubicBezTo>
                      <a:pt x="84677" y="163259"/>
                      <a:pt x="77534" y="160210"/>
                      <a:pt x="74009" y="154114"/>
                    </a:cubicBezTo>
                    <a:cubicBezTo>
                      <a:pt x="71152" y="149257"/>
                      <a:pt x="72580" y="132969"/>
                      <a:pt x="72295" y="127444"/>
                    </a:cubicBezTo>
                    <a:lnTo>
                      <a:pt x="72295" y="39243"/>
                    </a:lnTo>
                    <a:cubicBezTo>
                      <a:pt x="72295" y="34576"/>
                      <a:pt x="83058" y="29813"/>
                      <a:pt x="91345" y="28480"/>
                    </a:cubicBezTo>
                    <a:cubicBezTo>
                      <a:pt x="91345" y="28480"/>
                      <a:pt x="92679" y="28575"/>
                      <a:pt x="93250" y="27718"/>
                    </a:cubicBezTo>
                    <a:cubicBezTo>
                      <a:pt x="93822" y="26860"/>
                      <a:pt x="93536" y="25813"/>
                      <a:pt x="93631" y="25813"/>
                    </a:cubicBezTo>
                    <a:lnTo>
                      <a:pt x="93440" y="1810"/>
                    </a:lnTo>
                    <a:cubicBezTo>
                      <a:pt x="93440" y="762"/>
                      <a:pt x="92583" y="0"/>
                      <a:pt x="91630" y="0"/>
                    </a:cubicBezTo>
                    <a:lnTo>
                      <a:pt x="2000" y="0"/>
                    </a:lnTo>
                    <a:cubicBezTo>
                      <a:pt x="953" y="0"/>
                      <a:pt x="191" y="857"/>
                      <a:pt x="191" y="1810"/>
                    </a:cubicBezTo>
                    <a:lnTo>
                      <a:pt x="0" y="25813"/>
                    </a:lnTo>
                    <a:cubicBezTo>
                      <a:pt x="95" y="25813"/>
                      <a:pt x="-190" y="26860"/>
                      <a:pt x="381" y="27718"/>
                    </a:cubicBezTo>
                    <a:cubicBezTo>
                      <a:pt x="953" y="28575"/>
                      <a:pt x="2286" y="28480"/>
                      <a:pt x="2286" y="28480"/>
                    </a:cubicBezTo>
                    <a:cubicBezTo>
                      <a:pt x="10573" y="29813"/>
                      <a:pt x="21336" y="34576"/>
                      <a:pt x="21336" y="39243"/>
                    </a:cubicBezTo>
                    <a:lnTo>
                      <a:pt x="21336" y="122968"/>
                    </a:lnTo>
                    <a:lnTo>
                      <a:pt x="21241" y="123063"/>
                    </a:lnTo>
                    <a:lnTo>
                      <a:pt x="21241" y="140398"/>
                    </a:lnTo>
                    <a:cubicBezTo>
                      <a:pt x="21241" y="140398"/>
                      <a:pt x="20955" y="165544"/>
                      <a:pt x="25432" y="172593"/>
                    </a:cubicBezTo>
                    <a:cubicBezTo>
                      <a:pt x="36672" y="190214"/>
                      <a:pt x="53626" y="200120"/>
                      <a:pt x="104585" y="200120"/>
                    </a:cubicBezTo>
                    <a:cubicBezTo>
                      <a:pt x="104966" y="200120"/>
                      <a:pt x="114110" y="200120"/>
                      <a:pt x="114491" y="200120"/>
                    </a:cubicBezTo>
                    <a:cubicBezTo>
                      <a:pt x="165449" y="200120"/>
                      <a:pt x="184881" y="190214"/>
                      <a:pt x="196025" y="172593"/>
                    </a:cubicBezTo>
                    <a:cubicBezTo>
                      <a:pt x="200502" y="165544"/>
                      <a:pt x="200216" y="140398"/>
                      <a:pt x="200216" y="140398"/>
                    </a:cubicBezTo>
                    <a:lnTo>
                      <a:pt x="200216" y="123063"/>
                    </a:lnTo>
                    <a:lnTo>
                      <a:pt x="200120" y="122968"/>
                    </a:lnTo>
                    <a:lnTo>
                      <a:pt x="200120" y="39243"/>
                    </a:lnTo>
                    <a:cubicBezTo>
                      <a:pt x="200120" y="34576"/>
                      <a:pt x="210884" y="29813"/>
                      <a:pt x="219170" y="28480"/>
                    </a:cubicBezTo>
                    <a:cubicBezTo>
                      <a:pt x="219170" y="28480"/>
                      <a:pt x="220504" y="28575"/>
                      <a:pt x="221075" y="27718"/>
                    </a:cubicBezTo>
                    <a:cubicBezTo>
                      <a:pt x="221647" y="26860"/>
                      <a:pt x="221361" y="25813"/>
                      <a:pt x="221456" y="25813"/>
                    </a:cubicBezTo>
                    <a:lnTo>
                      <a:pt x="221266" y="1810"/>
                    </a:lnTo>
                    <a:cubicBezTo>
                      <a:pt x="221266" y="762"/>
                      <a:pt x="220409" y="0"/>
                      <a:pt x="219456" y="0"/>
                    </a:cubicBezTo>
                    <a:lnTo>
                      <a:pt x="129826" y="0"/>
                    </a:lnTo>
                    <a:cubicBezTo>
                      <a:pt x="128778" y="0"/>
                      <a:pt x="128016" y="857"/>
                      <a:pt x="128016" y="1810"/>
                    </a:cubicBezTo>
                    <a:lnTo>
                      <a:pt x="127826" y="25813"/>
                    </a:lnTo>
                    <a:cubicBezTo>
                      <a:pt x="127921" y="25813"/>
                      <a:pt x="127635" y="26860"/>
                      <a:pt x="128207" y="27718"/>
                    </a:cubicBezTo>
                    <a:cubicBezTo>
                      <a:pt x="128778" y="28575"/>
                      <a:pt x="130112" y="28480"/>
                      <a:pt x="130112" y="28480"/>
                    </a:cubicBezTo>
                    <a:cubicBezTo>
                      <a:pt x="138399" y="29813"/>
                      <a:pt x="149162" y="34576"/>
                      <a:pt x="149162" y="39243"/>
                    </a:cubicBezTo>
                    <a:lnTo>
                      <a:pt x="149162" y="127444"/>
                    </a:lnTo>
                    <a:cubicBezTo>
                      <a:pt x="148780" y="132969"/>
                      <a:pt x="150305" y="149257"/>
                      <a:pt x="147447" y="154114"/>
                    </a:cubicBezTo>
                    <a:cubicBezTo>
                      <a:pt x="143923" y="160210"/>
                      <a:pt x="136779" y="163259"/>
                      <a:pt x="130969" y="164306"/>
                    </a:cubicBezTo>
                    <a:cubicBezTo>
                      <a:pt x="127445" y="164973"/>
                      <a:pt x="116110" y="165163"/>
                      <a:pt x="110680" y="165259"/>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1" name="Freeform 120">
                <a:extLst>
                  <a:ext uri="{FF2B5EF4-FFF2-40B4-BE49-F238E27FC236}">
                    <a16:creationId xmlns:a16="http://schemas.microsoft.com/office/drawing/2014/main" id="{C84EB80B-E320-2549-8218-2227F6E0FF05}"/>
                  </a:ext>
                </a:extLst>
              </p:cNvPr>
              <p:cNvSpPr/>
              <p:nvPr/>
            </p:nvSpPr>
            <p:spPr>
              <a:xfrm>
                <a:off x="2162264" y="6300712"/>
                <a:ext cx="81085" cy="91322"/>
              </a:xfrm>
              <a:custGeom>
                <a:avLst/>
                <a:gdLst>
                  <a:gd name="connsiteX0" fmla="*/ 182689 w 183165"/>
                  <a:gd name="connsiteY0" fmla="*/ 146319 h 206289"/>
                  <a:gd name="connsiteX1" fmla="*/ 176593 w 183165"/>
                  <a:gd name="connsiteY1" fmla="*/ 140223 h 206289"/>
                  <a:gd name="connsiteX2" fmla="*/ 160782 w 183165"/>
                  <a:gd name="connsiteY2" fmla="*/ 140223 h 206289"/>
                  <a:gd name="connsiteX3" fmla="*/ 154686 w 183165"/>
                  <a:gd name="connsiteY3" fmla="*/ 146319 h 206289"/>
                  <a:gd name="connsiteX4" fmla="*/ 154686 w 183165"/>
                  <a:gd name="connsiteY4" fmla="*/ 148415 h 206289"/>
                  <a:gd name="connsiteX5" fmla="*/ 137922 w 183165"/>
                  <a:gd name="connsiteY5" fmla="*/ 169751 h 206289"/>
                  <a:gd name="connsiteX6" fmla="*/ 109918 w 183165"/>
                  <a:gd name="connsiteY6" fmla="*/ 174323 h 206289"/>
                  <a:gd name="connsiteX7" fmla="*/ 109251 w 183165"/>
                  <a:gd name="connsiteY7" fmla="*/ 174323 h 206289"/>
                  <a:gd name="connsiteX8" fmla="*/ 109156 w 183165"/>
                  <a:gd name="connsiteY8" fmla="*/ 174323 h 206289"/>
                  <a:gd name="connsiteX9" fmla="*/ 81153 w 183165"/>
                  <a:gd name="connsiteY9" fmla="*/ 169751 h 206289"/>
                  <a:gd name="connsiteX10" fmla="*/ 60770 w 183165"/>
                  <a:gd name="connsiteY10" fmla="*/ 146700 h 206289"/>
                  <a:gd name="connsiteX11" fmla="*/ 55054 w 183165"/>
                  <a:gd name="connsiteY11" fmla="*/ 101266 h 206289"/>
                  <a:gd name="connsiteX12" fmla="*/ 60770 w 183165"/>
                  <a:gd name="connsiteY12" fmla="*/ 52403 h 206289"/>
                  <a:gd name="connsiteX13" fmla="*/ 101632 w 183165"/>
                  <a:gd name="connsiteY13" fmla="*/ 31352 h 206289"/>
                  <a:gd name="connsiteX14" fmla="*/ 138684 w 183165"/>
                  <a:gd name="connsiteY14" fmla="*/ 45831 h 206289"/>
                  <a:gd name="connsiteX15" fmla="*/ 145542 w 183165"/>
                  <a:gd name="connsiteY15" fmla="*/ 58594 h 206289"/>
                  <a:gd name="connsiteX16" fmla="*/ 145542 w 183165"/>
                  <a:gd name="connsiteY16" fmla="*/ 60690 h 206289"/>
                  <a:gd name="connsiteX17" fmla="*/ 151638 w 183165"/>
                  <a:gd name="connsiteY17" fmla="*/ 66786 h 206289"/>
                  <a:gd name="connsiteX18" fmla="*/ 167450 w 183165"/>
                  <a:gd name="connsiteY18" fmla="*/ 66786 h 206289"/>
                  <a:gd name="connsiteX19" fmla="*/ 173545 w 183165"/>
                  <a:gd name="connsiteY19" fmla="*/ 60690 h 206289"/>
                  <a:gd name="connsiteX20" fmla="*/ 174021 w 183165"/>
                  <a:gd name="connsiteY20" fmla="*/ 13350 h 206289"/>
                  <a:gd name="connsiteX21" fmla="*/ 170688 w 183165"/>
                  <a:gd name="connsiteY21" fmla="*/ 6492 h 206289"/>
                  <a:gd name="connsiteX22" fmla="*/ 109633 w 183165"/>
                  <a:gd name="connsiteY22" fmla="*/ 15 h 206289"/>
                  <a:gd name="connsiteX23" fmla="*/ 38576 w 183165"/>
                  <a:gd name="connsiteY23" fmla="*/ 15255 h 206289"/>
                  <a:gd name="connsiteX24" fmla="*/ 0 w 183165"/>
                  <a:gd name="connsiteY24" fmla="*/ 98123 h 206289"/>
                  <a:gd name="connsiteX25" fmla="*/ 24384 w 183165"/>
                  <a:gd name="connsiteY25" fmla="*/ 179085 h 206289"/>
                  <a:gd name="connsiteX26" fmla="*/ 85249 w 183165"/>
                  <a:gd name="connsiteY26" fmla="*/ 204517 h 206289"/>
                  <a:gd name="connsiteX27" fmla="*/ 102298 w 183165"/>
                  <a:gd name="connsiteY27" fmla="*/ 205946 h 206289"/>
                  <a:gd name="connsiteX28" fmla="*/ 109251 w 183165"/>
                  <a:gd name="connsiteY28" fmla="*/ 206232 h 206289"/>
                  <a:gd name="connsiteX29" fmla="*/ 127540 w 183165"/>
                  <a:gd name="connsiteY29" fmla="*/ 205470 h 206289"/>
                  <a:gd name="connsiteX30" fmla="*/ 177069 w 183165"/>
                  <a:gd name="connsiteY30" fmla="*/ 199659 h 206289"/>
                  <a:gd name="connsiteX31" fmla="*/ 183166 w 183165"/>
                  <a:gd name="connsiteY31" fmla="*/ 193563 h 206289"/>
                  <a:gd name="connsiteX32" fmla="*/ 182689 w 183165"/>
                  <a:gd name="connsiteY32" fmla="*/ 146319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165" h="206289">
                    <a:moveTo>
                      <a:pt x="182689" y="146319"/>
                    </a:moveTo>
                    <a:cubicBezTo>
                      <a:pt x="182689" y="142986"/>
                      <a:pt x="179927" y="140223"/>
                      <a:pt x="176593" y="140223"/>
                    </a:cubicBezTo>
                    <a:lnTo>
                      <a:pt x="160782" y="140223"/>
                    </a:lnTo>
                    <a:cubicBezTo>
                      <a:pt x="157448" y="140223"/>
                      <a:pt x="154686" y="142986"/>
                      <a:pt x="154686" y="146319"/>
                    </a:cubicBezTo>
                    <a:lnTo>
                      <a:pt x="154686" y="148415"/>
                    </a:lnTo>
                    <a:cubicBezTo>
                      <a:pt x="154305" y="157178"/>
                      <a:pt x="143542" y="167465"/>
                      <a:pt x="137922" y="169751"/>
                    </a:cubicBezTo>
                    <a:cubicBezTo>
                      <a:pt x="127730" y="173847"/>
                      <a:pt x="124206" y="173847"/>
                      <a:pt x="109918" y="174323"/>
                    </a:cubicBezTo>
                    <a:cubicBezTo>
                      <a:pt x="109728" y="174323"/>
                      <a:pt x="109538" y="174323"/>
                      <a:pt x="109251" y="174323"/>
                    </a:cubicBezTo>
                    <a:lnTo>
                      <a:pt x="109156" y="174323"/>
                    </a:lnTo>
                    <a:cubicBezTo>
                      <a:pt x="94869" y="173847"/>
                      <a:pt x="91344" y="173847"/>
                      <a:pt x="81153" y="169751"/>
                    </a:cubicBezTo>
                    <a:cubicBezTo>
                      <a:pt x="75438" y="167465"/>
                      <a:pt x="64198" y="155844"/>
                      <a:pt x="60770" y="146700"/>
                    </a:cubicBezTo>
                    <a:cubicBezTo>
                      <a:pt x="58293" y="139652"/>
                      <a:pt x="55054" y="130698"/>
                      <a:pt x="55054" y="101266"/>
                    </a:cubicBezTo>
                    <a:cubicBezTo>
                      <a:pt x="55054" y="71834"/>
                      <a:pt x="57150" y="58213"/>
                      <a:pt x="60770" y="52403"/>
                    </a:cubicBezTo>
                    <a:cubicBezTo>
                      <a:pt x="67246" y="42116"/>
                      <a:pt x="77534" y="31352"/>
                      <a:pt x="101632" y="31352"/>
                    </a:cubicBezTo>
                    <a:cubicBezTo>
                      <a:pt x="125730" y="31352"/>
                      <a:pt x="134493" y="40116"/>
                      <a:pt x="138684" y="45831"/>
                    </a:cubicBezTo>
                    <a:cubicBezTo>
                      <a:pt x="138684" y="45831"/>
                      <a:pt x="145161" y="51165"/>
                      <a:pt x="145542" y="58594"/>
                    </a:cubicBezTo>
                    <a:lnTo>
                      <a:pt x="145542" y="60690"/>
                    </a:lnTo>
                    <a:cubicBezTo>
                      <a:pt x="145542" y="64023"/>
                      <a:pt x="148304" y="66786"/>
                      <a:pt x="151638" y="66786"/>
                    </a:cubicBezTo>
                    <a:lnTo>
                      <a:pt x="167450" y="66786"/>
                    </a:lnTo>
                    <a:cubicBezTo>
                      <a:pt x="170783" y="66786"/>
                      <a:pt x="173545" y="64023"/>
                      <a:pt x="173545" y="60690"/>
                    </a:cubicBezTo>
                    <a:lnTo>
                      <a:pt x="174021" y="13350"/>
                    </a:lnTo>
                    <a:cubicBezTo>
                      <a:pt x="174021" y="13350"/>
                      <a:pt x="174879" y="9921"/>
                      <a:pt x="170688" y="6492"/>
                    </a:cubicBezTo>
                    <a:cubicBezTo>
                      <a:pt x="170688" y="6492"/>
                      <a:pt x="147733" y="-366"/>
                      <a:pt x="109633" y="15"/>
                    </a:cubicBezTo>
                    <a:cubicBezTo>
                      <a:pt x="77914" y="301"/>
                      <a:pt x="52006" y="6873"/>
                      <a:pt x="38576" y="15255"/>
                    </a:cubicBezTo>
                    <a:cubicBezTo>
                      <a:pt x="25241" y="23637"/>
                      <a:pt x="0" y="48117"/>
                      <a:pt x="0" y="98123"/>
                    </a:cubicBezTo>
                    <a:cubicBezTo>
                      <a:pt x="0" y="148129"/>
                      <a:pt x="11049" y="166512"/>
                      <a:pt x="24384" y="179085"/>
                    </a:cubicBezTo>
                    <a:cubicBezTo>
                      <a:pt x="35433" y="189468"/>
                      <a:pt x="51816" y="200326"/>
                      <a:pt x="85249" y="204517"/>
                    </a:cubicBezTo>
                    <a:cubicBezTo>
                      <a:pt x="86296" y="205374"/>
                      <a:pt x="95155" y="205946"/>
                      <a:pt x="102298" y="205946"/>
                    </a:cubicBezTo>
                    <a:cubicBezTo>
                      <a:pt x="104584" y="206041"/>
                      <a:pt x="106870" y="206136"/>
                      <a:pt x="109251" y="206232"/>
                    </a:cubicBezTo>
                    <a:cubicBezTo>
                      <a:pt x="116205" y="206422"/>
                      <a:pt x="122301" y="206136"/>
                      <a:pt x="127540" y="205470"/>
                    </a:cubicBezTo>
                    <a:cubicBezTo>
                      <a:pt x="167640" y="203946"/>
                      <a:pt x="177069" y="199659"/>
                      <a:pt x="177069" y="199659"/>
                    </a:cubicBezTo>
                    <a:cubicBezTo>
                      <a:pt x="180404" y="199659"/>
                      <a:pt x="183166" y="196897"/>
                      <a:pt x="183166" y="193563"/>
                    </a:cubicBezTo>
                    <a:lnTo>
                      <a:pt x="182689" y="146319"/>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2" name="Freeform 121">
                <a:extLst>
                  <a:ext uri="{FF2B5EF4-FFF2-40B4-BE49-F238E27FC236}">
                    <a16:creationId xmlns:a16="http://schemas.microsoft.com/office/drawing/2014/main" id="{2AF1DA7A-879A-4447-993C-DFE08790EF3C}"/>
                  </a:ext>
                </a:extLst>
              </p:cNvPr>
              <p:cNvSpPr/>
              <p:nvPr/>
            </p:nvSpPr>
            <p:spPr>
              <a:xfrm>
                <a:off x="1736261" y="6300670"/>
                <a:ext cx="85049" cy="91322"/>
              </a:xfrm>
              <a:custGeom>
                <a:avLst/>
                <a:gdLst>
                  <a:gd name="connsiteX0" fmla="*/ 191548 w 192119"/>
                  <a:gd name="connsiteY0" fmla="*/ 145843 h 206289"/>
                  <a:gd name="connsiteX1" fmla="*/ 192119 w 192119"/>
                  <a:gd name="connsiteY1" fmla="*/ 144890 h 206289"/>
                  <a:gd name="connsiteX2" fmla="*/ 191643 w 192119"/>
                  <a:gd name="connsiteY2" fmla="*/ 97551 h 206289"/>
                  <a:gd name="connsiteX3" fmla="*/ 185547 w 192119"/>
                  <a:gd name="connsiteY3" fmla="*/ 91455 h 206289"/>
                  <a:gd name="connsiteX4" fmla="*/ 114300 w 192119"/>
                  <a:gd name="connsiteY4" fmla="*/ 91455 h 206289"/>
                  <a:gd name="connsiteX5" fmla="*/ 108204 w 192119"/>
                  <a:gd name="connsiteY5" fmla="*/ 97551 h 206289"/>
                  <a:gd name="connsiteX6" fmla="*/ 108204 w 192119"/>
                  <a:gd name="connsiteY6" fmla="*/ 99647 h 206289"/>
                  <a:gd name="connsiteX7" fmla="*/ 108204 w 192119"/>
                  <a:gd name="connsiteY7" fmla="*/ 116030 h 206289"/>
                  <a:gd name="connsiteX8" fmla="*/ 108204 w 192119"/>
                  <a:gd name="connsiteY8" fmla="*/ 118125 h 206289"/>
                  <a:gd name="connsiteX9" fmla="*/ 114300 w 192119"/>
                  <a:gd name="connsiteY9" fmla="*/ 124221 h 206289"/>
                  <a:gd name="connsiteX10" fmla="*/ 141827 w 192119"/>
                  <a:gd name="connsiteY10" fmla="*/ 124221 h 206289"/>
                  <a:gd name="connsiteX11" fmla="*/ 141827 w 192119"/>
                  <a:gd name="connsiteY11" fmla="*/ 167560 h 206289"/>
                  <a:gd name="connsiteX12" fmla="*/ 138017 w 192119"/>
                  <a:gd name="connsiteY12" fmla="*/ 169751 h 206289"/>
                  <a:gd name="connsiteX13" fmla="*/ 110014 w 192119"/>
                  <a:gd name="connsiteY13" fmla="*/ 174323 h 206289"/>
                  <a:gd name="connsiteX14" fmla="*/ 109347 w 192119"/>
                  <a:gd name="connsiteY14" fmla="*/ 174323 h 206289"/>
                  <a:gd name="connsiteX15" fmla="*/ 109252 w 192119"/>
                  <a:gd name="connsiteY15" fmla="*/ 174323 h 206289"/>
                  <a:gd name="connsiteX16" fmla="*/ 81248 w 192119"/>
                  <a:gd name="connsiteY16" fmla="*/ 169751 h 206289"/>
                  <a:gd name="connsiteX17" fmla="*/ 60769 w 192119"/>
                  <a:gd name="connsiteY17" fmla="*/ 146700 h 206289"/>
                  <a:gd name="connsiteX18" fmla="*/ 55054 w 192119"/>
                  <a:gd name="connsiteY18" fmla="*/ 101266 h 206289"/>
                  <a:gd name="connsiteX19" fmla="*/ 60769 w 192119"/>
                  <a:gd name="connsiteY19" fmla="*/ 52403 h 206289"/>
                  <a:gd name="connsiteX20" fmla="*/ 101632 w 192119"/>
                  <a:gd name="connsiteY20" fmla="*/ 31353 h 206289"/>
                  <a:gd name="connsiteX21" fmla="*/ 138684 w 192119"/>
                  <a:gd name="connsiteY21" fmla="*/ 45831 h 206289"/>
                  <a:gd name="connsiteX22" fmla="*/ 145542 w 192119"/>
                  <a:gd name="connsiteY22" fmla="*/ 58594 h 206289"/>
                  <a:gd name="connsiteX23" fmla="*/ 145542 w 192119"/>
                  <a:gd name="connsiteY23" fmla="*/ 60690 h 206289"/>
                  <a:gd name="connsiteX24" fmla="*/ 151638 w 192119"/>
                  <a:gd name="connsiteY24" fmla="*/ 66786 h 206289"/>
                  <a:gd name="connsiteX25" fmla="*/ 167449 w 192119"/>
                  <a:gd name="connsiteY25" fmla="*/ 66786 h 206289"/>
                  <a:gd name="connsiteX26" fmla="*/ 173546 w 192119"/>
                  <a:gd name="connsiteY26" fmla="*/ 60690 h 206289"/>
                  <a:gd name="connsiteX27" fmla="*/ 174022 w 192119"/>
                  <a:gd name="connsiteY27" fmla="*/ 13350 h 206289"/>
                  <a:gd name="connsiteX28" fmla="*/ 170688 w 192119"/>
                  <a:gd name="connsiteY28" fmla="*/ 6492 h 206289"/>
                  <a:gd name="connsiteX29" fmla="*/ 109633 w 192119"/>
                  <a:gd name="connsiteY29" fmla="*/ 15 h 206289"/>
                  <a:gd name="connsiteX30" fmla="*/ 38576 w 192119"/>
                  <a:gd name="connsiteY30" fmla="*/ 15255 h 206289"/>
                  <a:gd name="connsiteX31" fmla="*/ 0 w 192119"/>
                  <a:gd name="connsiteY31" fmla="*/ 98123 h 206289"/>
                  <a:gd name="connsiteX32" fmla="*/ 24384 w 192119"/>
                  <a:gd name="connsiteY32" fmla="*/ 179085 h 206289"/>
                  <a:gd name="connsiteX33" fmla="*/ 85249 w 192119"/>
                  <a:gd name="connsiteY33" fmla="*/ 204517 h 206289"/>
                  <a:gd name="connsiteX34" fmla="*/ 102298 w 192119"/>
                  <a:gd name="connsiteY34" fmla="*/ 205946 h 206289"/>
                  <a:gd name="connsiteX35" fmla="*/ 109252 w 192119"/>
                  <a:gd name="connsiteY35" fmla="*/ 206232 h 206289"/>
                  <a:gd name="connsiteX36" fmla="*/ 127540 w 192119"/>
                  <a:gd name="connsiteY36" fmla="*/ 205469 h 206289"/>
                  <a:gd name="connsiteX37" fmla="*/ 185928 w 192119"/>
                  <a:gd name="connsiteY37" fmla="*/ 199659 h 206289"/>
                  <a:gd name="connsiteX38" fmla="*/ 192024 w 192119"/>
                  <a:gd name="connsiteY38" fmla="*/ 193563 h 206289"/>
                  <a:gd name="connsiteX39" fmla="*/ 191548 w 192119"/>
                  <a:gd name="connsiteY39" fmla="*/ 146224 h 206289"/>
                  <a:gd name="connsiteX40" fmla="*/ 191548 w 192119"/>
                  <a:gd name="connsiteY40" fmla="*/ 145843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2119" h="206289">
                    <a:moveTo>
                      <a:pt x="191548" y="145843"/>
                    </a:moveTo>
                    <a:lnTo>
                      <a:pt x="192119" y="144890"/>
                    </a:lnTo>
                    <a:lnTo>
                      <a:pt x="191643" y="97551"/>
                    </a:lnTo>
                    <a:cubicBezTo>
                      <a:pt x="191643" y="94218"/>
                      <a:pt x="188881" y="91455"/>
                      <a:pt x="185547" y="91455"/>
                    </a:cubicBezTo>
                    <a:lnTo>
                      <a:pt x="114300" y="91455"/>
                    </a:lnTo>
                    <a:cubicBezTo>
                      <a:pt x="110966" y="91455"/>
                      <a:pt x="108204" y="94218"/>
                      <a:pt x="108204" y="97551"/>
                    </a:cubicBezTo>
                    <a:lnTo>
                      <a:pt x="108204" y="99647"/>
                    </a:lnTo>
                    <a:lnTo>
                      <a:pt x="108204" y="116030"/>
                    </a:lnTo>
                    <a:lnTo>
                      <a:pt x="108204" y="118125"/>
                    </a:lnTo>
                    <a:cubicBezTo>
                      <a:pt x="108204" y="121459"/>
                      <a:pt x="110966" y="124221"/>
                      <a:pt x="114300" y="124221"/>
                    </a:cubicBezTo>
                    <a:lnTo>
                      <a:pt x="141827" y="124221"/>
                    </a:lnTo>
                    <a:lnTo>
                      <a:pt x="141827" y="167560"/>
                    </a:lnTo>
                    <a:cubicBezTo>
                      <a:pt x="140398" y="168513"/>
                      <a:pt x="139160" y="169274"/>
                      <a:pt x="138017" y="169751"/>
                    </a:cubicBezTo>
                    <a:cubicBezTo>
                      <a:pt x="127825" y="173847"/>
                      <a:pt x="124301" y="173847"/>
                      <a:pt x="110014" y="174323"/>
                    </a:cubicBezTo>
                    <a:cubicBezTo>
                      <a:pt x="109823" y="174323"/>
                      <a:pt x="109633" y="174323"/>
                      <a:pt x="109347" y="174323"/>
                    </a:cubicBezTo>
                    <a:lnTo>
                      <a:pt x="109252" y="174323"/>
                    </a:lnTo>
                    <a:cubicBezTo>
                      <a:pt x="94964" y="173847"/>
                      <a:pt x="91440" y="173847"/>
                      <a:pt x="81248" y="169751"/>
                    </a:cubicBezTo>
                    <a:cubicBezTo>
                      <a:pt x="75533" y="167465"/>
                      <a:pt x="64294" y="155844"/>
                      <a:pt x="60769" y="146700"/>
                    </a:cubicBezTo>
                    <a:cubicBezTo>
                      <a:pt x="58293" y="139652"/>
                      <a:pt x="55054" y="130698"/>
                      <a:pt x="55054" y="101266"/>
                    </a:cubicBezTo>
                    <a:cubicBezTo>
                      <a:pt x="55054" y="71834"/>
                      <a:pt x="57150" y="58213"/>
                      <a:pt x="60769" y="52403"/>
                    </a:cubicBezTo>
                    <a:cubicBezTo>
                      <a:pt x="67246" y="42116"/>
                      <a:pt x="77533" y="31353"/>
                      <a:pt x="101632" y="31353"/>
                    </a:cubicBezTo>
                    <a:cubicBezTo>
                      <a:pt x="125730" y="31353"/>
                      <a:pt x="134493" y="40115"/>
                      <a:pt x="138684" y="45831"/>
                    </a:cubicBezTo>
                    <a:cubicBezTo>
                      <a:pt x="138684" y="45831"/>
                      <a:pt x="145161" y="51165"/>
                      <a:pt x="145542" y="58594"/>
                    </a:cubicBezTo>
                    <a:lnTo>
                      <a:pt x="145542" y="60690"/>
                    </a:lnTo>
                    <a:cubicBezTo>
                      <a:pt x="145542" y="64023"/>
                      <a:pt x="148304" y="66786"/>
                      <a:pt x="151638" y="66786"/>
                    </a:cubicBezTo>
                    <a:lnTo>
                      <a:pt x="167449" y="66786"/>
                    </a:lnTo>
                    <a:cubicBezTo>
                      <a:pt x="170783" y="66786"/>
                      <a:pt x="173546" y="64023"/>
                      <a:pt x="173546" y="60690"/>
                    </a:cubicBezTo>
                    <a:lnTo>
                      <a:pt x="174022" y="13350"/>
                    </a:lnTo>
                    <a:cubicBezTo>
                      <a:pt x="174022" y="13350"/>
                      <a:pt x="174879" y="9921"/>
                      <a:pt x="170688" y="6492"/>
                    </a:cubicBezTo>
                    <a:cubicBezTo>
                      <a:pt x="170688" y="6492"/>
                      <a:pt x="147733" y="-366"/>
                      <a:pt x="109633" y="15"/>
                    </a:cubicBezTo>
                    <a:cubicBezTo>
                      <a:pt x="77914" y="301"/>
                      <a:pt x="52006" y="6873"/>
                      <a:pt x="38576" y="15255"/>
                    </a:cubicBezTo>
                    <a:cubicBezTo>
                      <a:pt x="25241" y="23637"/>
                      <a:pt x="0" y="48116"/>
                      <a:pt x="0" y="98123"/>
                    </a:cubicBezTo>
                    <a:cubicBezTo>
                      <a:pt x="0" y="148129"/>
                      <a:pt x="11049" y="166512"/>
                      <a:pt x="24384" y="179085"/>
                    </a:cubicBezTo>
                    <a:cubicBezTo>
                      <a:pt x="35433" y="189468"/>
                      <a:pt x="51911" y="200326"/>
                      <a:pt x="85249" y="204517"/>
                    </a:cubicBezTo>
                    <a:cubicBezTo>
                      <a:pt x="86296" y="205374"/>
                      <a:pt x="95155" y="205946"/>
                      <a:pt x="102298" y="205946"/>
                    </a:cubicBezTo>
                    <a:cubicBezTo>
                      <a:pt x="104584" y="206041"/>
                      <a:pt x="106775" y="206136"/>
                      <a:pt x="109252" y="206232"/>
                    </a:cubicBezTo>
                    <a:cubicBezTo>
                      <a:pt x="116205" y="206422"/>
                      <a:pt x="122301" y="206136"/>
                      <a:pt x="127540" y="205469"/>
                    </a:cubicBezTo>
                    <a:cubicBezTo>
                      <a:pt x="167640" y="203945"/>
                      <a:pt x="185928" y="199659"/>
                      <a:pt x="185928" y="199659"/>
                    </a:cubicBezTo>
                    <a:cubicBezTo>
                      <a:pt x="189262" y="199659"/>
                      <a:pt x="192024" y="196897"/>
                      <a:pt x="192024" y="193563"/>
                    </a:cubicBezTo>
                    <a:lnTo>
                      <a:pt x="191548" y="146224"/>
                    </a:lnTo>
                    <a:cubicBezTo>
                      <a:pt x="191643" y="146224"/>
                      <a:pt x="191643" y="146034"/>
                      <a:pt x="191548" y="145843"/>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3" name="Freeform 122">
                <a:extLst>
                  <a:ext uri="{FF2B5EF4-FFF2-40B4-BE49-F238E27FC236}">
                    <a16:creationId xmlns:a16="http://schemas.microsoft.com/office/drawing/2014/main" id="{88AAD968-721F-C342-8D54-BCE4DC33C89A}"/>
                  </a:ext>
                </a:extLst>
              </p:cNvPr>
              <p:cNvSpPr/>
              <p:nvPr/>
            </p:nvSpPr>
            <p:spPr>
              <a:xfrm>
                <a:off x="1307600" y="6300761"/>
                <a:ext cx="96096" cy="91247"/>
              </a:xfrm>
              <a:custGeom>
                <a:avLst/>
                <a:gdLst>
                  <a:gd name="connsiteX0" fmla="*/ 178403 w 217074"/>
                  <a:gd name="connsiteY0" fmla="*/ 15240 h 206120"/>
                  <a:gd name="connsiteX1" fmla="*/ 111157 w 217074"/>
                  <a:gd name="connsiteY1" fmla="*/ 95 h 206120"/>
                  <a:gd name="connsiteX2" fmla="*/ 111157 w 217074"/>
                  <a:gd name="connsiteY2" fmla="*/ 0 h 206120"/>
                  <a:gd name="connsiteX3" fmla="*/ 105823 w 217074"/>
                  <a:gd name="connsiteY3" fmla="*/ 0 h 206120"/>
                  <a:gd name="connsiteX4" fmla="*/ 105823 w 217074"/>
                  <a:gd name="connsiteY4" fmla="*/ 95 h 206120"/>
                  <a:gd name="connsiteX5" fmla="*/ 38576 w 217074"/>
                  <a:gd name="connsiteY5" fmla="*/ 15240 h 206120"/>
                  <a:gd name="connsiteX6" fmla="*/ 0 w 217074"/>
                  <a:gd name="connsiteY6" fmla="*/ 98108 h 206120"/>
                  <a:gd name="connsiteX7" fmla="*/ 24479 w 217074"/>
                  <a:gd name="connsiteY7" fmla="*/ 179070 h 206120"/>
                  <a:gd name="connsiteX8" fmla="*/ 85344 w 217074"/>
                  <a:gd name="connsiteY8" fmla="*/ 204502 h 206120"/>
                  <a:gd name="connsiteX9" fmla="*/ 102394 w 217074"/>
                  <a:gd name="connsiteY9" fmla="*/ 205931 h 206120"/>
                  <a:gd name="connsiteX10" fmla="*/ 111252 w 217074"/>
                  <a:gd name="connsiteY10" fmla="*/ 206121 h 206120"/>
                  <a:gd name="connsiteX11" fmla="*/ 131731 w 217074"/>
                  <a:gd name="connsiteY11" fmla="*/ 204502 h 206120"/>
                  <a:gd name="connsiteX12" fmla="*/ 192596 w 217074"/>
                  <a:gd name="connsiteY12" fmla="*/ 179070 h 206120"/>
                  <a:gd name="connsiteX13" fmla="*/ 217075 w 217074"/>
                  <a:gd name="connsiteY13" fmla="*/ 98108 h 206120"/>
                  <a:gd name="connsiteX14" fmla="*/ 178403 w 217074"/>
                  <a:gd name="connsiteY14" fmla="*/ 15240 h 206120"/>
                  <a:gd name="connsiteX15" fmla="*/ 156210 w 217074"/>
                  <a:gd name="connsiteY15" fmla="*/ 146590 h 206120"/>
                  <a:gd name="connsiteX16" fmla="*/ 135826 w 217074"/>
                  <a:gd name="connsiteY16" fmla="*/ 169640 h 206120"/>
                  <a:gd name="connsiteX17" fmla="*/ 108490 w 217074"/>
                  <a:gd name="connsiteY17" fmla="*/ 174212 h 206120"/>
                  <a:gd name="connsiteX18" fmla="*/ 81153 w 217074"/>
                  <a:gd name="connsiteY18" fmla="*/ 169640 h 206120"/>
                  <a:gd name="connsiteX19" fmla="*/ 60770 w 217074"/>
                  <a:gd name="connsiteY19" fmla="*/ 146590 h 206120"/>
                  <a:gd name="connsiteX20" fmla="*/ 55054 w 217074"/>
                  <a:gd name="connsiteY20" fmla="*/ 101156 h 206120"/>
                  <a:gd name="connsiteX21" fmla="*/ 60770 w 217074"/>
                  <a:gd name="connsiteY21" fmla="*/ 52292 h 206120"/>
                  <a:gd name="connsiteX22" fmla="*/ 101632 w 217074"/>
                  <a:gd name="connsiteY22" fmla="*/ 31242 h 206120"/>
                  <a:gd name="connsiteX23" fmla="*/ 115348 w 217074"/>
                  <a:gd name="connsiteY23" fmla="*/ 31242 h 206120"/>
                  <a:gd name="connsiteX24" fmla="*/ 156210 w 217074"/>
                  <a:gd name="connsiteY24" fmla="*/ 52292 h 206120"/>
                  <a:gd name="connsiteX25" fmla="*/ 161925 w 217074"/>
                  <a:gd name="connsiteY25" fmla="*/ 101156 h 206120"/>
                  <a:gd name="connsiteX26" fmla="*/ 156210 w 217074"/>
                  <a:gd name="connsiteY26" fmla="*/ 146590 h 20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74" h="206120">
                    <a:moveTo>
                      <a:pt x="178403" y="15240"/>
                    </a:moveTo>
                    <a:cubicBezTo>
                      <a:pt x="165545" y="7144"/>
                      <a:pt x="141160" y="857"/>
                      <a:pt x="111157" y="95"/>
                    </a:cubicBezTo>
                    <a:lnTo>
                      <a:pt x="111157" y="0"/>
                    </a:lnTo>
                    <a:cubicBezTo>
                      <a:pt x="110680" y="0"/>
                      <a:pt x="106299" y="0"/>
                      <a:pt x="105823" y="0"/>
                    </a:cubicBezTo>
                    <a:lnTo>
                      <a:pt x="105823" y="95"/>
                    </a:lnTo>
                    <a:cubicBezTo>
                      <a:pt x="75819" y="857"/>
                      <a:pt x="51435" y="7239"/>
                      <a:pt x="38576" y="15240"/>
                    </a:cubicBezTo>
                    <a:cubicBezTo>
                      <a:pt x="25241" y="23622"/>
                      <a:pt x="0" y="48101"/>
                      <a:pt x="0" y="98108"/>
                    </a:cubicBezTo>
                    <a:cubicBezTo>
                      <a:pt x="0" y="148114"/>
                      <a:pt x="11049" y="166497"/>
                      <a:pt x="24479" y="179070"/>
                    </a:cubicBezTo>
                    <a:cubicBezTo>
                      <a:pt x="35433" y="189452"/>
                      <a:pt x="51911" y="200311"/>
                      <a:pt x="85344" y="204502"/>
                    </a:cubicBezTo>
                    <a:cubicBezTo>
                      <a:pt x="86392" y="205359"/>
                      <a:pt x="95250" y="205931"/>
                      <a:pt x="102394" y="205931"/>
                    </a:cubicBezTo>
                    <a:cubicBezTo>
                      <a:pt x="103537" y="206026"/>
                      <a:pt x="111252" y="206121"/>
                      <a:pt x="111252" y="206121"/>
                    </a:cubicBezTo>
                    <a:cubicBezTo>
                      <a:pt x="112395" y="206121"/>
                      <a:pt x="130683" y="205359"/>
                      <a:pt x="131731" y="204502"/>
                    </a:cubicBezTo>
                    <a:cubicBezTo>
                      <a:pt x="165068" y="200311"/>
                      <a:pt x="181546" y="189452"/>
                      <a:pt x="192596" y="179070"/>
                    </a:cubicBezTo>
                    <a:cubicBezTo>
                      <a:pt x="205930" y="166497"/>
                      <a:pt x="217075" y="148114"/>
                      <a:pt x="217075" y="98108"/>
                    </a:cubicBezTo>
                    <a:cubicBezTo>
                      <a:pt x="216979" y="48101"/>
                      <a:pt x="191738" y="23622"/>
                      <a:pt x="178403" y="15240"/>
                    </a:cubicBezTo>
                    <a:close/>
                    <a:moveTo>
                      <a:pt x="156210" y="146590"/>
                    </a:moveTo>
                    <a:cubicBezTo>
                      <a:pt x="152781" y="155734"/>
                      <a:pt x="141446" y="167354"/>
                      <a:pt x="135826" y="169640"/>
                    </a:cubicBezTo>
                    <a:cubicBezTo>
                      <a:pt x="125825" y="173641"/>
                      <a:pt x="122206" y="173736"/>
                      <a:pt x="108490" y="174212"/>
                    </a:cubicBezTo>
                    <a:cubicBezTo>
                      <a:pt x="94869" y="173736"/>
                      <a:pt x="91154" y="173641"/>
                      <a:pt x="81153" y="169640"/>
                    </a:cubicBezTo>
                    <a:cubicBezTo>
                      <a:pt x="75438" y="167354"/>
                      <a:pt x="64198" y="155734"/>
                      <a:pt x="60770" y="146590"/>
                    </a:cubicBezTo>
                    <a:cubicBezTo>
                      <a:pt x="58293" y="139541"/>
                      <a:pt x="55054" y="130588"/>
                      <a:pt x="55054" y="101156"/>
                    </a:cubicBezTo>
                    <a:cubicBezTo>
                      <a:pt x="55054" y="71723"/>
                      <a:pt x="57150" y="58103"/>
                      <a:pt x="60770" y="52292"/>
                    </a:cubicBezTo>
                    <a:cubicBezTo>
                      <a:pt x="67246" y="42005"/>
                      <a:pt x="77533" y="31242"/>
                      <a:pt x="101632" y="31242"/>
                    </a:cubicBezTo>
                    <a:cubicBezTo>
                      <a:pt x="103060" y="31242"/>
                      <a:pt x="113919" y="31242"/>
                      <a:pt x="115348" y="31242"/>
                    </a:cubicBezTo>
                    <a:cubicBezTo>
                      <a:pt x="143161" y="31147"/>
                      <a:pt x="149733" y="41910"/>
                      <a:pt x="156210" y="52292"/>
                    </a:cubicBezTo>
                    <a:cubicBezTo>
                      <a:pt x="159829" y="58103"/>
                      <a:pt x="161925" y="71723"/>
                      <a:pt x="161925" y="101156"/>
                    </a:cubicBezTo>
                    <a:cubicBezTo>
                      <a:pt x="161925" y="130588"/>
                      <a:pt x="158687" y="139541"/>
                      <a:pt x="156210" y="14659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4" name="Freeform 123">
                <a:extLst>
                  <a:ext uri="{FF2B5EF4-FFF2-40B4-BE49-F238E27FC236}">
                    <a16:creationId xmlns:a16="http://schemas.microsoft.com/office/drawing/2014/main" id="{25B2353F-5AC2-C644-B029-B38D248A67A3}"/>
                  </a:ext>
                </a:extLst>
              </p:cNvPr>
              <p:cNvSpPr/>
              <p:nvPr/>
            </p:nvSpPr>
            <p:spPr>
              <a:xfrm>
                <a:off x="1215214" y="6440331"/>
                <a:ext cx="73917" cy="70291"/>
              </a:xfrm>
              <a:custGeom>
                <a:avLst/>
                <a:gdLst>
                  <a:gd name="connsiteX0" fmla="*/ 137160 w 166973"/>
                  <a:gd name="connsiteY0" fmla="*/ 11811 h 158781"/>
                  <a:gd name="connsiteX1" fmla="*/ 85439 w 166973"/>
                  <a:gd name="connsiteY1" fmla="*/ 95 h 158781"/>
                  <a:gd name="connsiteX2" fmla="*/ 85439 w 166973"/>
                  <a:gd name="connsiteY2" fmla="*/ 0 h 158781"/>
                  <a:gd name="connsiteX3" fmla="*/ 84296 w 166973"/>
                  <a:gd name="connsiteY3" fmla="*/ 0 h 158781"/>
                  <a:gd name="connsiteX4" fmla="*/ 83439 w 166973"/>
                  <a:gd name="connsiteY4" fmla="*/ 0 h 158781"/>
                  <a:gd name="connsiteX5" fmla="*/ 82582 w 166973"/>
                  <a:gd name="connsiteY5" fmla="*/ 0 h 158781"/>
                  <a:gd name="connsiteX6" fmla="*/ 81439 w 166973"/>
                  <a:gd name="connsiteY6" fmla="*/ 0 h 158781"/>
                  <a:gd name="connsiteX7" fmla="*/ 81439 w 166973"/>
                  <a:gd name="connsiteY7" fmla="*/ 95 h 158781"/>
                  <a:gd name="connsiteX8" fmla="*/ 29718 w 166973"/>
                  <a:gd name="connsiteY8" fmla="*/ 11811 h 158781"/>
                  <a:gd name="connsiteX9" fmla="*/ 0 w 166973"/>
                  <a:gd name="connsiteY9" fmla="*/ 75629 h 158781"/>
                  <a:gd name="connsiteX10" fmla="*/ 18859 w 166973"/>
                  <a:gd name="connsiteY10" fmla="*/ 137922 h 158781"/>
                  <a:gd name="connsiteX11" fmla="*/ 65722 w 166973"/>
                  <a:gd name="connsiteY11" fmla="*/ 157448 h 158781"/>
                  <a:gd name="connsiteX12" fmla="*/ 78867 w 166973"/>
                  <a:gd name="connsiteY12" fmla="*/ 158591 h 158781"/>
                  <a:gd name="connsiteX13" fmla="*/ 81534 w 166973"/>
                  <a:gd name="connsiteY13" fmla="*/ 158687 h 158781"/>
                  <a:gd name="connsiteX14" fmla="*/ 81534 w 166973"/>
                  <a:gd name="connsiteY14" fmla="*/ 158782 h 158781"/>
                  <a:gd name="connsiteX15" fmla="*/ 82963 w 166973"/>
                  <a:gd name="connsiteY15" fmla="*/ 158782 h 158781"/>
                  <a:gd name="connsiteX16" fmla="*/ 83534 w 166973"/>
                  <a:gd name="connsiteY16" fmla="*/ 158782 h 158781"/>
                  <a:gd name="connsiteX17" fmla="*/ 84106 w 166973"/>
                  <a:gd name="connsiteY17" fmla="*/ 158782 h 158781"/>
                  <a:gd name="connsiteX18" fmla="*/ 85534 w 166973"/>
                  <a:gd name="connsiteY18" fmla="*/ 158782 h 158781"/>
                  <a:gd name="connsiteX19" fmla="*/ 85534 w 166973"/>
                  <a:gd name="connsiteY19" fmla="*/ 158687 h 158781"/>
                  <a:gd name="connsiteX20" fmla="*/ 88201 w 166973"/>
                  <a:gd name="connsiteY20" fmla="*/ 158591 h 158781"/>
                  <a:gd name="connsiteX21" fmla="*/ 101251 w 166973"/>
                  <a:gd name="connsiteY21" fmla="*/ 157448 h 158781"/>
                  <a:gd name="connsiteX22" fmla="*/ 148114 w 166973"/>
                  <a:gd name="connsiteY22" fmla="*/ 137922 h 158781"/>
                  <a:gd name="connsiteX23" fmla="*/ 166973 w 166973"/>
                  <a:gd name="connsiteY23" fmla="*/ 75629 h 158781"/>
                  <a:gd name="connsiteX24" fmla="*/ 137160 w 166973"/>
                  <a:gd name="connsiteY24" fmla="*/ 11811 h 158781"/>
                  <a:gd name="connsiteX25" fmla="*/ 120110 w 166973"/>
                  <a:gd name="connsiteY25" fmla="*/ 112967 h 158781"/>
                  <a:gd name="connsiteX26" fmla="*/ 104394 w 166973"/>
                  <a:gd name="connsiteY26" fmla="*/ 130683 h 158781"/>
                  <a:gd name="connsiteX27" fmla="*/ 83344 w 166973"/>
                  <a:gd name="connsiteY27" fmla="*/ 134207 h 158781"/>
                  <a:gd name="connsiteX28" fmla="*/ 62294 w 166973"/>
                  <a:gd name="connsiteY28" fmla="*/ 130683 h 158781"/>
                  <a:gd name="connsiteX29" fmla="*/ 46577 w 166973"/>
                  <a:gd name="connsiteY29" fmla="*/ 112967 h 158781"/>
                  <a:gd name="connsiteX30" fmla="*/ 42196 w 166973"/>
                  <a:gd name="connsiteY30" fmla="*/ 78010 h 158781"/>
                  <a:gd name="connsiteX31" fmla="*/ 46577 w 166973"/>
                  <a:gd name="connsiteY31" fmla="*/ 40386 h 158781"/>
                  <a:gd name="connsiteX32" fmla="*/ 78010 w 166973"/>
                  <a:gd name="connsiteY32" fmla="*/ 24193 h 158781"/>
                  <a:gd name="connsiteX33" fmla="*/ 81248 w 166973"/>
                  <a:gd name="connsiteY33" fmla="*/ 24289 h 158781"/>
                  <a:gd name="connsiteX34" fmla="*/ 81248 w 166973"/>
                  <a:gd name="connsiteY34" fmla="*/ 24575 h 158781"/>
                  <a:gd name="connsiteX35" fmla="*/ 83344 w 166973"/>
                  <a:gd name="connsiteY35" fmla="*/ 24384 h 158781"/>
                  <a:gd name="connsiteX36" fmla="*/ 85439 w 166973"/>
                  <a:gd name="connsiteY36" fmla="*/ 24575 h 158781"/>
                  <a:gd name="connsiteX37" fmla="*/ 85439 w 166973"/>
                  <a:gd name="connsiteY37" fmla="*/ 24289 h 158781"/>
                  <a:gd name="connsiteX38" fmla="*/ 88678 w 166973"/>
                  <a:gd name="connsiteY38" fmla="*/ 24193 h 158781"/>
                  <a:gd name="connsiteX39" fmla="*/ 120110 w 166973"/>
                  <a:gd name="connsiteY39" fmla="*/ 40386 h 158781"/>
                  <a:gd name="connsiteX40" fmla="*/ 124492 w 166973"/>
                  <a:gd name="connsiteY40" fmla="*/ 78010 h 158781"/>
                  <a:gd name="connsiteX41" fmla="*/ 120110 w 166973"/>
                  <a:gd name="connsiteY41" fmla="*/ 112967 h 15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973" h="158781">
                    <a:moveTo>
                      <a:pt x="137160" y="11811"/>
                    </a:moveTo>
                    <a:cubicBezTo>
                      <a:pt x="127254" y="5620"/>
                      <a:pt x="108490" y="762"/>
                      <a:pt x="85439" y="95"/>
                    </a:cubicBezTo>
                    <a:lnTo>
                      <a:pt x="85439" y="0"/>
                    </a:lnTo>
                    <a:cubicBezTo>
                      <a:pt x="85058" y="0"/>
                      <a:pt x="84677" y="0"/>
                      <a:pt x="84296" y="0"/>
                    </a:cubicBezTo>
                    <a:cubicBezTo>
                      <a:pt x="84011" y="0"/>
                      <a:pt x="83725" y="0"/>
                      <a:pt x="83439" y="0"/>
                    </a:cubicBezTo>
                    <a:cubicBezTo>
                      <a:pt x="83153" y="0"/>
                      <a:pt x="82867" y="0"/>
                      <a:pt x="82582" y="0"/>
                    </a:cubicBezTo>
                    <a:cubicBezTo>
                      <a:pt x="82201" y="0"/>
                      <a:pt x="81820" y="0"/>
                      <a:pt x="81439" y="0"/>
                    </a:cubicBezTo>
                    <a:lnTo>
                      <a:pt x="81439" y="95"/>
                    </a:lnTo>
                    <a:cubicBezTo>
                      <a:pt x="58388" y="667"/>
                      <a:pt x="39529" y="5620"/>
                      <a:pt x="29718" y="11811"/>
                    </a:cubicBezTo>
                    <a:cubicBezTo>
                      <a:pt x="19431" y="18288"/>
                      <a:pt x="0" y="37052"/>
                      <a:pt x="0" y="75629"/>
                    </a:cubicBezTo>
                    <a:cubicBezTo>
                      <a:pt x="0" y="114109"/>
                      <a:pt x="8572" y="128302"/>
                      <a:pt x="18859" y="137922"/>
                    </a:cubicBezTo>
                    <a:cubicBezTo>
                      <a:pt x="27337" y="145923"/>
                      <a:pt x="40005" y="154305"/>
                      <a:pt x="65722" y="157448"/>
                    </a:cubicBezTo>
                    <a:cubicBezTo>
                      <a:pt x="66580" y="158115"/>
                      <a:pt x="73342" y="158591"/>
                      <a:pt x="78867" y="158591"/>
                    </a:cubicBezTo>
                    <a:cubicBezTo>
                      <a:pt x="79724" y="158591"/>
                      <a:pt x="80677" y="158687"/>
                      <a:pt x="81534" y="158687"/>
                    </a:cubicBezTo>
                    <a:lnTo>
                      <a:pt x="81534" y="158782"/>
                    </a:lnTo>
                    <a:cubicBezTo>
                      <a:pt x="82010" y="158782"/>
                      <a:pt x="82487" y="158782"/>
                      <a:pt x="82963" y="158782"/>
                    </a:cubicBezTo>
                    <a:cubicBezTo>
                      <a:pt x="83153" y="158782"/>
                      <a:pt x="83344" y="158782"/>
                      <a:pt x="83534" y="158782"/>
                    </a:cubicBezTo>
                    <a:cubicBezTo>
                      <a:pt x="83725" y="158782"/>
                      <a:pt x="83915" y="158782"/>
                      <a:pt x="84106" y="158782"/>
                    </a:cubicBezTo>
                    <a:cubicBezTo>
                      <a:pt x="84582" y="158782"/>
                      <a:pt x="85058" y="158782"/>
                      <a:pt x="85534" y="158782"/>
                    </a:cubicBezTo>
                    <a:lnTo>
                      <a:pt x="85534" y="158687"/>
                    </a:lnTo>
                    <a:cubicBezTo>
                      <a:pt x="86392" y="158687"/>
                      <a:pt x="87344" y="158591"/>
                      <a:pt x="88201" y="158591"/>
                    </a:cubicBezTo>
                    <a:cubicBezTo>
                      <a:pt x="93631" y="158591"/>
                      <a:pt x="100489" y="158115"/>
                      <a:pt x="101251" y="157448"/>
                    </a:cubicBezTo>
                    <a:cubicBezTo>
                      <a:pt x="126968" y="154210"/>
                      <a:pt x="139637" y="145828"/>
                      <a:pt x="148114" y="137922"/>
                    </a:cubicBezTo>
                    <a:cubicBezTo>
                      <a:pt x="158401" y="128207"/>
                      <a:pt x="166973" y="114109"/>
                      <a:pt x="166973" y="75629"/>
                    </a:cubicBezTo>
                    <a:cubicBezTo>
                      <a:pt x="166878" y="37052"/>
                      <a:pt x="147447" y="18288"/>
                      <a:pt x="137160" y="11811"/>
                    </a:cubicBezTo>
                    <a:close/>
                    <a:moveTo>
                      <a:pt x="120110" y="112967"/>
                    </a:moveTo>
                    <a:cubicBezTo>
                      <a:pt x="117443" y="120015"/>
                      <a:pt x="108775" y="128968"/>
                      <a:pt x="104394" y="130683"/>
                    </a:cubicBezTo>
                    <a:cubicBezTo>
                      <a:pt x="96679" y="133731"/>
                      <a:pt x="93916" y="133826"/>
                      <a:pt x="83344" y="134207"/>
                    </a:cubicBezTo>
                    <a:cubicBezTo>
                      <a:pt x="72866" y="133826"/>
                      <a:pt x="70009" y="133826"/>
                      <a:pt x="62294" y="130683"/>
                    </a:cubicBezTo>
                    <a:cubicBezTo>
                      <a:pt x="57912" y="128968"/>
                      <a:pt x="49244" y="120015"/>
                      <a:pt x="46577" y="112967"/>
                    </a:cubicBezTo>
                    <a:cubicBezTo>
                      <a:pt x="44672" y="107537"/>
                      <a:pt x="42196" y="100584"/>
                      <a:pt x="42196" y="78010"/>
                    </a:cubicBezTo>
                    <a:cubicBezTo>
                      <a:pt x="42196" y="55340"/>
                      <a:pt x="43815" y="44863"/>
                      <a:pt x="46577" y="40386"/>
                    </a:cubicBezTo>
                    <a:cubicBezTo>
                      <a:pt x="51530" y="32480"/>
                      <a:pt x="59531" y="24193"/>
                      <a:pt x="78010" y="24193"/>
                    </a:cubicBezTo>
                    <a:cubicBezTo>
                      <a:pt x="79153" y="24193"/>
                      <a:pt x="80200" y="24193"/>
                      <a:pt x="81248" y="24289"/>
                    </a:cubicBezTo>
                    <a:lnTo>
                      <a:pt x="81248" y="24575"/>
                    </a:lnTo>
                    <a:cubicBezTo>
                      <a:pt x="81915" y="24479"/>
                      <a:pt x="82582" y="24479"/>
                      <a:pt x="83344" y="24384"/>
                    </a:cubicBezTo>
                    <a:cubicBezTo>
                      <a:pt x="84011" y="24479"/>
                      <a:pt x="84772" y="24479"/>
                      <a:pt x="85439" y="24575"/>
                    </a:cubicBezTo>
                    <a:lnTo>
                      <a:pt x="85439" y="24289"/>
                    </a:lnTo>
                    <a:cubicBezTo>
                      <a:pt x="86487" y="24193"/>
                      <a:pt x="87535" y="24193"/>
                      <a:pt x="88678" y="24193"/>
                    </a:cubicBezTo>
                    <a:cubicBezTo>
                      <a:pt x="107156" y="24193"/>
                      <a:pt x="115157" y="32385"/>
                      <a:pt x="120110" y="40386"/>
                    </a:cubicBezTo>
                    <a:cubicBezTo>
                      <a:pt x="122968" y="44863"/>
                      <a:pt x="124492" y="55340"/>
                      <a:pt x="124492" y="78010"/>
                    </a:cubicBezTo>
                    <a:cubicBezTo>
                      <a:pt x="124492" y="100584"/>
                      <a:pt x="122015" y="107537"/>
                      <a:pt x="120110" y="11296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5" name="Freeform 124">
                <a:extLst>
                  <a:ext uri="{FF2B5EF4-FFF2-40B4-BE49-F238E27FC236}">
                    <a16:creationId xmlns:a16="http://schemas.microsoft.com/office/drawing/2014/main" id="{DD2B1359-AA94-E141-9295-3AA5C85A9409}"/>
                  </a:ext>
                </a:extLst>
              </p:cNvPr>
              <p:cNvSpPr/>
              <p:nvPr/>
            </p:nvSpPr>
            <p:spPr>
              <a:xfrm>
                <a:off x="1830333" y="6302911"/>
                <a:ext cx="37992" cy="86904"/>
              </a:xfrm>
              <a:custGeom>
                <a:avLst/>
                <a:gdLst>
                  <a:gd name="connsiteX0" fmla="*/ 85439 w 85820"/>
                  <a:gd name="connsiteY0" fmla="*/ 168592 h 196310"/>
                  <a:gd name="connsiteX1" fmla="*/ 83534 w 85820"/>
                  <a:gd name="connsiteY1" fmla="*/ 167830 h 196310"/>
                  <a:gd name="connsiteX2" fmla="*/ 64484 w 85820"/>
                  <a:gd name="connsiteY2" fmla="*/ 157067 h 196310"/>
                  <a:gd name="connsiteX3" fmla="*/ 64484 w 85820"/>
                  <a:gd name="connsiteY3" fmla="*/ 114586 h 196310"/>
                  <a:gd name="connsiteX4" fmla="*/ 64484 w 85820"/>
                  <a:gd name="connsiteY4" fmla="*/ 83248 h 196310"/>
                  <a:gd name="connsiteX5" fmla="*/ 64484 w 85820"/>
                  <a:gd name="connsiteY5" fmla="*/ 39243 h 196310"/>
                  <a:gd name="connsiteX6" fmla="*/ 83534 w 85820"/>
                  <a:gd name="connsiteY6" fmla="*/ 28480 h 196310"/>
                  <a:gd name="connsiteX7" fmla="*/ 85439 w 85820"/>
                  <a:gd name="connsiteY7" fmla="*/ 27718 h 196310"/>
                  <a:gd name="connsiteX8" fmla="*/ 85820 w 85820"/>
                  <a:gd name="connsiteY8" fmla="*/ 25813 h 196310"/>
                  <a:gd name="connsiteX9" fmla="*/ 85630 w 85820"/>
                  <a:gd name="connsiteY9" fmla="*/ 1810 h 196310"/>
                  <a:gd name="connsiteX10" fmla="*/ 83820 w 85820"/>
                  <a:gd name="connsiteY10" fmla="*/ 0 h 196310"/>
                  <a:gd name="connsiteX11" fmla="*/ 2000 w 85820"/>
                  <a:gd name="connsiteY11" fmla="*/ 0 h 196310"/>
                  <a:gd name="connsiteX12" fmla="*/ 190 w 85820"/>
                  <a:gd name="connsiteY12" fmla="*/ 1810 h 196310"/>
                  <a:gd name="connsiteX13" fmla="*/ 0 w 85820"/>
                  <a:gd name="connsiteY13" fmla="*/ 25813 h 196310"/>
                  <a:gd name="connsiteX14" fmla="*/ 381 w 85820"/>
                  <a:gd name="connsiteY14" fmla="*/ 27718 h 196310"/>
                  <a:gd name="connsiteX15" fmla="*/ 2286 w 85820"/>
                  <a:gd name="connsiteY15" fmla="*/ 28480 h 196310"/>
                  <a:gd name="connsiteX16" fmla="*/ 21336 w 85820"/>
                  <a:gd name="connsiteY16" fmla="*/ 39243 h 196310"/>
                  <a:gd name="connsiteX17" fmla="*/ 21336 w 85820"/>
                  <a:gd name="connsiteY17" fmla="*/ 83248 h 196310"/>
                  <a:gd name="connsiteX18" fmla="*/ 21336 w 85820"/>
                  <a:gd name="connsiteY18" fmla="*/ 114586 h 196310"/>
                  <a:gd name="connsiteX19" fmla="*/ 21336 w 85820"/>
                  <a:gd name="connsiteY19" fmla="*/ 157067 h 196310"/>
                  <a:gd name="connsiteX20" fmla="*/ 2286 w 85820"/>
                  <a:gd name="connsiteY20" fmla="*/ 167830 h 196310"/>
                  <a:gd name="connsiteX21" fmla="*/ 381 w 85820"/>
                  <a:gd name="connsiteY21" fmla="*/ 168592 h 196310"/>
                  <a:gd name="connsiteX22" fmla="*/ 0 w 85820"/>
                  <a:gd name="connsiteY22" fmla="*/ 170497 h 196310"/>
                  <a:gd name="connsiteX23" fmla="*/ 190 w 85820"/>
                  <a:gd name="connsiteY23" fmla="*/ 194500 h 196310"/>
                  <a:gd name="connsiteX24" fmla="*/ 2000 w 85820"/>
                  <a:gd name="connsiteY24" fmla="*/ 196310 h 196310"/>
                  <a:gd name="connsiteX25" fmla="*/ 83820 w 85820"/>
                  <a:gd name="connsiteY25" fmla="*/ 196310 h 196310"/>
                  <a:gd name="connsiteX26" fmla="*/ 85630 w 85820"/>
                  <a:gd name="connsiteY26" fmla="*/ 194500 h 196310"/>
                  <a:gd name="connsiteX27" fmla="*/ 85820 w 85820"/>
                  <a:gd name="connsiteY27" fmla="*/ 170497 h 196310"/>
                  <a:gd name="connsiteX28" fmla="*/ 85439 w 85820"/>
                  <a:gd name="connsiteY28" fmla="*/ 168592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820" h="196310">
                    <a:moveTo>
                      <a:pt x="85439" y="168592"/>
                    </a:moveTo>
                    <a:cubicBezTo>
                      <a:pt x="84868" y="167735"/>
                      <a:pt x="83534" y="167830"/>
                      <a:pt x="83534" y="167830"/>
                    </a:cubicBezTo>
                    <a:cubicBezTo>
                      <a:pt x="75247" y="166497"/>
                      <a:pt x="64484" y="161734"/>
                      <a:pt x="64484" y="157067"/>
                    </a:cubicBezTo>
                    <a:lnTo>
                      <a:pt x="64484" y="114586"/>
                    </a:lnTo>
                    <a:lnTo>
                      <a:pt x="64484" y="83248"/>
                    </a:lnTo>
                    <a:lnTo>
                      <a:pt x="64484" y="39243"/>
                    </a:lnTo>
                    <a:cubicBezTo>
                      <a:pt x="64484" y="34576"/>
                      <a:pt x="75343" y="29813"/>
                      <a:pt x="83534" y="28480"/>
                    </a:cubicBezTo>
                    <a:cubicBezTo>
                      <a:pt x="83534" y="28480"/>
                      <a:pt x="84868" y="28575"/>
                      <a:pt x="85439" y="27718"/>
                    </a:cubicBezTo>
                    <a:cubicBezTo>
                      <a:pt x="86011" y="26860"/>
                      <a:pt x="85725" y="25813"/>
                      <a:pt x="85820" y="25813"/>
                    </a:cubicBezTo>
                    <a:lnTo>
                      <a:pt x="85630" y="1810"/>
                    </a:lnTo>
                    <a:cubicBezTo>
                      <a:pt x="85630" y="762"/>
                      <a:pt x="84772" y="0"/>
                      <a:pt x="83820" y="0"/>
                    </a:cubicBezTo>
                    <a:lnTo>
                      <a:pt x="2000" y="0"/>
                    </a:lnTo>
                    <a:cubicBezTo>
                      <a:pt x="952" y="0"/>
                      <a:pt x="190" y="857"/>
                      <a:pt x="190" y="1810"/>
                    </a:cubicBezTo>
                    <a:lnTo>
                      <a:pt x="0" y="25813"/>
                    </a:lnTo>
                    <a:cubicBezTo>
                      <a:pt x="95" y="25813"/>
                      <a:pt x="-191" y="26860"/>
                      <a:pt x="381" y="27718"/>
                    </a:cubicBezTo>
                    <a:cubicBezTo>
                      <a:pt x="952" y="28575"/>
                      <a:pt x="2286" y="28480"/>
                      <a:pt x="2286" y="28480"/>
                    </a:cubicBezTo>
                    <a:cubicBezTo>
                      <a:pt x="10573" y="29813"/>
                      <a:pt x="21336" y="34576"/>
                      <a:pt x="21336" y="39243"/>
                    </a:cubicBezTo>
                    <a:lnTo>
                      <a:pt x="21336" y="83248"/>
                    </a:lnTo>
                    <a:lnTo>
                      <a:pt x="21336" y="114586"/>
                    </a:lnTo>
                    <a:lnTo>
                      <a:pt x="21336" y="157067"/>
                    </a:lnTo>
                    <a:cubicBezTo>
                      <a:pt x="21336" y="161734"/>
                      <a:pt x="10477" y="166497"/>
                      <a:pt x="2286" y="167830"/>
                    </a:cubicBezTo>
                    <a:cubicBezTo>
                      <a:pt x="2286" y="167830"/>
                      <a:pt x="952" y="167735"/>
                      <a:pt x="381" y="168592"/>
                    </a:cubicBezTo>
                    <a:cubicBezTo>
                      <a:pt x="-191" y="169450"/>
                      <a:pt x="95" y="170497"/>
                      <a:pt x="0" y="170497"/>
                    </a:cubicBezTo>
                    <a:lnTo>
                      <a:pt x="190" y="194500"/>
                    </a:lnTo>
                    <a:cubicBezTo>
                      <a:pt x="190" y="195548"/>
                      <a:pt x="1048" y="196310"/>
                      <a:pt x="2000" y="196310"/>
                    </a:cubicBezTo>
                    <a:lnTo>
                      <a:pt x="83820" y="196310"/>
                    </a:lnTo>
                    <a:cubicBezTo>
                      <a:pt x="84868" y="196310"/>
                      <a:pt x="85630" y="195453"/>
                      <a:pt x="85630" y="194500"/>
                    </a:cubicBezTo>
                    <a:lnTo>
                      <a:pt x="85820" y="170497"/>
                    </a:lnTo>
                    <a:cubicBezTo>
                      <a:pt x="85725" y="170497"/>
                      <a:pt x="86011" y="169450"/>
                      <a:pt x="85439" y="16859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6" name="Freeform 125">
                <a:extLst>
                  <a:ext uri="{FF2B5EF4-FFF2-40B4-BE49-F238E27FC236}">
                    <a16:creationId xmlns:a16="http://schemas.microsoft.com/office/drawing/2014/main" id="{9B224580-BA7C-264D-933D-03DAB18566D7}"/>
                  </a:ext>
                </a:extLst>
              </p:cNvPr>
              <p:cNvSpPr/>
              <p:nvPr/>
            </p:nvSpPr>
            <p:spPr>
              <a:xfrm>
                <a:off x="1672784" y="6441216"/>
                <a:ext cx="29339" cy="66917"/>
              </a:xfrm>
              <a:custGeom>
                <a:avLst/>
                <a:gdLst>
                  <a:gd name="connsiteX0" fmla="*/ 65951 w 66274"/>
                  <a:gd name="connsiteY0" fmla="*/ 129826 h 151161"/>
                  <a:gd name="connsiteX1" fmla="*/ 64427 w 66274"/>
                  <a:gd name="connsiteY1" fmla="*/ 129254 h 151161"/>
                  <a:gd name="connsiteX2" fmla="*/ 49758 w 66274"/>
                  <a:gd name="connsiteY2" fmla="*/ 120967 h 151161"/>
                  <a:gd name="connsiteX3" fmla="*/ 49758 w 66274"/>
                  <a:gd name="connsiteY3" fmla="*/ 88201 h 151161"/>
                  <a:gd name="connsiteX4" fmla="*/ 49758 w 66274"/>
                  <a:gd name="connsiteY4" fmla="*/ 64103 h 151161"/>
                  <a:gd name="connsiteX5" fmla="*/ 49758 w 66274"/>
                  <a:gd name="connsiteY5" fmla="*/ 30194 h 151161"/>
                  <a:gd name="connsiteX6" fmla="*/ 64427 w 66274"/>
                  <a:gd name="connsiteY6" fmla="*/ 21907 h 151161"/>
                  <a:gd name="connsiteX7" fmla="*/ 65951 w 66274"/>
                  <a:gd name="connsiteY7" fmla="*/ 21336 h 151161"/>
                  <a:gd name="connsiteX8" fmla="*/ 66236 w 66274"/>
                  <a:gd name="connsiteY8" fmla="*/ 19907 h 151161"/>
                  <a:gd name="connsiteX9" fmla="*/ 66046 w 66274"/>
                  <a:gd name="connsiteY9" fmla="*/ 1429 h 151161"/>
                  <a:gd name="connsiteX10" fmla="*/ 64617 w 66274"/>
                  <a:gd name="connsiteY10" fmla="*/ 0 h 151161"/>
                  <a:gd name="connsiteX11" fmla="*/ 1657 w 66274"/>
                  <a:gd name="connsiteY11" fmla="*/ 0 h 151161"/>
                  <a:gd name="connsiteX12" fmla="*/ 228 w 66274"/>
                  <a:gd name="connsiteY12" fmla="*/ 1429 h 151161"/>
                  <a:gd name="connsiteX13" fmla="*/ 38 w 66274"/>
                  <a:gd name="connsiteY13" fmla="*/ 19907 h 151161"/>
                  <a:gd name="connsiteX14" fmla="*/ 323 w 66274"/>
                  <a:gd name="connsiteY14" fmla="*/ 21336 h 151161"/>
                  <a:gd name="connsiteX15" fmla="*/ 1752 w 66274"/>
                  <a:gd name="connsiteY15" fmla="*/ 21907 h 151161"/>
                  <a:gd name="connsiteX16" fmla="*/ 16421 w 66274"/>
                  <a:gd name="connsiteY16" fmla="*/ 30194 h 151161"/>
                  <a:gd name="connsiteX17" fmla="*/ 16421 w 66274"/>
                  <a:gd name="connsiteY17" fmla="*/ 64103 h 151161"/>
                  <a:gd name="connsiteX18" fmla="*/ 16421 w 66274"/>
                  <a:gd name="connsiteY18" fmla="*/ 88201 h 151161"/>
                  <a:gd name="connsiteX19" fmla="*/ 16421 w 66274"/>
                  <a:gd name="connsiteY19" fmla="*/ 120967 h 151161"/>
                  <a:gd name="connsiteX20" fmla="*/ 1752 w 66274"/>
                  <a:gd name="connsiteY20" fmla="*/ 129254 h 151161"/>
                  <a:gd name="connsiteX21" fmla="*/ 323 w 66274"/>
                  <a:gd name="connsiteY21" fmla="*/ 129826 h 151161"/>
                  <a:gd name="connsiteX22" fmla="*/ 38 w 66274"/>
                  <a:gd name="connsiteY22" fmla="*/ 131254 h 151161"/>
                  <a:gd name="connsiteX23" fmla="*/ 228 w 66274"/>
                  <a:gd name="connsiteY23" fmla="*/ 149733 h 151161"/>
                  <a:gd name="connsiteX24" fmla="*/ 1657 w 66274"/>
                  <a:gd name="connsiteY24" fmla="*/ 151162 h 151161"/>
                  <a:gd name="connsiteX25" fmla="*/ 64617 w 66274"/>
                  <a:gd name="connsiteY25" fmla="*/ 151162 h 151161"/>
                  <a:gd name="connsiteX26" fmla="*/ 66046 w 66274"/>
                  <a:gd name="connsiteY26" fmla="*/ 149733 h 151161"/>
                  <a:gd name="connsiteX27" fmla="*/ 66236 w 66274"/>
                  <a:gd name="connsiteY27" fmla="*/ 131254 h 151161"/>
                  <a:gd name="connsiteX28" fmla="*/ 65951 w 66274"/>
                  <a:gd name="connsiteY28" fmla="*/ 129826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274" h="151161">
                    <a:moveTo>
                      <a:pt x="65951" y="129826"/>
                    </a:moveTo>
                    <a:cubicBezTo>
                      <a:pt x="65474" y="129159"/>
                      <a:pt x="64427" y="129254"/>
                      <a:pt x="64427" y="129254"/>
                    </a:cubicBezTo>
                    <a:cubicBezTo>
                      <a:pt x="58045" y="128206"/>
                      <a:pt x="49758" y="124587"/>
                      <a:pt x="49758" y="120967"/>
                    </a:cubicBezTo>
                    <a:lnTo>
                      <a:pt x="49758" y="88201"/>
                    </a:lnTo>
                    <a:lnTo>
                      <a:pt x="49758" y="64103"/>
                    </a:lnTo>
                    <a:lnTo>
                      <a:pt x="49758" y="30194"/>
                    </a:lnTo>
                    <a:cubicBezTo>
                      <a:pt x="49758" y="26575"/>
                      <a:pt x="58045" y="22955"/>
                      <a:pt x="64427" y="21907"/>
                    </a:cubicBezTo>
                    <a:cubicBezTo>
                      <a:pt x="64427" y="21907"/>
                      <a:pt x="65474" y="21907"/>
                      <a:pt x="65951" y="21336"/>
                    </a:cubicBezTo>
                    <a:cubicBezTo>
                      <a:pt x="66427" y="20669"/>
                      <a:pt x="66236" y="19907"/>
                      <a:pt x="66236" y="19907"/>
                    </a:cubicBezTo>
                    <a:lnTo>
                      <a:pt x="66046" y="1429"/>
                    </a:lnTo>
                    <a:cubicBezTo>
                      <a:pt x="66046" y="667"/>
                      <a:pt x="65379" y="0"/>
                      <a:pt x="64617" y="0"/>
                    </a:cubicBezTo>
                    <a:lnTo>
                      <a:pt x="1657" y="0"/>
                    </a:lnTo>
                    <a:cubicBezTo>
                      <a:pt x="895" y="0"/>
                      <a:pt x="228" y="667"/>
                      <a:pt x="228" y="1429"/>
                    </a:cubicBezTo>
                    <a:lnTo>
                      <a:pt x="38" y="19907"/>
                    </a:lnTo>
                    <a:cubicBezTo>
                      <a:pt x="133" y="19907"/>
                      <a:pt x="-153" y="20764"/>
                      <a:pt x="323" y="21336"/>
                    </a:cubicBezTo>
                    <a:cubicBezTo>
                      <a:pt x="800" y="22003"/>
                      <a:pt x="1752" y="21907"/>
                      <a:pt x="1752" y="21907"/>
                    </a:cubicBezTo>
                    <a:cubicBezTo>
                      <a:pt x="8134" y="22955"/>
                      <a:pt x="16421" y="26575"/>
                      <a:pt x="16421" y="30194"/>
                    </a:cubicBezTo>
                    <a:lnTo>
                      <a:pt x="16421" y="64103"/>
                    </a:lnTo>
                    <a:lnTo>
                      <a:pt x="16421" y="88201"/>
                    </a:lnTo>
                    <a:lnTo>
                      <a:pt x="16421" y="120967"/>
                    </a:lnTo>
                    <a:cubicBezTo>
                      <a:pt x="16421" y="124587"/>
                      <a:pt x="8134" y="128206"/>
                      <a:pt x="1752" y="129254"/>
                    </a:cubicBezTo>
                    <a:cubicBezTo>
                      <a:pt x="1752" y="129254"/>
                      <a:pt x="704" y="129254"/>
                      <a:pt x="323" y="129826"/>
                    </a:cubicBezTo>
                    <a:cubicBezTo>
                      <a:pt x="-153" y="130492"/>
                      <a:pt x="38" y="131254"/>
                      <a:pt x="38" y="131254"/>
                    </a:cubicBezTo>
                    <a:lnTo>
                      <a:pt x="228" y="149733"/>
                    </a:lnTo>
                    <a:cubicBezTo>
                      <a:pt x="228" y="150495"/>
                      <a:pt x="895" y="151162"/>
                      <a:pt x="1657" y="151162"/>
                    </a:cubicBezTo>
                    <a:lnTo>
                      <a:pt x="64617" y="151162"/>
                    </a:lnTo>
                    <a:cubicBezTo>
                      <a:pt x="65379" y="151162"/>
                      <a:pt x="66046" y="150495"/>
                      <a:pt x="66046" y="149733"/>
                    </a:cubicBezTo>
                    <a:lnTo>
                      <a:pt x="66236" y="131254"/>
                    </a:lnTo>
                    <a:cubicBezTo>
                      <a:pt x="66236" y="131350"/>
                      <a:pt x="66427" y="130492"/>
                      <a:pt x="65951" y="1298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7" name="Freeform 126">
                <a:extLst>
                  <a:ext uri="{FF2B5EF4-FFF2-40B4-BE49-F238E27FC236}">
                    <a16:creationId xmlns:a16="http://schemas.microsoft.com/office/drawing/2014/main" id="{42DAD46A-2B69-E546-B982-6BAA0E6356AB}"/>
                  </a:ext>
                </a:extLst>
              </p:cNvPr>
              <p:cNvSpPr/>
              <p:nvPr/>
            </p:nvSpPr>
            <p:spPr>
              <a:xfrm>
                <a:off x="1874228" y="6302785"/>
                <a:ext cx="94795" cy="87073"/>
              </a:xfrm>
              <a:custGeom>
                <a:avLst/>
                <a:gdLst>
                  <a:gd name="connsiteX0" fmla="*/ 213741 w 214135"/>
                  <a:gd name="connsiteY0" fmla="*/ 168878 h 196691"/>
                  <a:gd name="connsiteX1" fmla="*/ 211836 w 214135"/>
                  <a:gd name="connsiteY1" fmla="*/ 168116 h 196691"/>
                  <a:gd name="connsiteX2" fmla="*/ 192786 w 214135"/>
                  <a:gd name="connsiteY2" fmla="*/ 157353 h 196691"/>
                  <a:gd name="connsiteX3" fmla="*/ 192691 w 214135"/>
                  <a:gd name="connsiteY3" fmla="*/ 130492 h 196691"/>
                  <a:gd name="connsiteX4" fmla="*/ 153352 w 214135"/>
                  <a:gd name="connsiteY4" fmla="*/ 92678 h 196691"/>
                  <a:gd name="connsiteX5" fmla="*/ 152209 w 214135"/>
                  <a:gd name="connsiteY5" fmla="*/ 92678 h 196691"/>
                  <a:gd name="connsiteX6" fmla="*/ 152209 w 214135"/>
                  <a:gd name="connsiteY6" fmla="*/ 92392 h 196691"/>
                  <a:gd name="connsiteX7" fmla="*/ 151924 w 214135"/>
                  <a:gd name="connsiteY7" fmla="*/ 92392 h 196691"/>
                  <a:gd name="connsiteX8" fmla="*/ 149638 w 214135"/>
                  <a:gd name="connsiteY8" fmla="*/ 90106 h 196691"/>
                  <a:gd name="connsiteX9" fmla="*/ 151924 w 214135"/>
                  <a:gd name="connsiteY9" fmla="*/ 87821 h 196691"/>
                  <a:gd name="connsiteX10" fmla="*/ 157543 w 214135"/>
                  <a:gd name="connsiteY10" fmla="*/ 87821 h 196691"/>
                  <a:gd name="connsiteX11" fmla="*/ 191071 w 214135"/>
                  <a:gd name="connsiteY11" fmla="*/ 48768 h 196691"/>
                  <a:gd name="connsiteX12" fmla="*/ 191071 w 214135"/>
                  <a:gd name="connsiteY12" fmla="*/ 37719 h 196691"/>
                  <a:gd name="connsiteX13" fmla="*/ 153257 w 214135"/>
                  <a:gd name="connsiteY13" fmla="*/ 0 h 196691"/>
                  <a:gd name="connsiteX14" fmla="*/ 71342 w 214135"/>
                  <a:gd name="connsiteY14" fmla="*/ 95 h 196691"/>
                  <a:gd name="connsiteX15" fmla="*/ 71342 w 214135"/>
                  <a:gd name="connsiteY15" fmla="*/ 286 h 196691"/>
                  <a:gd name="connsiteX16" fmla="*/ 2000 w 214135"/>
                  <a:gd name="connsiteY16" fmla="*/ 286 h 196691"/>
                  <a:gd name="connsiteX17" fmla="*/ 190 w 214135"/>
                  <a:gd name="connsiteY17" fmla="*/ 2096 h 196691"/>
                  <a:gd name="connsiteX18" fmla="*/ 0 w 214135"/>
                  <a:gd name="connsiteY18" fmla="*/ 26098 h 196691"/>
                  <a:gd name="connsiteX19" fmla="*/ 381 w 214135"/>
                  <a:gd name="connsiteY19" fmla="*/ 28004 h 196691"/>
                  <a:gd name="connsiteX20" fmla="*/ 2286 w 214135"/>
                  <a:gd name="connsiteY20" fmla="*/ 28765 h 196691"/>
                  <a:gd name="connsiteX21" fmla="*/ 21336 w 214135"/>
                  <a:gd name="connsiteY21" fmla="*/ 39529 h 196691"/>
                  <a:gd name="connsiteX22" fmla="*/ 21336 w 214135"/>
                  <a:gd name="connsiteY22" fmla="*/ 83534 h 196691"/>
                  <a:gd name="connsiteX23" fmla="*/ 21336 w 214135"/>
                  <a:gd name="connsiteY23" fmla="*/ 114871 h 196691"/>
                  <a:gd name="connsiteX24" fmla="*/ 21336 w 214135"/>
                  <a:gd name="connsiteY24" fmla="*/ 157353 h 196691"/>
                  <a:gd name="connsiteX25" fmla="*/ 2286 w 214135"/>
                  <a:gd name="connsiteY25" fmla="*/ 168116 h 196691"/>
                  <a:gd name="connsiteX26" fmla="*/ 381 w 214135"/>
                  <a:gd name="connsiteY26" fmla="*/ 168878 h 196691"/>
                  <a:gd name="connsiteX27" fmla="*/ 0 w 214135"/>
                  <a:gd name="connsiteY27" fmla="*/ 170783 h 196691"/>
                  <a:gd name="connsiteX28" fmla="*/ 190 w 214135"/>
                  <a:gd name="connsiteY28" fmla="*/ 194786 h 196691"/>
                  <a:gd name="connsiteX29" fmla="*/ 2000 w 214135"/>
                  <a:gd name="connsiteY29" fmla="*/ 196596 h 196691"/>
                  <a:gd name="connsiteX30" fmla="*/ 83820 w 214135"/>
                  <a:gd name="connsiteY30" fmla="*/ 196596 h 196691"/>
                  <a:gd name="connsiteX31" fmla="*/ 85630 w 214135"/>
                  <a:gd name="connsiteY31" fmla="*/ 194786 h 196691"/>
                  <a:gd name="connsiteX32" fmla="*/ 85820 w 214135"/>
                  <a:gd name="connsiteY32" fmla="*/ 170783 h 196691"/>
                  <a:gd name="connsiteX33" fmla="*/ 85439 w 214135"/>
                  <a:gd name="connsiteY33" fmla="*/ 168878 h 196691"/>
                  <a:gd name="connsiteX34" fmla="*/ 83534 w 214135"/>
                  <a:gd name="connsiteY34" fmla="*/ 168116 h 196691"/>
                  <a:gd name="connsiteX35" fmla="*/ 64484 w 214135"/>
                  <a:gd name="connsiteY35" fmla="*/ 157353 h 196691"/>
                  <a:gd name="connsiteX36" fmla="*/ 64484 w 214135"/>
                  <a:gd name="connsiteY36" fmla="*/ 114871 h 196691"/>
                  <a:gd name="connsiteX37" fmla="*/ 64484 w 214135"/>
                  <a:gd name="connsiteY37" fmla="*/ 83534 h 196691"/>
                  <a:gd name="connsiteX38" fmla="*/ 64484 w 214135"/>
                  <a:gd name="connsiteY38" fmla="*/ 39529 h 196691"/>
                  <a:gd name="connsiteX39" fmla="*/ 71818 w 214135"/>
                  <a:gd name="connsiteY39" fmla="*/ 32480 h 196691"/>
                  <a:gd name="connsiteX40" fmla="*/ 118967 w 214135"/>
                  <a:gd name="connsiteY40" fmla="*/ 32480 h 196691"/>
                  <a:gd name="connsiteX41" fmla="*/ 137826 w 214135"/>
                  <a:gd name="connsiteY41" fmla="*/ 49435 h 196691"/>
                  <a:gd name="connsiteX42" fmla="*/ 137826 w 214135"/>
                  <a:gd name="connsiteY42" fmla="*/ 58007 h 196691"/>
                  <a:gd name="connsiteX43" fmla="*/ 118586 w 214135"/>
                  <a:gd name="connsiteY43" fmla="*/ 78296 h 196691"/>
                  <a:gd name="connsiteX44" fmla="*/ 117824 w 214135"/>
                  <a:gd name="connsiteY44" fmla="*/ 78486 h 196691"/>
                  <a:gd name="connsiteX45" fmla="*/ 89535 w 214135"/>
                  <a:gd name="connsiteY45" fmla="*/ 78486 h 196691"/>
                  <a:gd name="connsiteX46" fmla="*/ 83439 w 214135"/>
                  <a:gd name="connsiteY46" fmla="*/ 84582 h 196691"/>
                  <a:gd name="connsiteX47" fmla="*/ 83439 w 214135"/>
                  <a:gd name="connsiteY47" fmla="*/ 106013 h 196691"/>
                  <a:gd name="connsiteX48" fmla="*/ 89535 w 214135"/>
                  <a:gd name="connsiteY48" fmla="*/ 112109 h 196691"/>
                  <a:gd name="connsiteX49" fmla="*/ 120872 w 214135"/>
                  <a:gd name="connsiteY49" fmla="*/ 112109 h 196691"/>
                  <a:gd name="connsiteX50" fmla="*/ 140970 w 214135"/>
                  <a:gd name="connsiteY50" fmla="*/ 130397 h 196691"/>
                  <a:gd name="connsiteX51" fmla="*/ 140494 w 214135"/>
                  <a:gd name="connsiteY51" fmla="*/ 185738 h 196691"/>
                  <a:gd name="connsiteX52" fmla="*/ 141256 w 214135"/>
                  <a:gd name="connsiteY52" fmla="*/ 192119 h 196691"/>
                  <a:gd name="connsiteX53" fmla="*/ 149923 w 214135"/>
                  <a:gd name="connsiteY53" fmla="*/ 196691 h 196691"/>
                  <a:gd name="connsiteX54" fmla="*/ 212026 w 214135"/>
                  <a:gd name="connsiteY54" fmla="*/ 196691 h 196691"/>
                  <a:gd name="connsiteX55" fmla="*/ 213836 w 214135"/>
                  <a:gd name="connsiteY55" fmla="*/ 194881 h 196691"/>
                  <a:gd name="connsiteX56" fmla="*/ 214026 w 214135"/>
                  <a:gd name="connsiteY56" fmla="*/ 170879 h 196691"/>
                  <a:gd name="connsiteX57" fmla="*/ 213741 w 214135"/>
                  <a:gd name="connsiteY57" fmla="*/ 168878 h 1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4135" h="196691">
                    <a:moveTo>
                      <a:pt x="213741" y="168878"/>
                    </a:moveTo>
                    <a:cubicBezTo>
                      <a:pt x="213169" y="168021"/>
                      <a:pt x="211836" y="168116"/>
                      <a:pt x="211836" y="168116"/>
                    </a:cubicBezTo>
                    <a:cubicBezTo>
                      <a:pt x="203549" y="166783"/>
                      <a:pt x="192786" y="162020"/>
                      <a:pt x="192786" y="157353"/>
                    </a:cubicBezTo>
                    <a:lnTo>
                      <a:pt x="192691" y="130492"/>
                    </a:lnTo>
                    <a:cubicBezTo>
                      <a:pt x="192691" y="109633"/>
                      <a:pt x="186976" y="92678"/>
                      <a:pt x="153352" y="92678"/>
                    </a:cubicBezTo>
                    <a:lnTo>
                      <a:pt x="152209" y="92678"/>
                    </a:lnTo>
                    <a:lnTo>
                      <a:pt x="152209" y="92392"/>
                    </a:lnTo>
                    <a:lnTo>
                      <a:pt x="151924" y="92392"/>
                    </a:lnTo>
                    <a:cubicBezTo>
                      <a:pt x="150685" y="92392"/>
                      <a:pt x="149638" y="91345"/>
                      <a:pt x="149638" y="90106"/>
                    </a:cubicBezTo>
                    <a:cubicBezTo>
                      <a:pt x="149638" y="88868"/>
                      <a:pt x="150685" y="87821"/>
                      <a:pt x="151924" y="87821"/>
                    </a:cubicBezTo>
                    <a:lnTo>
                      <a:pt x="157543" y="87821"/>
                    </a:lnTo>
                    <a:cubicBezTo>
                      <a:pt x="176403" y="85725"/>
                      <a:pt x="191071" y="68199"/>
                      <a:pt x="191071" y="48768"/>
                    </a:cubicBezTo>
                    <a:lnTo>
                      <a:pt x="191071" y="37719"/>
                    </a:lnTo>
                    <a:cubicBezTo>
                      <a:pt x="191071" y="16859"/>
                      <a:pt x="174117" y="0"/>
                      <a:pt x="153257" y="0"/>
                    </a:cubicBezTo>
                    <a:lnTo>
                      <a:pt x="71342" y="95"/>
                    </a:lnTo>
                    <a:lnTo>
                      <a:pt x="71342" y="286"/>
                    </a:lnTo>
                    <a:lnTo>
                      <a:pt x="2000" y="286"/>
                    </a:lnTo>
                    <a:cubicBezTo>
                      <a:pt x="952" y="286"/>
                      <a:pt x="190" y="1143"/>
                      <a:pt x="190" y="2096"/>
                    </a:cubicBezTo>
                    <a:lnTo>
                      <a:pt x="0" y="26098"/>
                    </a:lnTo>
                    <a:cubicBezTo>
                      <a:pt x="95" y="26098"/>
                      <a:pt x="-191" y="27146"/>
                      <a:pt x="381" y="28004"/>
                    </a:cubicBezTo>
                    <a:cubicBezTo>
                      <a:pt x="952" y="28861"/>
                      <a:pt x="2286" y="28765"/>
                      <a:pt x="2286" y="28765"/>
                    </a:cubicBezTo>
                    <a:cubicBezTo>
                      <a:pt x="10573" y="30099"/>
                      <a:pt x="21336" y="34861"/>
                      <a:pt x="21336" y="39529"/>
                    </a:cubicBezTo>
                    <a:lnTo>
                      <a:pt x="21336" y="83534"/>
                    </a:lnTo>
                    <a:lnTo>
                      <a:pt x="21336" y="114871"/>
                    </a:lnTo>
                    <a:lnTo>
                      <a:pt x="21336" y="157353"/>
                    </a:lnTo>
                    <a:cubicBezTo>
                      <a:pt x="21336" y="162020"/>
                      <a:pt x="10573" y="166783"/>
                      <a:pt x="2286" y="168116"/>
                    </a:cubicBezTo>
                    <a:cubicBezTo>
                      <a:pt x="2286" y="168116"/>
                      <a:pt x="952" y="168021"/>
                      <a:pt x="381" y="168878"/>
                    </a:cubicBezTo>
                    <a:cubicBezTo>
                      <a:pt x="-191" y="169735"/>
                      <a:pt x="95" y="170783"/>
                      <a:pt x="0" y="170783"/>
                    </a:cubicBezTo>
                    <a:lnTo>
                      <a:pt x="190" y="194786"/>
                    </a:lnTo>
                    <a:cubicBezTo>
                      <a:pt x="190" y="195834"/>
                      <a:pt x="1048" y="196596"/>
                      <a:pt x="2000" y="196596"/>
                    </a:cubicBezTo>
                    <a:lnTo>
                      <a:pt x="83820" y="196596"/>
                    </a:lnTo>
                    <a:cubicBezTo>
                      <a:pt x="84867" y="196596"/>
                      <a:pt x="85630" y="195739"/>
                      <a:pt x="85630" y="194786"/>
                    </a:cubicBezTo>
                    <a:lnTo>
                      <a:pt x="85820" y="170783"/>
                    </a:lnTo>
                    <a:cubicBezTo>
                      <a:pt x="85725" y="170783"/>
                      <a:pt x="86011" y="169735"/>
                      <a:pt x="85439" y="168878"/>
                    </a:cubicBezTo>
                    <a:cubicBezTo>
                      <a:pt x="84867" y="168021"/>
                      <a:pt x="83534" y="168116"/>
                      <a:pt x="83534" y="168116"/>
                    </a:cubicBezTo>
                    <a:cubicBezTo>
                      <a:pt x="75247" y="166783"/>
                      <a:pt x="64484" y="162020"/>
                      <a:pt x="64484" y="157353"/>
                    </a:cubicBezTo>
                    <a:lnTo>
                      <a:pt x="64484" y="114871"/>
                    </a:lnTo>
                    <a:lnTo>
                      <a:pt x="64484" y="83534"/>
                    </a:lnTo>
                    <a:lnTo>
                      <a:pt x="64484" y="39529"/>
                    </a:lnTo>
                    <a:cubicBezTo>
                      <a:pt x="64484" y="37052"/>
                      <a:pt x="67627" y="34480"/>
                      <a:pt x="71818" y="32480"/>
                    </a:cubicBezTo>
                    <a:lnTo>
                      <a:pt x="118967" y="32480"/>
                    </a:lnTo>
                    <a:cubicBezTo>
                      <a:pt x="128301" y="32480"/>
                      <a:pt x="137826" y="40100"/>
                      <a:pt x="137826" y="49435"/>
                    </a:cubicBezTo>
                    <a:lnTo>
                      <a:pt x="137826" y="58007"/>
                    </a:lnTo>
                    <a:cubicBezTo>
                      <a:pt x="138017" y="63341"/>
                      <a:pt x="129635" y="78962"/>
                      <a:pt x="118586" y="78296"/>
                    </a:cubicBezTo>
                    <a:lnTo>
                      <a:pt x="117824" y="78486"/>
                    </a:lnTo>
                    <a:lnTo>
                      <a:pt x="89535" y="78486"/>
                    </a:lnTo>
                    <a:cubicBezTo>
                      <a:pt x="86201" y="78486"/>
                      <a:pt x="83439" y="81248"/>
                      <a:pt x="83439" y="84582"/>
                    </a:cubicBezTo>
                    <a:lnTo>
                      <a:pt x="83439" y="106013"/>
                    </a:lnTo>
                    <a:cubicBezTo>
                      <a:pt x="83439" y="109347"/>
                      <a:pt x="86201" y="112109"/>
                      <a:pt x="89535" y="112109"/>
                    </a:cubicBezTo>
                    <a:lnTo>
                      <a:pt x="120872" y="112109"/>
                    </a:lnTo>
                    <a:cubicBezTo>
                      <a:pt x="141732" y="113347"/>
                      <a:pt x="140779" y="125254"/>
                      <a:pt x="140970" y="130397"/>
                    </a:cubicBezTo>
                    <a:lnTo>
                      <a:pt x="140494" y="185738"/>
                    </a:lnTo>
                    <a:cubicBezTo>
                      <a:pt x="140494" y="185738"/>
                      <a:pt x="140589" y="189833"/>
                      <a:pt x="141256" y="192119"/>
                    </a:cubicBezTo>
                    <a:cubicBezTo>
                      <a:pt x="142494" y="196215"/>
                      <a:pt x="149923" y="196691"/>
                      <a:pt x="149923" y="196691"/>
                    </a:cubicBezTo>
                    <a:lnTo>
                      <a:pt x="212026" y="196691"/>
                    </a:lnTo>
                    <a:cubicBezTo>
                      <a:pt x="213074" y="196691"/>
                      <a:pt x="213836" y="195834"/>
                      <a:pt x="213836" y="194881"/>
                    </a:cubicBezTo>
                    <a:lnTo>
                      <a:pt x="214026" y="170879"/>
                    </a:lnTo>
                    <a:cubicBezTo>
                      <a:pt x="214122" y="170783"/>
                      <a:pt x="214313" y="169735"/>
                      <a:pt x="213741" y="168878"/>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8" name="Freeform 127">
                <a:extLst>
                  <a:ext uri="{FF2B5EF4-FFF2-40B4-BE49-F238E27FC236}">
                    <a16:creationId xmlns:a16="http://schemas.microsoft.com/office/drawing/2014/main" id="{36AB9F03-3830-FF4F-AB75-7E3F6F121DD4}"/>
                  </a:ext>
                </a:extLst>
              </p:cNvPr>
              <p:cNvSpPr/>
              <p:nvPr/>
            </p:nvSpPr>
            <p:spPr>
              <a:xfrm>
                <a:off x="1596084" y="6441174"/>
                <a:ext cx="73091" cy="67002"/>
              </a:xfrm>
              <a:custGeom>
                <a:avLst/>
                <a:gdLst>
                  <a:gd name="connsiteX0" fmla="*/ 164535 w 165106"/>
                  <a:gd name="connsiteY0" fmla="*/ 130016 h 151352"/>
                  <a:gd name="connsiteX1" fmla="*/ 163106 w 165106"/>
                  <a:gd name="connsiteY1" fmla="*/ 129445 h 151352"/>
                  <a:gd name="connsiteX2" fmla="*/ 148437 w 165106"/>
                  <a:gd name="connsiteY2" fmla="*/ 121158 h 151352"/>
                  <a:gd name="connsiteX3" fmla="*/ 148342 w 165106"/>
                  <a:gd name="connsiteY3" fmla="*/ 100489 h 151352"/>
                  <a:gd name="connsiteX4" fmla="*/ 118052 w 165106"/>
                  <a:gd name="connsiteY4" fmla="*/ 71438 h 151352"/>
                  <a:gd name="connsiteX5" fmla="*/ 117195 w 165106"/>
                  <a:gd name="connsiteY5" fmla="*/ 71438 h 151352"/>
                  <a:gd name="connsiteX6" fmla="*/ 117195 w 165106"/>
                  <a:gd name="connsiteY6" fmla="*/ 71152 h 151352"/>
                  <a:gd name="connsiteX7" fmla="*/ 117005 w 165106"/>
                  <a:gd name="connsiteY7" fmla="*/ 71152 h 151352"/>
                  <a:gd name="connsiteX8" fmla="*/ 115195 w 165106"/>
                  <a:gd name="connsiteY8" fmla="*/ 69342 h 151352"/>
                  <a:gd name="connsiteX9" fmla="*/ 117005 w 165106"/>
                  <a:gd name="connsiteY9" fmla="*/ 67628 h 151352"/>
                  <a:gd name="connsiteX10" fmla="*/ 121291 w 165106"/>
                  <a:gd name="connsiteY10" fmla="*/ 67628 h 151352"/>
                  <a:gd name="connsiteX11" fmla="*/ 147104 w 165106"/>
                  <a:gd name="connsiteY11" fmla="*/ 37529 h 151352"/>
                  <a:gd name="connsiteX12" fmla="*/ 147104 w 165106"/>
                  <a:gd name="connsiteY12" fmla="*/ 29051 h 151352"/>
                  <a:gd name="connsiteX13" fmla="*/ 118052 w 165106"/>
                  <a:gd name="connsiteY13" fmla="*/ 0 h 151352"/>
                  <a:gd name="connsiteX14" fmla="*/ 54997 w 165106"/>
                  <a:gd name="connsiteY14" fmla="*/ 0 h 151352"/>
                  <a:gd name="connsiteX15" fmla="*/ 54997 w 165106"/>
                  <a:gd name="connsiteY15" fmla="*/ 191 h 151352"/>
                  <a:gd name="connsiteX16" fmla="*/ 1657 w 165106"/>
                  <a:gd name="connsiteY16" fmla="*/ 191 h 151352"/>
                  <a:gd name="connsiteX17" fmla="*/ 228 w 165106"/>
                  <a:gd name="connsiteY17" fmla="*/ 1619 h 151352"/>
                  <a:gd name="connsiteX18" fmla="*/ 38 w 165106"/>
                  <a:gd name="connsiteY18" fmla="*/ 20098 h 151352"/>
                  <a:gd name="connsiteX19" fmla="*/ 323 w 165106"/>
                  <a:gd name="connsiteY19" fmla="*/ 21527 h 151352"/>
                  <a:gd name="connsiteX20" fmla="*/ 1752 w 165106"/>
                  <a:gd name="connsiteY20" fmla="*/ 22098 h 151352"/>
                  <a:gd name="connsiteX21" fmla="*/ 16421 w 165106"/>
                  <a:gd name="connsiteY21" fmla="*/ 30385 h 151352"/>
                  <a:gd name="connsiteX22" fmla="*/ 16421 w 165106"/>
                  <a:gd name="connsiteY22" fmla="*/ 64294 h 151352"/>
                  <a:gd name="connsiteX23" fmla="*/ 16421 w 165106"/>
                  <a:gd name="connsiteY23" fmla="*/ 88392 h 151352"/>
                  <a:gd name="connsiteX24" fmla="*/ 16421 w 165106"/>
                  <a:gd name="connsiteY24" fmla="*/ 121158 h 151352"/>
                  <a:gd name="connsiteX25" fmla="*/ 1752 w 165106"/>
                  <a:gd name="connsiteY25" fmla="*/ 129445 h 151352"/>
                  <a:gd name="connsiteX26" fmla="*/ 323 w 165106"/>
                  <a:gd name="connsiteY26" fmla="*/ 130016 h 151352"/>
                  <a:gd name="connsiteX27" fmla="*/ 38 w 165106"/>
                  <a:gd name="connsiteY27" fmla="*/ 131445 h 151352"/>
                  <a:gd name="connsiteX28" fmla="*/ 228 w 165106"/>
                  <a:gd name="connsiteY28" fmla="*/ 149924 h 151352"/>
                  <a:gd name="connsiteX29" fmla="*/ 1657 w 165106"/>
                  <a:gd name="connsiteY29" fmla="*/ 151352 h 151352"/>
                  <a:gd name="connsiteX30" fmla="*/ 64617 w 165106"/>
                  <a:gd name="connsiteY30" fmla="*/ 151352 h 151352"/>
                  <a:gd name="connsiteX31" fmla="*/ 66046 w 165106"/>
                  <a:gd name="connsiteY31" fmla="*/ 149924 h 151352"/>
                  <a:gd name="connsiteX32" fmla="*/ 66236 w 165106"/>
                  <a:gd name="connsiteY32" fmla="*/ 131445 h 151352"/>
                  <a:gd name="connsiteX33" fmla="*/ 65951 w 165106"/>
                  <a:gd name="connsiteY33" fmla="*/ 130016 h 151352"/>
                  <a:gd name="connsiteX34" fmla="*/ 64522 w 165106"/>
                  <a:gd name="connsiteY34" fmla="*/ 129445 h 151352"/>
                  <a:gd name="connsiteX35" fmla="*/ 49853 w 165106"/>
                  <a:gd name="connsiteY35" fmla="*/ 121158 h 151352"/>
                  <a:gd name="connsiteX36" fmla="*/ 49853 w 165106"/>
                  <a:gd name="connsiteY36" fmla="*/ 88392 h 151352"/>
                  <a:gd name="connsiteX37" fmla="*/ 49853 w 165106"/>
                  <a:gd name="connsiteY37" fmla="*/ 64294 h 151352"/>
                  <a:gd name="connsiteX38" fmla="*/ 49853 w 165106"/>
                  <a:gd name="connsiteY38" fmla="*/ 30385 h 151352"/>
                  <a:gd name="connsiteX39" fmla="*/ 55473 w 165106"/>
                  <a:gd name="connsiteY39" fmla="*/ 24956 h 151352"/>
                  <a:gd name="connsiteX40" fmla="*/ 91763 w 165106"/>
                  <a:gd name="connsiteY40" fmla="*/ 24956 h 151352"/>
                  <a:gd name="connsiteX41" fmla="*/ 106241 w 165106"/>
                  <a:gd name="connsiteY41" fmla="*/ 38005 h 151352"/>
                  <a:gd name="connsiteX42" fmla="*/ 106241 w 165106"/>
                  <a:gd name="connsiteY42" fmla="*/ 44577 h 151352"/>
                  <a:gd name="connsiteX43" fmla="*/ 91478 w 165106"/>
                  <a:gd name="connsiteY43" fmla="*/ 60198 h 151352"/>
                  <a:gd name="connsiteX44" fmla="*/ 90906 w 165106"/>
                  <a:gd name="connsiteY44" fmla="*/ 60388 h 151352"/>
                  <a:gd name="connsiteX45" fmla="*/ 69094 w 165106"/>
                  <a:gd name="connsiteY45" fmla="*/ 60388 h 151352"/>
                  <a:gd name="connsiteX46" fmla="*/ 64427 w 165106"/>
                  <a:gd name="connsiteY46" fmla="*/ 65056 h 151352"/>
                  <a:gd name="connsiteX47" fmla="*/ 64427 w 165106"/>
                  <a:gd name="connsiteY47" fmla="*/ 81534 h 151352"/>
                  <a:gd name="connsiteX48" fmla="*/ 69094 w 165106"/>
                  <a:gd name="connsiteY48" fmla="*/ 86201 h 151352"/>
                  <a:gd name="connsiteX49" fmla="*/ 93287 w 165106"/>
                  <a:gd name="connsiteY49" fmla="*/ 86201 h 151352"/>
                  <a:gd name="connsiteX50" fmla="*/ 108813 w 165106"/>
                  <a:gd name="connsiteY50" fmla="*/ 100298 h 151352"/>
                  <a:gd name="connsiteX51" fmla="*/ 108432 w 165106"/>
                  <a:gd name="connsiteY51" fmla="*/ 142875 h 151352"/>
                  <a:gd name="connsiteX52" fmla="*/ 109004 w 165106"/>
                  <a:gd name="connsiteY52" fmla="*/ 147828 h 151352"/>
                  <a:gd name="connsiteX53" fmla="*/ 115671 w 165106"/>
                  <a:gd name="connsiteY53" fmla="*/ 151352 h 151352"/>
                  <a:gd name="connsiteX54" fmla="*/ 163487 w 165106"/>
                  <a:gd name="connsiteY54" fmla="*/ 151352 h 151352"/>
                  <a:gd name="connsiteX55" fmla="*/ 164915 w 165106"/>
                  <a:gd name="connsiteY55" fmla="*/ 149924 h 151352"/>
                  <a:gd name="connsiteX56" fmla="*/ 165106 w 165106"/>
                  <a:gd name="connsiteY56" fmla="*/ 131445 h 151352"/>
                  <a:gd name="connsiteX57" fmla="*/ 164535 w 165106"/>
                  <a:gd name="connsiteY57" fmla="*/ 130016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5106" h="151352">
                    <a:moveTo>
                      <a:pt x="164535" y="130016"/>
                    </a:moveTo>
                    <a:cubicBezTo>
                      <a:pt x="164058" y="129350"/>
                      <a:pt x="163106" y="129445"/>
                      <a:pt x="163106" y="129445"/>
                    </a:cubicBezTo>
                    <a:cubicBezTo>
                      <a:pt x="156724" y="128397"/>
                      <a:pt x="148437" y="124778"/>
                      <a:pt x="148437" y="121158"/>
                    </a:cubicBezTo>
                    <a:lnTo>
                      <a:pt x="148342" y="100489"/>
                    </a:lnTo>
                    <a:cubicBezTo>
                      <a:pt x="148342" y="84392"/>
                      <a:pt x="143961" y="71438"/>
                      <a:pt x="118052" y="71438"/>
                    </a:cubicBezTo>
                    <a:lnTo>
                      <a:pt x="117195" y="71438"/>
                    </a:lnTo>
                    <a:lnTo>
                      <a:pt x="117195" y="71152"/>
                    </a:lnTo>
                    <a:lnTo>
                      <a:pt x="117005" y="71152"/>
                    </a:lnTo>
                    <a:cubicBezTo>
                      <a:pt x="116052" y="71152"/>
                      <a:pt x="115195" y="70390"/>
                      <a:pt x="115195" y="69342"/>
                    </a:cubicBezTo>
                    <a:cubicBezTo>
                      <a:pt x="115195" y="68390"/>
                      <a:pt x="115957" y="67628"/>
                      <a:pt x="117005" y="67628"/>
                    </a:cubicBezTo>
                    <a:lnTo>
                      <a:pt x="121291" y="67628"/>
                    </a:lnTo>
                    <a:cubicBezTo>
                      <a:pt x="135769" y="66008"/>
                      <a:pt x="147104" y="52483"/>
                      <a:pt x="147104" y="37529"/>
                    </a:cubicBezTo>
                    <a:lnTo>
                      <a:pt x="147104" y="29051"/>
                    </a:lnTo>
                    <a:cubicBezTo>
                      <a:pt x="147104" y="12954"/>
                      <a:pt x="134054" y="0"/>
                      <a:pt x="118052" y="0"/>
                    </a:cubicBezTo>
                    <a:lnTo>
                      <a:pt x="54997" y="0"/>
                    </a:lnTo>
                    <a:lnTo>
                      <a:pt x="54997" y="191"/>
                    </a:lnTo>
                    <a:lnTo>
                      <a:pt x="1657" y="191"/>
                    </a:lnTo>
                    <a:cubicBezTo>
                      <a:pt x="895" y="191"/>
                      <a:pt x="228" y="857"/>
                      <a:pt x="228" y="1619"/>
                    </a:cubicBezTo>
                    <a:lnTo>
                      <a:pt x="38" y="20098"/>
                    </a:lnTo>
                    <a:cubicBezTo>
                      <a:pt x="38" y="20098"/>
                      <a:pt x="-153" y="20955"/>
                      <a:pt x="323" y="21527"/>
                    </a:cubicBezTo>
                    <a:cubicBezTo>
                      <a:pt x="800" y="22193"/>
                      <a:pt x="1752" y="22098"/>
                      <a:pt x="1752" y="22098"/>
                    </a:cubicBezTo>
                    <a:cubicBezTo>
                      <a:pt x="8134" y="23146"/>
                      <a:pt x="16421" y="26765"/>
                      <a:pt x="16421" y="30385"/>
                    </a:cubicBezTo>
                    <a:lnTo>
                      <a:pt x="16421" y="64294"/>
                    </a:lnTo>
                    <a:lnTo>
                      <a:pt x="16421" y="88392"/>
                    </a:lnTo>
                    <a:lnTo>
                      <a:pt x="16421" y="121158"/>
                    </a:lnTo>
                    <a:cubicBezTo>
                      <a:pt x="16421" y="124778"/>
                      <a:pt x="8134" y="128397"/>
                      <a:pt x="1752" y="129445"/>
                    </a:cubicBezTo>
                    <a:cubicBezTo>
                      <a:pt x="1752" y="129445"/>
                      <a:pt x="704" y="129445"/>
                      <a:pt x="323" y="130016"/>
                    </a:cubicBezTo>
                    <a:cubicBezTo>
                      <a:pt x="-153" y="130683"/>
                      <a:pt x="38" y="131445"/>
                      <a:pt x="38" y="131445"/>
                    </a:cubicBezTo>
                    <a:lnTo>
                      <a:pt x="228" y="149924"/>
                    </a:lnTo>
                    <a:cubicBezTo>
                      <a:pt x="228" y="150686"/>
                      <a:pt x="895" y="151352"/>
                      <a:pt x="1657" y="151352"/>
                    </a:cubicBezTo>
                    <a:lnTo>
                      <a:pt x="64617" y="151352"/>
                    </a:lnTo>
                    <a:cubicBezTo>
                      <a:pt x="65379" y="151352"/>
                      <a:pt x="66046" y="150686"/>
                      <a:pt x="66046" y="149924"/>
                    </a:cubicBezTo>
                    <a:lnTo>
                      <a:pt x="66236" y="131445"/>
                    </a:lnTo>
                    <a:cubicBezTo>
                      <a:pt x="66236" y="131445"/>
                      <a:pt x="66427" y="130588"/>
                      <a:pt x="65951" y="130016"/>
                    </a:cubicBezTo>
                    <a:cubicBezTo>
                      <a:pt x="65474" y="129350"/>
                      <a:pt x="64522" y="129445"/>
                      <a:pt x="64522" y="129445"/>
                    </a:cubicBezTo>
                    <a:cubicBezTo>
                      <a:pt x="58140" y="128397"/>
                      <a:pt x="49853" y="124778"/>
                      <a:pt x="49853" y="121158"/>
                    </a:cubicBezTo>
                    <a:lnTo>
                      <a:pt x="49853" y="88392"/>
                    </a:lnTo>
                    <a:lnTo>
                      <a:pt x="49853" y="64294"/>
                    </a:lnTo>
                    <a:lnTo>
                      <a:pt x="49853" y="30385"/>
                    </a:lnTo>
                    <a:cubicBezTo>
                      <a:pt x="49853" y="28480"/>
                      <a:pt x="52235" y="26479"/>
                      <a:pt x="55473" y="24956"/>
                    </a:cubicBezTo>
                    <a:lnTo>
                      <a:pt x="91763" y="24956"/>
                    </a:lnTo>
                    <a:cubicBezTo>
                      <a:pt x="99002" y="24956"/>
                      <a:pt x="106241" y="30766"/>
                      <a:pt x="106241" y="38005"/>
                    </a:cubicBezTo>
                    <a:lnTo>
                      <a:pt x="106241" y="44577"/>
                    </a:lnTo>
                    <a:cubicBezTo>
                      <a:pt x="106432" y="48673"/>
                      <a:pt x="99955" y="60770"/>
                      <a:pt x="91478" y="60198"/>
                    </a:cubicBezTo>
                    <a:lnTo>
                      <a:pt x="90906" y="60388"/>
                    </a:lnTo>
                    <a:lnTo>
                      <a:pt x="69094" y="60388"/>
                    </a:lnTo>
                    <a:cubicBezTo>
                      <a:pt x="66522" y="60388"/>
                      <a:pt x="64427" y="62484"/>
                      <a:pt x="64427" y="65056"/>
                    </a:cubicBezTo>
                    <a:lnTo>
                      <a:pt x="64427" y="81534"/>
                    </a:lnTo>
                    <a:cubicBezTo>
                      <a:pt x="64427" y="84106"/>
                      <a:pt x="66522" y="86201"/>
                      <a:pt x="69094" y="86201"/>
                    </a:cubicBezTo>
                    <a:lnTo>
                      <a:pt x="93287" y="86201"/>
                    </a:lnTo>
                    <a:cubicBezTo>
                      <a:pt x="109385" y="87154"/>
                      <a:pt x="108623" y="96298"/>
                      <a:pt x="108813" y="100298"/>
                    </a:cubicBezTo>
                    <a:lnTo>
                      <a:pt x="108432" y="142875"/>
                    </a:lnTo>
                    <a:cubicBezTo>
                      <a:pt x="108432" y="142875"/>
                      <a:pt x="108432" y="146018"/>
                      <a:pt x="109004" y="147828"/>
                    </a:cubicBezTo>
                    <a:cubicBezTo>
                      <a:pt x="109956" y="150971"/>
                      <a:pt x="115671" y="151352"/>
                      <a:pt x="115671" y="151352"/>
                    </a:cubicBezTo>
                    <a:lnTo>
                      <a:pt x="163487" y="151352"/>
                    </a:lnTo>
                    <a:cubicBezTo>
                      <a:pt x="164249" y="151352"/>
                      <a:pt x="164915" y="150686"/>
                      <a:pt x="164915" y="149924"/>
                    </a:cubicBezTo>
                    <a:lnTo>
                      <a:pt x="165106" y="131445"/>
                    </a:lnTo>
                    <a:cubicBezTo>
                      <a:pt x="164820" y="131445"/>
                      <a:pt x="165011" y="130588"/>
                      <a:pt x="164535" y="1300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29" name="Freeform 128">
                <a:extLst>
                  <a:ext uri="{FF2B5EF4-FFF2-40B4-BE49-F238E27FC236}">
                    <a16:creationId xmlns:a16="http://schemas.microsoft.com/office/drawing/2014/main" id="{077F7820-A6DA-9F4F-B299-F4FC7E8EDB7C}"/>
                  </a:ext>
                </a:extLst>
              </p:cNvPr>
              <p:cNvSpPr/>
              <p:nvPr/>
            </p:nvSpPr>
            <p:spPr>
              <a:xfrm>
                <a:off x="1489022"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3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054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3" y="134971"/>
                      <a:pt x="2803"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438" y="77250"/>
                      <a:pt x="99197" y="73154"/>
                      <a:pt x="80147" y="70106"/>
                    </a:cubicBezTo>
                    <a:cubicBezTo>
                      <a:pt x="61097" y="67058"/>
                      <a:pt x="44999" y="64010"/>
                      <a:pt x="44999" y="47246"/>
                    </a:cubicBezTo>
                    <a:cubicBezTo>
                      <a:pt x="44999" y="30482"/>
                      <a:pt x="67097" y="27434"/>
                      <a:pt x="77194" y="27148"/>
                    </a:cubicBezTo>
                    <a:cubicBezTo>
                      <a:pt x="77194" y="27148"/>
                      <a:pt x="90148" y="26005"/>
                      <a:pt x="100054" y="29720"/>
                    </a:cubicBezTo>
                    <a:cubicBezTo>
                      <a:pt x="104150" y="31244"/>
                      <a:pt x="107959"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0" name="Freeform 129">
                <a:extLst>
                  <a:ext uri="{FF2B5EF4-FFF2-40B4-BE49-F238E27FC236}">
                    <a16:creationId xmlns:a16="http://schemas.microsoft.com/office/drawing/2014/main" id="{2446C8DD-3990-6D44-A3F7-3BD8488E584F}"/>
                  </a:ext>
                </a:extLst>
              </p:cNvPr>
              <p:cNvSpPr/>
              <p:nvPr/>
            </p:nvSpPr>
            <p:spPr>
              <a:xfrm>
                <a:off x="2048229"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4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149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4" y="134971"/>
                      <a:pt x="2804"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533" y="77250"/>
                      <a:pt x="99197" y="73154"/>
                      <a:pt x="80147" y="70106"/>
                    </a:cubicBezTo>
                    <a:cubicBezTo>
                      <a:pt x="61097" y="67058"/>
                      <a:pt x="44999" y="64010"/>
                      <a:pt x="44999" y="47246"/>
                    </a:cubicBezTo>
                    <a:cubicBezTo>
                      <a:pt x="44999" y="30482"/>
                      <a:pt x="67192" y="27434"/>
                      <a:pt x="77194" y="27148"/>
                    </a:cubicBezTo>
                    <a:cubicBezTo>
                      <a:pt x="77194" y="27148"/>
                      <a:pt x="90148"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1" name="Freeform 130">
                <a:extLst>
                  <a:ext uri="{FF2B5EF4-FFF2-40B4-BE49-F238E27FC236}">
                    <a16:creationId xmlns:a16="http://schemas.microsoft.com/office/drawing/2014/main" id="{157AB754-D99B-9948-92DE-526F4FE8CDAE}"/>
                  </a:ext>
                </a:extLst>
              </p:cNvPr>
              <p:cNvSpPr/>
              <p:nvPr/>
            </p:nvSpPr>
            <p:spPr>
              <a:xfrm>
                <a:off x="2511339" y="6302067"/>
                <a:ext cx="71672" cy="88472"/>
              </a:xfrm>
              <a:custGeom>
                <a:avLst/>
                <a:gdLst>
                  <a:gd name="connsiteX0" fmla="*/ 31379 w 161901"/>
                  <a:gd name="connsiteY0" fmla="*/ 103539 h 199852"/>
                  <a:gd name="connsiteX1" fmla="*/ 93957 w 161901"/>
                  <a:gd name="connsiteY1" fmla="*/ 119540 h 199852"/>
                  <a:gd name="connsiteX2" fmla="*/ 118437 w 161901"/>
                  <a:gd name="connsiteY2" fmla="*/ 148592 h 199852"/>
                  <a:gd name="connsiteX3" fmla="*/ 86242 w 161901"/>
                  <a:gd name="connsiteY3" fmla="*/ 168689 h 199852"/>
                  <a:gd name="connsiteX4" fmla="*/ 51857 w 161901"/>
                  <a:gd name="connsiteY4" fmla="*/ 166118 h 199852"/>
                  <a:gd name="connsiteX5" fmla="*/ 34331 w 161901"/>
                  <a:gd name="connsiteY5" fmla="*/ 148020 h 199852"/>
                  <a:gd name="connsiteX6" fmla="*/ 30330 w 161901"/>
                  <a:gd name="connsiteY6" fmla="*/ 138305 h 199852"/>
                  <a:gd name="connsiteX7" fmla="*/ 24806 w 161901"/>
                  <a:gd name="connsiteY7" fmla="*/ 135066 h 199852"/>
                  <a:gd name="connsiteX8" fmla="*/ 7375 w 161901"/>
                  <a:gd name="connsiteY8" fmla="*/ 135066 h 199852"/>
                  <a:gd name="connsiteX9" fmla="*/ 2898 w 161901"/>
                  <a:gd name="connsiteY9" fmla="*/ 138305 h 199852"/>
                  <a:gd name="connsiteX10" fmla="*/ 2994 w 161901"/>
                  <a:gd name="connsiteY10" fmla="*/ 176500 h 199852"/>
                  <a:gd name="connsiteX11" fmla="*/ 2994 w 161901"/>
                  <a:gd name="connsiteY11" fmla="*/ 193359 h 199852"/>
                  <a:gd name="connsiteX12" fmla="*/ 32807 w 161901"/>
                  <a:gd name="connsiteY12" fmla="*/ 199836 h 199852"/>
                  <a:gd name="connsiteX13" fmla="*/ 91100 w 161901"/>
                  <a:gd name="connsiteY13" fmla="*/ 199836 h 199852"/>
                  <a:gd name="connsiteX14" fmla="*/ 134344 w 161901"/>
                  <a:gd name="connsiteY14" fmla="*/ 189930 h 199852"/>
                  <a:gd name="connsiteX15" fmla="*/ 161871 w 161901"/>
                  <a:gd name="connsiteY15" fmla="*/ 139543 h 199852"/>
                  <a:gd name="connsiteX16" fmla="*/ 142821 w 161901"/>
                  <a:gd name="connsiteY16" fmla="*/ 86108 h 199852"/>
                  <a:gd name="connsiteX17" fmla="*/ 80241 w 161901"/>
                  <a:gd name="connsiteY17" fmla="*/ 70106 h 199852"/>
                  <a:gd name="connsiteX18" fmla="*/ 45094 w 161901"/>
                  <a:gd name="connsiteY18" fmla="*/ 47246 h 199852"/>
                  <a:gd name="connsiteX19" fmla="*/ 77289 w 161901"/>
                  <a:gd name="connsiteY19" fmla="*/ 27148 h 199852"/>
                  <a:gd name="connsiteX20" fmla="*/ 100149 w 161901"/>
                  <a:gd name="connsiteY20" fmla="*/ 29720 h 199852"/>
                  <a:gd name="connsiteX21" fmla="*/ 113770 w 161901"/>
                  <a:gd name="connsiteY21" fmla="*/ 39626 h 199852"/>
                  <a:gd name="connsiteX22" fmla="*/ 121009 w 161901"/>
                  <a:gd name="connsiteY22" fmla="*/ 54199 h 199852"/>
                  <a:gd name="connsiteX23" fmla="*/ 127105 w 161901"/>
                  <a:gd name="connsiteY23" fmla="*/ 60295 h 199852"/>
                  <a:gd name="connsiteX24" fmla="*/ 142916 w 161901"/>
                  <a:gd name="connsiteY24" fmla="*/ 60295 h 199852"/>
                  <a:gd name="connsiteX25" fmla="*/ 149012 w 161901"/>
                  <a:gd name="connsiteY25" fmla="*/ 54199 h 199852"/>
                  <a:gd name="connsiteX26" fmla="*/ 148917 w 161901"/>
                  <a:gd name="connsiteY26" fmla="*/ 3335 h 199852"/>
                  <a:gd name="connsiteX27" fmla="*/ 119103 w 161901"/>
                  <a:gd name="connsiteY27" fmla="*/ 2 h 199852"/>
                  <a:gd name="connsiteX28" fmla="*/ 54714 w 161901"/>
                  <a:gd name="connsiteY28" fmla="*/ 2 h 199852"/>
                  <a:gd name="connsiteX29" fmla="*/ 19091 w 161901"/>
                  <a:gd name="connsiteY29" fmla="*/ 12956 h 199852"/>
                  <a:gd name="connsiteX30" fmla="*/ 41 w 161901"/>
                  <a:gd name="connsiteY30" fmla="*/ 58009 h 199852"/>
                  <a:gd name="connsiteX31" fmla="*/ 31379 w 161901"/>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901" h="199852">
                    <a:moveTo>
                      <a:pt x="31379" y="103539"/>
                    </a:moveTo>
                    <a:cubicBezTo>
                      <a:pt x="47381" y="108396"/>
                      <a:pt x="74907" y="116493"/>
                      <a:pt x="93957" y="119540"/>
                    </a:cubicBezTo>
                    <a:cubicBezTo>
                      <a:pt x="113007" y="122589"/>
                      <a:pt x="121485" y="131732"/>
                      <a:pt x="118437" y="148592"/>
                    </a:cubicBezTo>
                    <a:cubicBezTo>
                      <a:pt x="115389" y="165165"/>
                      <a:pt x="96244" y="168404"/>
                      <a:pt x="86242" y="168689"/>
                    </a:cubicBezTo>
                    <a:cubicBezTo>
                      <a:pt x="86242" y="168689"/>
                      <a:pt x="61858" y="169832"/>
                      <a:pt x="51857" y="166118"/>
                    </a:cubicBezTo>
                    <a:cubicBezTo>
                      <a:pt x="47761" y="164594"/>
                      <a:pt x="36427" y="151640"/>
                      <a:pt x="34331" y="148020"/>
                    </a:cubicBezTo>
                    <a:lnTo>
                      <a:pt x="30330" y="138305"/>
                    </a:lnTo>
                    <a:cubicBezTo>
                      <a:pt x="30330" y="136685"/>
                      <a:pt x="28235" y="135066"/>
                      <a:pt x="24806" y="135066"/>
                    </a:cubicBezTo>
                    <a:lnTo>
                      <a:pt x="7375" y="135066"/>
                    </a:lnTo>
                    <a:cubicBezTo>
                      <a:pt x="4041" y="135066"/>
                      <a:pt x="2898" y="134971"/>
                      <a:pt x="2898" y="138305"/>
                    </a:cubicBezTo>
                    <a:lnTo>
                      <a:pt x="2994" y="176500"/>
                    </a:lnTo>
                    <a:lnTo>
                      <a:pt x="2994" y="193359"/>
                    </a:lnTo>
                    <a:cubicBezTo>
                      <a:pt x="2994" y="198598"/>
                      <a:pt x="10900" y="199836"/>
                      <a:pt x="32807" y="199836"/>
                    </a:cubicBezTo>
                    <a:lnTo>
                      <a:pt x="91100" y="199836"/>
                    </a:lnTo>
                    <a:cubicBezTo>
                      <a:pt x="91100" y="199836"/>
                      <a:pt x="115960" y="200693"/>
                      <a:pt x="134344" y="189930"/>
                    </a:cubicBezTo>
                    <a:cubicBezTo>
                      <a:pt x="149393" y="181072"/>
                      <a:pt x="162633" y="157069"/>
                      <a:pt x="161871" y="139543"/>
                    </a:cubicBezTo>
                    <a:cubicBezTo>
                      <a:pt x="160632" y="111254"/>
                      <a:pt x="158823" y="96014"/>
                      <a:pt x="142821" y="86108"/>
                    </a:cubicBezTo>
                    <a:cubicBezTo>
                      <a:pt x="128533" y="77250"/>
                      <a:pt x="99291" y="73154"/>
                      <a:pt x="80241" y="70106"/>
                    </a:cubicBezTo>
                    <a:cubicBezTo>
                      <a:pt x="61191" y="67058"/>
                      <a:pt x="45094" y="64010"/>
                      <a:pt x="45094" y="47246"/>
                    </a:cubicBezTo>
                    <a:cubicBezTo>
                      <a:pt x="45094" y="30482"/>
                      <a:pt x="67192" y="27434"/>
                      <a:pt x="77289" y="27148"/>
                    </a:cubicBezTo>
                    <a:cubicBezTo>
                      <a:pt x="77289" y="27148"/>
                      <a:pt x="90243"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3" y="2"/>
                    </a:cubicBezTo>
                    <a:lnTo>
                      <a:pt x="54714" y="2"/>
                    </a:lnTo>
                    <a:cubicBezTo>
                      <a:pt x="54714" y="2"/>
                      <a:pt x="32522" y="192"/>
                      <a:pt x="19091" y="12956"/>
                    </a:cubicBezTo>
                    <a:cubicBezTo>
                      <a:pt x="9281" y="22290"/>
                      <a:pt x="-721" y="40483"/>
                      <a:pt x="41" y="58009"/>
                    </a:cubicBezTo>
                    <a:cubicBezTo>
                      <a:pt x="803" y="75249"/>
                      <a:pt x="3851" y="95156"/>
                      <a:pt x="31379"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2" name="Freeform 131">
                <a:extLst>
                  <a:ext uri="{FF2B5EF4-FFF2-40B4-BE49-F238E27FC236}">
                    <a16:creationId xmlns:a16="http://schemas.microsoft.com/office/drawing/2014/main" id="{F23E31C6-EA7E-8A46-A42F-6762DC559688}"/>
                  </a:ext>
                </a:extLst>
              </p:cNvPr>
              <p:cNvSpPr/>
              <p:nvPr/>
            </p:nvSpPr>
            <p:spPr>
              <a:xfrm>
                <a:off x="1597661" y="6300582"/>
                <a:ext cx="107687" cy="93355"/>
              </a:xfrm>
              <a:custGeom>
                <a:avLst/>
                <a:gdLst>
                  <a:gd name="connsiteX0" fmla="*/ 242507 w 243257"/>
                  <a:gd name="connsiteY0" fmla="*/ 186523 h 210883"/>
                  <a:gd name="connsiteX1" fmla="*/ 234125 w 243257"/>
                  <a:gd name="connsiteY1" fmla="*/ 184237 h 210883"/>
                  <a:gd name="connsiteX2" fmla="*/ 226504 w 243257"/>
                  <a:gd name="connsiteY2" fmla="*/ 181189 h 210883"/>
                  <a:gd name="connsiteX3" fmla="*/ 202597 w 243257"/>
                  <a:gd name="connsiteY3" fmla="*/ 164234 h 210883"/>
                  <a:gd name="connsiteX4" fmla="*/ 210503 w 243257"/>
                  <a:gd name="connsiteY4" fmla="*/ 147470 h 210883"/>
                  <a:gd name="connsiteX5" fmla="*/ 215075 w 243257"/>
                  <a:gd name="connsiteY5" fmla="*/ 110799 h 210883"/>
                  <a:gd name="connsiteX6" fmla="*/ 214122 w 243257"/>
                  <a:gd name="connsiteY6" fmla="*/ 87558 h 210883"/>
                  <a:gd name="connsiteX7" fmla="*/ 210312 w 243257"/>
                  <a:gd name="connsiteY7" fmla="*/ 86415 h 210883"/>
                  <a:gd name="connsiteX8" fmla="*/ 177641 w 243257"/>
                  <a:gd name="connsiteY8" fmla="*/ 86415 h 210883"/>
                  <a:gd name="connsiteX9" fmla="*/ 174593 w 243257"/>
                  <a:gd name="connsiteY9" fmla="*/ 87939 h 210883"/>
                  <a:gd name="connsiteX10" fmla="*/ 173831 w 243257"/>
                  <a:gd name="connsiteY10" fmla="*/ 93273 h 210883"/>
                  <a:gd name="connsiteX11" fmla="*/ 173831 w 243257"/>
                  <a:gd name="connsiteY11" fmla="*/ 109275 h 210883"/>
                  <a:gd name="connsiteX12" fmla="*/ 168593 w 243257"/>
                  <a:gd name="connsiteY12" fmla="*/ 136040 h 210883"/>
                  <a:gd name="connsiteX13" fmla="*/ 120301 w 243257"/>
                  <a:gd name="connsiteY13" fmla="*/ 95940 h 210883"/>
                  <a:gd name="connsiteX14" fmla="*/ 163830 w 243257"/>
                  <a:gd name="connsiteY14" fmla="*/ 46600 h 210883"/>
                  <a:gd name="connsiteX15" fmla="*/ 92012 w 243257"/>
                  <a:gd name="connsiteY15" fmla="*/ 23 h 210883"/>
                  <a:gd name="connsiteX16" fmla="*/ 14097 w 243257"/>
                  <a:gd name="connsiteY16" fmla="*/ 46600 h 210883"/>
                  <a:gd name="connsiteX17" fmla="*/ 20384 w 243257"/>
                  <a:gd name="connsiteY17" fmla="*/ 69270 h 210883"/>
                  <a:gd name="connsiteX18" fmla="*/ 20193 w 243257"/>
                  <a:gd name="connsiteY18" fmla="*/ 70222 h 210883"/>
                  <a:gd name="connsiteX19" fmla="*/ 21908 w 243257"/>
                  <a:gd name="connsiteY19" fmla="*/ 71651 h 210883"/>
                  <a:gd name="connsiteX20" fmla="*/ 33242 w 243257"/>
                  <a:gd name="connsiteY20" fmla="*/ 83462 h 210883"/>
                  <a:gd name="connsiteX21" fmla="*/ 0 w 243257"/>
                  <a:gd name="connsiteY21" fmla="*/ 139755 h 210883"/>
                  <a:gd name="connsiteX22" fmla="*/ 97346 w 243257"/>
                  <a:gd name="connsiteY22" fmla="*/ 210811 h 210883"/>
                  <a:gd name="connsiteX23" fmla="*/ 172688 w 243257"/>
                  <a:gd name="connsiteY23" fmla="*/ 193000 h 210883"/>
                  <a:gd name="connsiteX24" fmla="*/ 180594 w 243257"/>
                  <a:gd name="connsiteY24" fmla="*/ 196524 h 210883"/>
                  <a:gd name="connsiteX25" fmla="*/ 192977 w 243257"/>
                  <a:gd name="connsiteY25" fmla="*/ 202620 h 210883"/>
                  <a:gd name="connsiteX26" fmla="*/ 237839 w 243257"/>
                  <a:gd name="connsiteY26" fmla="*/ 202429 h 210883"/>
                  <a:gd name="connsiteX27" fmla="*/ 242983 w 243257"/>
                  <a:gd name="connsiteY27" fmla="*/ 198048 h 210883"/>
                  <a:gd name="connsiteX28" fmla="*/ 243078 w 243257"/>
                  <a:gd name="connsiteY28" fmla="*/ 195571 h 210883"/>
                  <a:gd name="connsiteX29" fmla="*/ 242507 w 243257"/>
                  <a:gd name="connsiteY29" fmla="*/ 186523 h 210883"/>
                  <a:gd name="connsiteX30" fmla="*/ 92107 w 243257"/>
                  <a:gd name="connsiteY30" fmla="*/ 28217 h 210883"/>
                  <a:gd name="connsiteX31" fmla="*/ 120396 w 243257"/>
                  <a:gd name="connsiteY31" fmla="*/ 46505 h 210883"/>
                  <a:gd name="connsiteX32" fmla="*/ 89821 w 243257"/>
                  <a:gd name="connsiteY32" fmla="*/ 67079 h 210883"/>
                  <a:gd name="connsiteX33" fmla="*/ 85916 w 243257"/>
                  <a:gd name="connsiteY33" fmla="*/ 66317 h 210883"/>
                  <a:gd name="connsiteX34" fmla="*/ 77534 w 243257"/>
                  <a:gd name="connsiteY34" fmla="*/ 62983 h 210883"/>
                  <a:gd name="connsiteX35" fmla="*/ 61817 w 243257"/>
                  <a:gd name="connsiteY35" fmla="*/ 46505 h 210883"/>
                  <a:gd name="connsiteX36" fmla="*/ 92107 w 243257"/>
                  <a:gd name="connsiteY36" fmla="*/ 28217 h 210883"/>
                  <a:gd name="connsiteX37" fmla="*/ 102013 w 243257"/>
                  <a:gd name="connsiteY37" fmla="*/ 176426 h 210883"/>
                  <a:gd name="connsiteX38" fmla="*/ 51721 w 243257"/>
                  <a:gd name="connsiteY38" fmla="*/ 136135 h 210883"/>
                  <a:gd name="connsiteX39" fmla="*/ 65913 w 243257"/>
                  <a:gd name="connsiteY39" fmla="*/ 106989 h 210883"/>
                  <a:gd name="connsiteX40" fmla="*/ 142875 w 243257"/>
                  <a:gd name="connsiteY40" fmla="*/ 168901 h 210883"/>
                  <a:gd name="connsiteX41" fmla="*/ 102013 w 243257"/>
                  <a:gd name="connsiteY41" fmla="*/ 176426 h 2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3257" h="210883">
                    <a:moveTo>
                      <a:pt x="242507" y="186523"/>
                    </a:moveTo>
                    <a:cubicBezTo>
                      <a:pt x="240983" y="184237"/>
                      <a:pt x="238696" y="184999"/>
                      <a:pt x="234125" y="184237"/>
                    </a:cubicBezTo>
                    <a:cubicBezTo>
                      <a:pt x="229553" y="183475"/>
                      <a:pt x="226504" y="181189"/>
                      <a:pt x="226504" y="181189"/>
                    </a:cubicBezTo>
                    <a:lnTo>
                      <a:pt x="202597" y="164234"/>
                    </a:lnTo>
                    <a:cubicBezTo>
                      <a:pt x="205931" y="158233"/>
                      <a:pt x="208502" y="151947"/>
                      <a:pt x="210503" y="147470"/>
                    </a:cubicBezTo>
                    <a:cubicBezTo>
                      <a:pt x="213551" y="140612"/>
                      <a:pt x="215075" y="118419"/>
                      <a:pt x="215075" y="110799"/>
                    </a:cubicBezTo>
                    <a:cubicBezTo>
                      <a:pt x="215075" y="103179"/>
                      <a:pt x="216789" y="89844"/>
                      <a:pt x="214122" y="87558"/>
                    </a:cubicBezTo>
                    <a:cubicBezTo>
                      <a:pt x="213360" y="86891"/>
                      <a:pt x="210312" y="86415"/>
                      <a:pt x="210312" y="86415"/>
                    </a:cubicBezTo>
                    <a:lnTo>
                      <a:pt x="177641" y="86415"/>
                    </a:lnTo>
                    <a:cubicBezTo>
                      <a:pt x="177641" y="86415"/>
                      <a:pt x="175736" y="86796"/>
                      <a:pt x="174593" y="87939"/>
                    </a:cubicBezTo>
                    <a:cubicBezTo>
                      <a:pt x="173641" y="88891"/>
                      <a:pt x="173831" y="93273"/>
                      <a:pt x="173831" y="93273"/>
                    </a:cubicBezTo>
                    <a:cubicBezTo>
                      <a:pt x="173831" y="93273"/>
                      <a:pt x="173450" y="103941"/>
                      <a:pt x="173831" y="109275"/>
                    </a:cubicBezTo>
                    <a:cubicBezTo>
                      <a:pt x="174498" y="119276"/>
                      <a:pt x="172021" y="128420"/>
                      <a:pt x="168593" y="136040"/>
                    </a:cubicBezTo>
                    <a:lnTo>
                      <a:pt x="120301" y="95940"/>
                    </a:lnTo>
                    <a:cubicBezTo>
                      <a:pt x="146876" y="85939"/>
                      <a:pt x="164211" y="63364"/>
                      <a:pt x="163830" y="46600"/>
                    </a:cubicBezTo>
                    <a:cubicBezTo>
                      <a:pt x="163068" y="13739"/>
                      <a:pt x="133826" y="690"/>
                      <a:pt x="92012" y="23"/>
                    </a:cubicBezTo>
                    <a:cubicBezTo>
                      <a:pt x="45434" y="-739"/>
                      <a:pt x="14097" y="17359"/>
                      <a:pt x="14097" y="46600"/>
                    </a:cubicBezTo>
                    <a:cubicBezTo>
                      <a:pt x="14097" y="54982"/>
                      <a:pt x="16383" y="62602"/>
                      <a:pt x="20384" y="69270"/>
                    </a:cubicBezTo>
                    <a:cubicBezTo>
                      <a:pt x="20288" y="69556"/>
                      <a:pt x="20193" y="69937"/>
                      <a:pt x="20193" y="70222"/>
                    </a:cubicBezTo>
                    <a:lnTo>
                      <a:pt x="21908" y="71651"/>
                    </a:lnTo>
                    <a:cubicBezTo>
                      <a:pt x="24956" y="76033"/>
                      <a:pt x="28766" y="79938"/>
                      <a:pt x="33242" y="83462"/>
                    </a:cubicBezTo>
                    <a:cubicBezTo>
                      <a:pt x="12573" y="97845"/>
                      <a:pt x="0" y="118228"/>
                      <a:pt x="0" y="139755"/>
                    </a:cubicBezTo>
                    <a:cubicBezTo>
                      <a:pt x="0" y="180331"/>
                      <a:pt x="18669" y="208430"/>
                      <a:pt x="97346" y="210811"/>
                    </a:cubicBezTo>
                    <a:cubicBezTo>
                      <a:pt x="125730" y="211669"/>
                      <a:pt x="152400" y="204811"/>
                      <a:pt x="172688" y="193000"/>
                    </a:cubicBezTo>
                    <a:lnTo>
                      <a:pt x="180594" y="196524"/>
                    </a:lnTo>
                    <a:cubicBezTo>
                      <a:pt x="183833" y="199191"/>
                      <a:pt x="186500" y="202429"/>
                      <a:pt x="192977" y="202620"/>
                    </a:cubicBezTo>
                    <a:lnTo>
                      <a:pt x="237839" y="202429"/>
                    </a:lnTo>
                    <a:cubicBezTo>
                      <a:pt x="241268" y="202429"/>
                      <a:pt x="242983" y="201382"/>
                      <a:pt x="242983" y="198048"/>
                    </a:cubicBezTo>
                    <a:lnTo>
                      <a:pt x="243078" y="195571"/>
                    </a:lnTo>
                    <a:cubicBezTo>
                      <a:pt x="243173" y="195476"/>
                      <a:pt x="243650" y="188142"/>
                      <a:pt x="242507" y="186523"/>
                    </a:cubicBezTo>
                    <a:close/>
                    <a:moveTo>
                      <a:pt x="92107" y="28217"/>
                    </a:moveTo>
                    <a:cubicBezTo>
                      <a:pt x="110490" y="28979"/>
                      <a:pt x="120396" y="37361"/>
                      <a:pt x="120396" y="46505"/>
                    </a:cubicBezTo>
                    <a:cubicBezTo>
                      <a:pt x="120396" y="57173"/>
                      <a:pt x="95917" y="67079"/>
                      <a:pt x="89821" y="67079"/>
                    </a:cubicBezTo>
                    <a:cubicBezTo>
                      <a:pt x="88868" y="67079"/>
                      <a:pt x="87535" y="66793"/>
                      <a:pt x="85916" y="66317"/>
                    </a:cubicBezTo>
                    <a:cubicBezTo>
                      <a:pt x="83439" y="64888"/>
                      <a:pt x="80105" y="63555"/>
                      <a:pt x="77534" y="62983"/>
                    </a:cubicBezTo>
                    <a:cubicBezTo>
                      <a:pt x="69818" y="59078"/>
                      <a:pt x="61817" y="52887"/>
                      <a:pt x="61817" y="46505"/>
                    </a:cubicBezTo>
                    <a:cubicBezTo>
                      <a:pt x="61722" y="37361"/>
                      <a:pt x="73724" y="27455"/>
                      <a:pt x="92107" y="28217"/>
                    </a:cubicBezTo>
                    <a:close/>
                    <a:moveTo>
                      <a:pt x="102013" y="176426"/>
                    </a:moveTo>
                    <a:cubicBezTo>
                      <a:pt x="58484" y="175664"/>
                      <a:pt x="51721" y="160519"/>
                      <a:pt x="51721" y="136135"/>
                    </a:cubicBezTo>
                    <a:cubicBezTo>
                      <a:pt x="51721" y="125372"/>
                      <a:pt x="56960" y="115085"/>
                      <a:pt x="65913" y="106989"/>
                    </a:cubicBezTo>
                    <a:lnTo>
                      <a:pt x="142875" y="168901"/>
                    </a:lnTo>
                    <a:cubicBezTo>
                      <a:pt x="134779" y="173950"/>
                      <a:pt x="118205" y="176712"/>
                      <a:pt x="102013" y="1764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3" name="Freeform 132">
                <a:extLst>
                  <a:ext uri="{FF2B5EF4-FFF2-40B4-BE49-F238E27FC236}">
                    <a16:creationId xmlns:a16="http://schemas.microsoft.com/office/drawing/2014/main" id="{6493B2CF-0ED8-C247-B1B3-4CB43853E85F}"/>
                  </a:ext>
                </a:extLst>
              </p:cNvPr>
              <p:cNvSpPr/>
              <p:nvPr/>
            </p:nvSpPr>
            <p:spPr>
              <a:xfrm>
                <a:off x="1530769" y="6441174"/>
                <a:ext cx="62802" cy="67002"/>
              </a:xfrm>
              <a:custGeom>
                <a:avLst/>
                <a:gdLst>
                  <a:gd name="connsiteX0" fmla="*/ 141198 w 141864"/>
                  <a:gd name="connsiteY0" fmla="*/ 108680 h 151352"/>
                  <a:gd name="connsiteX1" fmla="*/ 136531 w 141864"/>
                  <a:gd name="connsiteY1" fmla="*/ 104013 h 151352"/>
                  <a:gd name="connsiteX2" fmla="*/ 124339 w 141864"/>
                  <a:gd name="connsiteY2" fmla="*/ 104013 h 151352"/>
                  <a:gd name="connsiteX3" fmla="*/ 119672 w 141864"/>
                  <a:gd name="connsiteY3" fmla="*/ 108680 h 151352"/>
                  <a:gd name="connsiteX4" fmla="*/ 116814 w 141864"/>
                  <a:gd name="connsiteY4" fmla="*/ 116205 h 151352"/>
                  <a:gd name="connsiteX5" fmla="*/ 112337 w 141864"/>
                  <a:gd name="connsiteY5" fmla="*/ 122777 h 151352"/>
                  <a:gd name="connsiteX6" fmla="*/ 52711 w 141864"/>
                  <a:gd name="connsiteY6" fmla="*/ 125063 h 151352"/>
                  <a:gd name="connsiteX7" fmla="*/ 49663 w 141864"/>
                  <a:gd name="connsiteY7" fmla="*/ 121063 h 151352"/>
                  <a:gd name="connsiteX8" fmla="*/ 49663 w 141864"/>
                  <a:gd name="connsiteY8" fmla="*/ 82010 h 151352"/>
                  <a:gd name="connsiteX9" fmla="*/ 96145 w 141864"/>
                  <a:gd name="connsiteY9" fmla="*/ 82010 h 151352"/>
                  <a:gd name="connsiteX10" fmla="*/ 102717 w 141864"/>
                  <a:gd name="connsiteY10" fmla="*/ 90583 h 151352"/>
                  <a:gd name="connsiteX11" fmla="*/ 103193 w 141864"/>
                  <a:gd name="connsiteY11" fmla="*/ 91726 h 151352"/>
                  <a:gd name="connsiteX12" fmla="*/ 104336 w 141864"/>
                  <a:gd name="connsiteY12" fmla="*/ 91916 h 151352"/>
                  <a:gd name="connsiteX13" fmla="*/ 119005 w 141864"/>
                  <a:gd name="connsiteY13" fmla="*/ 91821 h 151352"/>
                  <a:gd name="connsiteX14" fmla="*/ 120148 w 141864"/>
                  <a:gd name="connsiteY14" fmla="*/ 90678 h 151352"/>
                  <a:gd name="connsiteX15" fmla="*/ 120148 w 141864"/>
                  <a:gd name="connsiteY15" fmla="*/ 57341 h 151352"/>
                  <a:gd name="connsiteX16" fmla="*/ 120148 w 141864"/>
                  <a:gd name="connsiteY16" fmla="*/ 45815 h 151352"/>
                  <a:gd name="connsiteX17" fmla="*/ 119005 w 141864"/>
                  <a:gd name="connsiteY17" fmla="*/ 44672 h 151352"/>
                  <a:gd name="connsiteX18" fmla="*/ 104336 w 141864"/>
                  <a:gd name="connsiteY18" fmla="*/ 44577 h 151352"/>
                  <a:gd name="connsiteX19" fmla="*/ 103193 w 141864"/>
                  <a:gd name="connsiteY19" fmla="*/ 44863 h 151352"/>
                  <a:gd name="connsiteX20" fmla="*/ 102717 w 141864"/>
                  <a:gd name="connsiteY20" fmla="*/ 46006 h 151352"/>
                  <a:gd name="connsiteX21" fmla="*/ 96145 w 141864"/>
                  <a:gd name="connsiteY21" fmla="*/ 54578 h 151352"/>
                  <a:gd name="connsiteX22" fmla="*/ 49663 w 141864"/>
                  <a:gd name="connsiteY22" fmla="*/ 54578 h 151352"/>
                  <a:gd name="connsiteX23" fmla="*/ 49663 w 141864"/>
                  <a:gd name="connsiteY23" fmla="*/ 30194 h 151352"/>
                  <a:gd name="connsiteX24" fmla="*/ 49949 w 141864"/>
                  <a:gd name="connsiteY24" fmla="*/ 25527 h 151352"/>
                  <a:gd name="connsiteX25" fmla="*/ 54235 w 141864"/>
                  <a:gd name="connsiteY25" fmla="*/ 24289 h 151352"/>
                  <a:gd name="connsiteX26" fmla="*/ 97574 w 141864"/>
                  <a:gd name="connsiteY26" fmla="*/ 24765 h 151352"/>
                  <a:gd name="connsiteX27" fmla="*/ 111671 w 141864"/>
                  <a:gd name="connsiteY27" fmla="*/ 27527 h 151352"/>
                  <a:gd name="connsiteX28" fmla="*/ 113671 w 141864"/>
                  <a:gd name="connsiteY28" fmla="*/ 32385 h 151352"/>
                  <a:gd name="connsiteX29" fmla="*/ 118338 w 141864"/>
                  <a:gd name="connsiteY29" fmla="*/ 37052 h 151352"/>
                  <a:gd name="connsiteX30" fmla="*/ 130530 w 141864"/>
                  <a:gd name="connsiteY30" fmla="*/ 37052 h 151352"/>
                  <a:gd name="connsiteX31" fmla="*/ 135197 w 141864"/>
                  <a:gd name="connsiteY31" fmla="*/ 32385 h 151352"/>
                  <a:gd name="connsiteX32" fmla="*/ 135674 w 141864"/>
                  <a:gd name="connsiteY32" fmla="*/ 4667 h 151352"/>
                  <a:gd name="connsiteX33" fmla="*/ 131006 w 141864"/>
                  <a:gd name="connsiteY33" fmla="*/ 0 h 151352"/>
                  <a:gd name="connsiteX34" fmla="*/ 64617 w 141864"/>
                  <a:gd name="connsiteY34" fmla="*/ 0 h 151352"/>
                  <a:gd name="connsiteX35" fmla="*/ 1657 w 141864"/>
                  <a:gd name="connsiteY35" fmla="*/ 0 h 151352"/>
                  <a:gd name="connsiteX36" fmla="*/ 228 w 141864"/>
                  <a:gd name="connsiteY36" fmla="*/ 1429 h 151352"/>
                  <a:gd name="connsiteX37" fmla="*/ 38 w 141864"/>
                  <a:gd name="connsiteY37" fmla="*/ 19907 h 151352"/>
                  <a:gd name="connsiteX38" fmla="*/ 323 w 141864"/>
                  <a:gd name="connsiteY38" fmla="*/ 21431 h 151352"/>
                  <a:gd name="connsiteX39" fmla="*/ 1752 w 141864"/>
                  <a:gd name="connsiteY39" fmla="*/ 22003 h 151352"/>
                  <a:gd name="connsiteX40" fmla="*/ 16421 w 141864"/>
                  <a:gd name="connsiteY40" fmla="*/ 30290 h 151352"/>
                  <a:gd name="connsiteX41" fmla="*/ 16421 w 141864"/>
                  <a:gd name="connsiteY41" fmla="*/ 121158 h 151352"/>
                  <a:gd name="connsiteX42" fmla="*/ 1752 w 141864"/>
                  <a:gd name="connsiteY42" fmla="*/ 129445 h 151352"/>
                  <a:gd name="connsiteX43" fmla="*/ 323 w 141864"/>
                  <a:gd name="connsiteY43" fmla="*/ 130016 h 151352"/>
                  <a:gd name="connsiteX44" fmla="*/ 38 w 141864"/>
                  <a:gd name="connsiteY44" fmla="*/ 131445 h 151352"/>
                  <a:gd name="connsiteX45" fmla="*/ 228 w 141864"/>
                  <a:gd name="connsiteY45" fmla="*/ 149924 h 151352"/>
                  <a:gd name="connsiteX46" fmla="*/ 1657 w 141864"/>
                  <a:gd name="connsiteY46" fmla="*/ 151352 h 151352"/>
                  <a:gd name="connsiteX47" fmla="*/ 52044 w 141864"/>
                  <a:gd name="connsiteY47" fmla="*/ 151352 h 151352"/>
                  <a:gd name="connsiteX48" fmla="*/ 52139 w 141864"/>
                  <a:gd name="connsiteY48" fmla="*/ 151352 h 151352"/>
                  <a:gd name="connsiteX49" fmla="*/ 137198 w 141864"/>
                  <a:gd name="connsiteY49" fmla="*/ 151352 h 151352"/>
                  <a:gd name="connsiteX50" fmla="*/ 141865 w 141864"/>
                  <a:gd name="connsiteY50" fmla="*/ 146685 h 151352"/>
                  <a:gd name="connsiteX51" fmla="*/ 141198 w 141864"/>
                  <a:gd name="connsiteY51" fmla="*/ 10868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1864" h="151352">
                    <a:moveTo>
                      <a:pt x="141198" y="108680"/>
                    </a:moveTo>
                    <a:cubicBezTo>
                      <a:pt x="141198" y="106108"/>
                      <a:pt x="139103" y="104013"/>
                      <a:pt x="136531" y="104013"/>
                    </a:cubicBezTo>
                    <a:lnTo>
                      <a:pt x="124339" y="104013"/>
                    </a:lnTo>
                    <a:cubicBezTo>
                      <a:pt x="121767" y="104013"/>
                      <a:pt x="119672" y="106108"/>
                      <a:pt x="119672" y="108680"/>
                    </a:cubicBezTo>
                    <a:lnTo>
                      <a:pt x="116814" y="116205"/>
                    </a:lnTo>
                    <a:cubicBezTo>
                      <a:pt x="116624" y="118967"/>
                      <a:pt x="113385" y="120587"/>
                      <a:pt x="112337" y="122777"/>
                    </a:cubicBezTo>
                    <a:cubicBezTo>
                      <a:pt x="109194" y="129064"/>
                      <a:pt x="52711" y="125063"/>
                      <a:pt x="52711" y="125063"/>
                    </a:cubicBezTo>
                    <a:cubicBezTo>
                      <a:pt x="50901" y="123825"/>
                      <a:pt x="49663" y="122492"/>
                      <a:pt x="49663" y="121063"/>
                    </a:cubicBezTo>
                    <a:lnTo>
                      <a:pt x="49663" y="82010"/>
                    </a:lnTo>
                    <a:lnTo>
                      <a:pt x="96145" y="82010"/>
                    </a:lnTo>
                    <a:cubicBezTo>
                      <a:pt x="99002" y="82010"/>
                      <a:pt x="101860" y="85534"/>
                      <a:pt x="102717" y="90583"/>
                    </a:cubicBezTo>
                    <a:cubicBezTo>
                      <a:pt x="102717" y="90583"/>
                      <a:pt x="102717" y="91440"/>
                      <a:pt x="103193" y="91726"/>
                    </a:cubicBezTo>
                    <a:cubicBezTo>
                      <a:pt x="103670" y="92107"/>
                      <a:pt x="104336" y="91916"/>
                      <a:pt x="104336" y="91916"/>
                    </a:cubicBezTo>
                    <a:lnTo>
                      <a:pt x="119005" y="91821"/>
                    </a:lnTo>
                    <a:cubicBezTo>
                      <a:pt x="119672" y="91821"/>
                      <a:pt x="120148" y="91345"/>
                      <a:pt x="120148" y="90678"/>
                    </a:cubicBezTo>
                    <a:lnTo>
                      <a:pt x="120148" y="57341"/>
                    </a:lnTo>
                    <a:lnTo>
                      <a:pt x="120148" y="45815"/>
                    </a:lnTo>
                    <a:cubicBezTo>
                      <a:pt x="120148" y="45149"/>
                      <a:pt x="119672" y="44672"/>
                      <a:pt x="119005" y="44672"/>
                    </a:cubicBezTo>
                    <a:lnTo>
                      <a:pt x="104336" y="44577"/>
                    </a:lnTo>
                    <a:cubicBezTo>
                      <a:pt x="104336" y="44577"/>
                      <a:pt x="103670" y="44482"/>
                      <a:pt x="103193" y="44863"/>
                    </a:cubicBezTo>
                    <a:cubicBezTo>
                      <a:pt x="102717" y="45244"/>
                      <a:pt x="102717" y="46006"/>
                      <a:pt x="102717" y="46006"/>
                    </a:cubicBezTo>
                    <a:cubicBezTo>
                      <a:pt x="101860" y="51054"/>
                      <a:pt x="99002" y="54578"/>
                      <a:pt x="96145" y="54578"/>
                    </a:cubicBezTo>
                    <a:lnTo>
                      <a:pt x="49663" y="54578"/>
                    </a:lnTo>
                    <a:lnTo>
                      <a:pt x="49663" y="30194"/>
                    </a:lnTo>
                    <a:lnTo>
                      <a:pt x="49949" y="25527"/>
                    </a:lnTo>
                    <a:cubicBezTo>
                      <a:pt x="51187" y="23527"/>
                      <a:pt x="54235" y="24289"/>
                      <a:pt x="54235" y="24289"/>
                    </a:cubicBezTo>
                    <a:cubicBezTo>
                      <a:pt x="54235" y="24289"/>
                      <a:pt x="89382" y="24289"/>
                      <a:pt x="97574" y="24765"/>
                    </a:cubicBezTo>
                    <a:cubicBezTo>
                      <a:pt x="101574" y="25051"/>
                      <a:pt x="109765" y="24479"/>
                      <a:pt x="111671" y="27527"/>
                    </a:cubicBezTo>
                    <a:cubicBezTo>
                      <a:pt x="113004" y="29623"/>
                      <a:pt x="113671" y="32385"/>
                      <a:pt x="113671" y="32385"/>
                    </a:cubicBezTo>
                    <a:cubicBezTo>
                      <a:pt x="113671" y="34957"/>
                      <a:pt x="115766" y="37052"/>
                      <a:pt x="118338" y="37052"/>
                    </a:cubicBezTo>
                    <a:lnTo>
                      <a:pt x="130530" y="37052"/>
                    </a:lnTo>
                    <a:cubicBezTo>
                      <a:pt x="133102" y="37052"/>
                      <a:pt x="135197" y="34957"/>
                      <a:pt x="135197" y="32385"/>
                    </a:cubicBezTo>
                    <a:lnTo>
                      <a:pt x="135674" y="4667"/>
                    </a:lnTo>
                    <a:cubicBezTo>
                      <a:pt x="135674" y="2096"/>
                      <a:pt x="133578" y="0"/>
                      <a:pt x="131006" y="0"/>
                    </a:cubicBezTo>
                    <a:lnTo>
                      <a:pt x="64617" y="0"/>
                    </a:lnTo>
                    <a:lnTo>
                      <a:pt x="1657" y="0"/>
                    </a:lnTo>
                    <a:cubicBezTo>
                      <a:pt x="895" y="0"/>
                      <a:pt x="228" y="667"/>
                      <a:pt x="228" y="1429"/>
                    </a:cubicBezTo>
                    <a:lnTo>
                      <a:pt x="38" y="19907"/>
                    </a:lnTo>
                    <a:cubicBezTo>
                      <a:pt x="38" y="19907"/>
                      <a:pt x="-153" y="20765"/>
                      <a:pt x="323" y="21431"/>
                    </a:cubicBezTo>
                    <a:cubicBezTo>
                      <a:pt x="799"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228" y="149924"/>
                    </a:lnTo>
                    <a:cubicBezTo>
                      <a:pt x="228" y="150686"/>
                      <a:pt x="895" y="151352"/>
                      <a:pt x="1657" y="151352"/>
                    </a:cubicBezTo>
                    <a:lnTo>
                      <a:pt x="52044" y="151352"/>
                    </a:lnTo>
                    <a:cubicBezTo>
                      <a:pt x="52044" y="151352"/>
                      <a:pt x="52139" y="151352"/>
                      <a:pt x="52139" y="151352"/>
                    </a:cubicBezTo>
                    <a:lnTo>
                      <a:pt x="137198" y="151352"/>
                    </a:lnTo>
                    <a:cubicBezTo>
                      <a:pt x="139769" y="151352"/>
                      <a:pt x="141865" y="149257"/>
                      <a:pt x="141865" y="146685"/>
                    </a:cubicBezTo>
                    <a:lnTo>
                      <a:pt x="141198" y="108680"/>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4" name="Freeform 133">
                <a:extLst>
                  <a:ext uri="{FF2B5EF4-FFF2-40B4-BE49-F238E27FC236}">
                    <a16:creationId xmlns:a16="http://schemas.microsoft.com/office/drawing/2014/main" id="{2A64C862-0A2E-1249-9527-AFF0D7BD0B07}"/>
                  </a:ext>
                </a:extLst>
              </p:cNvPr>
              <p:cNvSpPr/>
              <p:nvPr/>
            </p:nvSpPr>
            <p:spPr>
              <a:xfrm>
                <a:off x="1293289" y="6441174"/>
                <a:ext cx="57404" cy="67002"/>
              </a:xfrm>
              <a:custGeom>
                <a:avLst/>
                <a:gdLst>
                  <a:gd name="connsiteX0" fmla="*/ 124815 w 129672"/>
                  <a:gd name="connsiteY0" fmla="*/ 0 h 151352"/>
                  <a:gd name="connsiteX1" fmla="*/ 64522 w 129672"/>
                  <a:gd name="connsiteY1" fmla="*/ 0 h 151352"/>
                  <a:gd name="connsiteX2" fmla="*/ 1562 w 129672"/>
                  <a:gd name="connsiteY2" fmla="*/ 0 h 151352"/>
                  <a:gd name="connsiteX3" fmla="*/ 133 w 129672"/>
                  <a:gd name="connsiteY3" fmla="*/ 1429 h 151352"/>
                  <a:gd name="connsiteX4" fmla="*/ 38 w 129672"/>
                  <a:gd name="connsiteY4" fmla="*/ 19907 h 151352"/>
                  <a:gd name="connsiteX5" fmla="*/ 323 w 129672"/>
                  <a:gd name="connsiteY5" fmla="*/ 21431 h 151352"/>
                  <a:gd name="connsiteX6" fmla="*/ 1752 w 129672"/>
                  <a:gd name="connsiteY6" fmla="*/ 22003 h 151352"/>
                  <a:gd name="connsiteX7" fmla="*/ 16421 w 129672"/>
                  <a:gd name="connsiteY7" fmla="*/ 30290 h 151352"/>
                  <a:gd name="connsiteX8" fmla="*/ 16421 w 129672"/>
                  <a:gd name="connsiteY8" fmla="*/ 121158 h 151352"/>
                  <a:gd name="connsiteX9" fmla="*/ 1752 w 129672"/>
                  <a:gd name="connsiteY9" fmla="*/ 129445 h 151352"/>
                  <a:gd name="connsiteX10" fmla="*/ 323 w 129672"/>
                  <a:gd name="connsiteY10" fmla="*/ 130016 h 151352"/>
                  <a:gd name="connsiteX11" fmla="*/ 38 w 129672"/>
                  <a:gd name="connsiteY11" fmla="*/ 131445 h 151352"/>
                  <a:gd name="connsiteX12" fmla="*/ 133 w 129672"/>
                  <a:gd name="connsiteY12" fmla="*/ 149924 h 151352"/>
                  <a:gd name="connsiteX13" fmla="*/ 1562 w 129672"/>
                  <a:gd name="connsiteY13" fmla="*/ 151352 h 151352"/>
                  <a:gd name="connsiteX14" fmla="*/ 51949 w 129672"/>
                  <a:gd name="connsiteY14" fmla="*/ 151352 h 151352"/>
                  <a:gd name="connsiteX15" fmla="*/ 52044 w 129672"/>
                  <a:gd name="connsiteY15" fmla="*/ 151352 h 151352"/>
                  <a:gd name="connsiteX16" fmla="*/ 52044 w 129672"/>
                  <a:gd name="connsiteY16" fmla="*/ 151352 h 151352"/>
                  <a:gd name="connsiteX17" fmla="*/ 64522 w 129672"/>
                  <a:gd name="connsiteY17" fmla="*/ 151352 h 151352"/>
                  <a:gd name="connsiteX18" fmla="*/ 65951 w 129672"/>
                  <a:gd name="connsiteY18" fmla="*/ 149924 h 151352"/>
                  <a:gd name="connsiteX19" fmla="*/ 66141 w 129672"/>
                  <a:gd name="connsiteY19" fmla="*/ 131445 h 151352"/>
                  <a:gd name="connsiteX20" fmla="*/ 65855 w 129672"/>
                  <a:gd name="connsiteY20" fmla="*/ 130016 h 151352"/>
                  <a:gd name="connsiteX21" fmla="*/ 64427 w 129672"/>
                  <a:gd name="connsiteY21" fmla="*/ 129445 h 151352"/>
                  <a:gd name="connsiteX22" fmla="*/ 52616 w 129672"/>
                  <a:gd name="connsiteY22" fmla="*/ 124968 h 151352"/>
                  <a:gd name="connsiteX23" fmla="*/ 51758 w 129672"/>
                  <a:gd name="connsiteY23" fmla="*/ 124301 h 151352"/>
                  <a:gd name="connsiteX24" fmla="*/ 51377 w 129672"/>
                  <a:gd name="connsiteY24" fmla="*/ 124016 h 151352"/>
                  <a:gd name="connsiteX25" fmla="*/ 50711 w 129672"/>
                  <a:gd name="connsiteY25" fmla="*/ 123254 h 151352"/>
                  <a:gd name="connsiteX26" fmla="*/ 50615 w 129672"/>
                  <a:gd name="connsiteY26" fmla="*/ 123158 h 151352"/>
                  <a:gd name="connsiteX27" fmla="*/ 50044 w 129672"/>
                  <a:gd name="connsiteY27" fmla="*/ 122206 h 151352"/>
                  <a:gd name="connsiteX28" fmla="*/ 49949 w 129672"/>
                  <a:gd name="connsiteY28" fmla="*/ 122015 h 151352"/>
                  <a:gd name="connsiteX29" fmla="*/ 49758 w 129672"/>
                  <a:gd name="connsiteY29" fmla="*/ 121063 h 151352"/>
                  <a:gd name="connsiteX30" fmla="*/ 49758 w 129672"/>
                  <a:gd name="connsiteY30" fmla="*/ 82010 h 151352"/>
                  <a:gd name="connsiteX31" fmla="*/ 91478 w 129672"/>
                  <a:gd name="connsiteY31" fmla="*/ 82010 h 151352"/>
                  <a:gd name="connsiteX32" fmla="*/ 98050 w 129672"/>
                  <a:gd name="connsiteY32" fmla="*/ 90583 h 151352"/>
                  <a:gd name="connsiteX33" fmla="*/ 98526 w 129672"/>
                  <a:gd name="connsiteY33" fmla="*/ 91726 h 151352"/>
                  <a:gd name="connsiteX34" fmla="*/ 99669 w 129672"/>
                  <a:gd name="connsiteY34" fmla="*/ 91916 h 151352"/>
                  <a:gd name="connsiteX35" fmla="*/ 114338 w 129672"/>
                  <a:gd name="connsiteY35" fmla="*/ 91821 h 151352"/>
                  <a:gd name="connsiteX36" fmla="*/ 115481 w 129672"/>
                  <a:gd name="connsiteY36" fmla="*/ 90678 h 151352"/>
                  <a:gd name="connsiteX37" fmla="*/ 115481 w 129672"/>
                  <a:gd name="connsiteY37" fmla="*/ 60388 h 151352"/>
                  <a:gd name="connsiteX38" fmla="*/ 115481 w 129672"/>
                  <a:gd name="connsiteY38" fmla="*/ 48863 h 151352"/>
                  <a:gd name="connsiteX39" fmla="*/ 114338 w 129672"/>
                  <a:gd name="connsiteY39" fmla="*/ 47720 h 151352"/>
                  <a:gd name="connsiteX40" fmla="*/ 99669 w 129672"/>
                  <a:gd name="connsiteY40" fmla="*/ 47625 h 151352"/>
                  <a:gd name="connsiteX41" fmla="*/ 98526 w 129672"/>
                  <a:gd name="connsiteY41" fmla="*/ 47816 h 151352"/>
                  <a:gd name="connsiteX42" fmla="*/ 98050 w 129672"/>
                  <a:gd name="connsiteY42" fmla="*/ 48958 h 151352"/>
                  <a:gd name="connsiteX43" fmla="*/ 91478 w 129672"/>
                  <a:gd name="connsiteY43" fmla="*/ 57531 h 151352"/>
                  <a:gd name="connsiteX44" fmla="*/ 49758 w 129672"/>
                  <a:gd name="connsiteY44" fmla="*/ 57531 h 151352"/>
                  <a:gd name="connsiteX45" fmla="*/ 49758 w 129672"/>
                  <a:gd name="connsiteY45" fmla="*/ 30099 h 151352"/>
                  <a:gd name="connsiteX46" fmla="*/ 50044 w 129672"/>
                  <a:gd name="connsiteY46" fmla="*/ 25432 h 151352"/>
                  <a:gd name="connsiteX47" fmla="*/ 54330 w 129672"/>
                  <a:gd name="connsiteY47" fmla="*/ 24194 h 151352"/>
                  <a:gd name="connsiteX48" fmla="*/ 91573 w 129672"/>
                  <a:gd name="connsiteY48" fmla="*/ 24670 h 151352"/>
                  <a:gd name="connsiteX49" fmla="*/ 105670 w 129672"/>
                  <a:gd name="connsiteY49" fmla="*/ 27432 h 151352"/>
                  <a:gd name="connsiteX50" fmla="*/ 107670 w 129672"/>
                  <a:gd name="connsiteY50" fmla="*/ 32290 h 151352"/>
                  <a:gd name="connsiteX51" fmla="*/ 112337 w 129672"/>
                  <a:gd name="connsiteY51" fmla="*/ 36957 h 151352"/>
                  <a:gd name="connsiteX52" fmla="*/ 124529 w 129672"/>
                  <a:gd name="connsiteY52" fmla="*/ 36957 h 151352"/>
                  <a:gd name="connsiteX53" fmla="*/ 129197 w 129672"/>
                  <a:gd name="connsiteY53" fmla="*/ 32290 h 151352"/>
                  <a:gd name="connsiteX54" fmla="*/ 129673 w 129672"/>
                  <a:gd name="connsiteY54" fmla="*/ 4572 h 151352"/>
                  <a:gd name="connsiteX55" fmla="*/ 124815 w 129672"/>
                  <a:gd name="connsiteY55" fmla="*/ 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672" h="151352">
                    <a:moveTo>
                      <a:pt x="124815" y="0"/>
                    </a:moveTo>
                    <a:lnTo>
                      <a:pt x="64522" y="0"/>
                    </a:lnTo>
                    <a:lnTo>
                      <a:pt x="1562" y="0"/>
                    </a:lnTo>
                    <a:cubicBezTo>
                      <a:pt x="800" y="0"/>
                      <a:pt x="133" y="667"/>
                      <a:pt x="133" y="1429"/>
                    </a:cubicBezTo>
                    <a:lnTo>
                      <a:pt x="38" y="19907"/>
                    </a:lnTo>
                    <a:cubicBezTo>
                      <a:pt x="38" y="19907"/>
                      <a:pt x="-153" y="20765"/>
                      <a:pt x="323" y="21431"/>
                    </a:cubicBezTo>
                    <a:cubicBezTo>
                      <a:pt x="800"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133" y="149924"/>
                    </a:lnTo>
                    <a:cubicBezTo>
                      <a:pt x="133" y="150686"/>
                      <a:pt x="800" y="151352"/>
                      <a:pt x="1562" y="151352"/>
                    </a:cubicBezTo>
                    <a:lnTo>
                      <a:pt x="51949" y="151352"/>
                    </a:lnTo>
                    <a:cubicBezTo>
                      <a:pt x="51949" y="151352"/>
                      <a:pt x="52044" y="151352"/>
                      <a:pt x="52044" y="151352"/>
                    </a:cubicBezTo>
                    <a:lnTo>
                      <a:pt x="52044" y="151352"/>
                    </a:lnTo>
                    <a:lnTo>
                      <a:pt x="64522" y="151352"/>
                    </a:lnTo>
                    <a:cubicBezTo>
                      <a:pt x="65284" y="151352"/>
                      <a:pt x="65951" y="150686"/>
                      <a:pt x="65951" y="149924"/>
                    </a:cubicBezTo>
                    <a:lnTo>
                      <a:pt x="66141" y="131445"/>
                    </a:lnTo>
                    <a:cubicBezTo>
                      <a:pt x="66046" y="131445"/>
                      <a:pt x="66332" y="130588"/>
                      <a:pt x="65855" y="130016"/>
                    </a:cubicBezTo>
                    <a:cubicBezTo>
                      <a:pt x="65379" y="129350"/>
                      <a:pt x="64427" y="129445"/>
                      <a:pt x="64427" y="129445"/>
                    </a:cubicBezTo>
                    <a:cubicBezTo>
                      <a:pt x="60426" y="128778"/>
                      <a:pt x="55569" y="127063"/>
                      <a:pt x="52616" y="124968"/>
                    </a:cubicBezTo>
                    <a:cubicBezTo>
                      <a:pt x="52330" y="124778"/>
                      <a:pt x="52044" y="124492"/>
                      <a:pt x="51758" y="124301"/>
                    </a:cubicBezTo>
                    <a:cubicBezTo>
                      <a:pt x="51663" y="124206"/>
                      <a:pt x="51568" y="124111"/>
                      <a:pt x="51377" y="124016"/>
                    </a:cubicBezTo>
                    <a:cubicBezTo>
                      <a:pt x="51092" y="123730"/>
                      <a:pt x="50901" y="123539"/>
                      <a:pt x="50711" y="123254"/>
                    </a:cubicBezTo>
                    <a:cubicBezTo>
                      <a:pt x="50711" y="123254"/>
                      <a:pt x="50615" y="123158"/>
                      <a:pt x="50615" y="123158"/>
                    </a:cubicBezTo>
                    <a:cubicBezTo>
                      <a:pt x="50330" y="122873"/>
                      <a:pt x="50235" y="122587"/>
                      <a:pt x="50044" y="122206"/>
                    </a:cubicBezTo>
                    <a:cubicBezTo>
                      <a:pt x="50044" y="122111"/>
                      <a:pt x="50044" y="122111"/>
                      <a:pt x="49949" y="122015"/>
                    </a:cubicBezTo>
                    <a:cubicBezTo>
                      <a:pt x="49853" y="121729"/>
                      <a:pt x="49758" y="121349"/>
                      <a:pt x="49758" y="121063"/>
                    </a:cubicBezTo>
                    <a:lnTo>
                      <a:pt x="49758" y="82010"/>
                    </a:lnTo>
                    <a:lnTo>
                      <a:pt x="91478" y="82010"/>
                    </a:lnTo>
                    <a:cubicBezTo>
                      <a:pt x="94335" y="82010"/>
                      <a:pt x="97193" y="85534"/>
                      <a:pt x="98050" y="90583"/>
                    </a:cubicBezTo>
                    <a:cubicBezTo>
                      <a:pt x="98050" y="90583"/>
                      <a:pt x="98050" y="91440"/>
                      <a:pt x="98526" y="91726"/>
                    </a:cubicBezTo>
                    <a:cubicBezTo>
                      <a:pt x="99002" y="92107"/>
                      <a:pt x="99669" y="91916"/>
                      <a:pt x="99669" y="91916"/>
                    </a:cubicBezTo>
                    <a:lnTo>
                      <a:pt x="114338" y="91821"/>
                    </a:lnTo>
                    <a:cubicBezTo>
                      <a:pt x="114909" y="91821"/>
                      <a:pt x="115481" y="91345"/>
                      <a:pt x="115481" y="90678"/>
                    </a:cubicBezTo>
                    <a:lnTo>
                      <a:pt x="115481" y="60388"/>
                    </a:lnTo>
                    <a:lnTo>
                      <a:pt x="115481" y="48863"/>
                    </a:lnTo>
                    <a:cubicBezTo>
                      <a:pt x="115481" y="48292"/>
                      <a:pt x="115004" y="47720"/>
                      <a:pt x="114338" y="47720"/>
                    </a:cubicBezTo>
                    <a:lnTo>
                      <a:pt x="99669" y="47625"/>
                    </a:lnTo>
                    <a:cubicBezTo>
                      <a:pt x="99669" y="47625"/>
                      <a:pt x="99002" y="47530"/>
                      <a:pt x="98526" y="47816"/>
                    </a:cubicBezTo>
                    <a:cubicBezTo>
                      <a:pt x="98050" y="48196"/>
                      <a:pt x="98050" y="48958"/>
                      <a:pt x="98050" y="48958"/>
                    </a:cubicBezTo>
                    <a:cubicBezTo>
                      <a:pt x="97193" y="54007"/>
                      <a:pt x="94335" y="57531"/>
                      <a:pt x="91478" y="57531"/>
                    </a:cubicBezTo>
                    <a:lnTo>
                      <a:pt x="49758" y="57531"/>
                    </a:lnTo>
                    <a:lnTo>
                      <a:pt x="49758" y="30099"/>
                    </a:lnTo>
                    <a:lnTo>
                      <a:pt x="50044" y="25432"/>
                    </a:lnTo>
                    <a:cubicBezTo>
                      <a:pt x="51282" y="23432"/>
                      <a:pt x="54330" y="24194"/>
                      <a:pt x="54330" y="24194"/>
                    </a:cubicBezTo>
                    <a:cubicBezTo>
                      <a:pt x="54330" y="24194"/>
                      <a:pt x="83381" y="24194"/>
                      <a:pt x="91573" y="24670"/>
                    </a:cubicBezTo>
                    <a:cubicBezTo>
                      <a:pt x="95573" y="24956"/>
                      <a:pt x="103765" y="24384"/>
                      <a:pt x="105670" y="27432"/>
                    </a:cubicBezTo>
                    <a:cubicBezTo>
                      <a:pt x="107003" y="29528"/>
                      <a:pt x="107670" y="32290"/>
                      <a:pt x="107670" y="32290"/>
                    </a:cubicBezTo>
                    <a:cubicBezTo>
                      <a:pt x="107670" y="34862"/>
                      <a:pt x="109766" y="36957"/>
                      <a:pt x="112337" y="36957"/>
                    </a:cubicBezTo>
                    <a:lnTo>
                      <a:pt x="124529" y="36957"/>
                    </a:lnTo>
                    <a:cubicBezTo>
                      <a:pt x="127101" y="36957"/>
                      <a:pt x="129197" y="34862"/>
                      <a:pt x="129197" y="32290"/>
                    </a:cubicBezTo>
                    <a:lnTo>
                      <a:pt x="129673" y="4572"/>
                    </a:lnTo>
                    <a:cubicBezTo>
                      <a:pt x="129482" y="2096"/>
                      <a:pt x="127387" y="0"/>
                      <a:pt x="124815" y="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5" name="Freeform 134">
                <a:extLst>
                  <a:ext uri="{FF2B5EF4-FFF2-40B4-BE49-F238E27FC236}">
                    <a16:creationId xmlns:a16="http://schemas.microsoft.com/office/drawing/2014/main" id="{79DF8F72-3826-CE4D-9D92-07516F3081EA}"/>
                  </a:ext>
                </a:extLst>
              </p:cNvPr>
              <p:cNvSpPr/>
              <p:nvPr/>
            </p:nvSpPr>
            <p:spPr>
              <a:xfrm>
                <a:off x="1398215" y="6441301"/>
                <a:ext cx="1771" cy="1602"/>
              </a:xfrm>
              <a:custGeom>
                <a:avLst/>
                <a:gdLst>
                  <a:gd name="connsiteX0" fmla="*/ 4001 w 4000"/>
                  <a:gd name="connsiteY0" fmla="*/ 0 h 3619"/>
                  <a:gd name="connsiteX1" fmla="*/ 1524 w 4000"/>
                  <a:gd name="connsiteY1" fmla="*/ 762 h 3619"/>
                  <a:gd name="connsiteX2" fmla="*/ 0 w 4000"/>
                  <a:gd name="connsiteY2" fmla="*/ 3620 h 3619"/>
                </a:gdLst>
                <a:ahLst/>
                <a:cxnLst>
                  <a:cxn ang="0">
                    <a:pos x="connsiteX0" y="connsiteY0"/>
                  </a:cxn>
                  <a:cxn ang="0">
                    <a:pos x="connsiteX1" y="connsiteY1"/>
                  </a:cxn>
                  <a:cxn ang="0">
                    <a:pos x="connsiteX2" y="connsiteY2"/>
                  </a:cxn>
                </a:cxnLst>
                <a:rect l="l" t="t" r="r" b="b"/>
                <a:pathLst>
                  <a:path w="4000" h="3619">
                    <a:moveTo>
                      <a:pt x="4001" y="0"/>
                    </a:moveTo>
                    <a:cubicBezTo>
                      <a:pt x="4001" y="0"/>
                      <a:pt x="2286" y="0"/>
                      <a:pt x="1524" y="762"/>
                    </a:cubicBezTo>
                    <a:cubicBezTo>
                      <a:pt x="762" y="1524"/>
                      <a:pt x="0" y="3620"/>
                      <a:pt x="0" y="3620"/>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7" name="Freeform 136">
                <a:extLst>
                  <a:ext uri="{FF2B5EF4-FFF2-40B4-BE49-F238E27FC236}">
                    <a16:creationId xmlns:a16="http://schemas.microsoft.com/office/drawing/2014/main" id="{45B95D27-688D-324B-AA42-9AB9E5158723}"/>
                  </a:ext>
                </a:extLst>
              </p:cNvPr>
              <p:cNvSpPr/>
              <p:nvPr/>
            </p:nvSpPr>
            <p:spPr>
              <a:xfrm>
                <a:off x="1370411" y="6441185"/>
                <a:ext cx="156916" cy="66991"/>
              </a:xfrm>
              <a:custGeom>
                <a:avLst/>
                <a:gdLst>
                  <a:gd name="connsiteX0" fmla="*/ 353510 w 354462"/>
                  <a:gd name="connsiteY0" fmla="*/ 131420 h 151327"/>
                  <a:gd name="connsiteX1" fmla="*/ 353224 w 354462"/>
                  <a:gd name="connsiteY1" fmla="*/ 129991 h 151327"/>
                  <a:gd name="connsiteX2" fmla="*/ 351796 w 354462"/>
                  <a:gd name="connsiteY2" fmla="*/ 129420 h 151327"/>
                  <a:gd name="connsiteX3" fmla="*/ 337127 w 354462"/>
                  <a:gd name="connsiteY3" fmla="*/ 121133 h 151327"/>
                  <a:gd name="connsiteX4" fmla="*/ 318363 w 354462"/>
                  <a:gd name="connsiteY4" fmla="*/ 30360 h 151327"/>
                  <a:gd name="connsiteX5" fmla="*/ 328269 w 354462"/>
                  <a:gd name="connsiteY5" fmla="*/ 22073 h 151327"/>
                  <a:gd name="connsiteX6" fmla="*/ 329698 w 354462"/>
                  <a:gd name="connsiteY6" fmla="*/ 21502 h 151327"/>
                  <a:gd name="connsiteX7" fmla="*/ 329983 w 354462"/>
                  <a:gd name="connsiteY7" fmla="*/ 20073 h 151327"/>
                  <a:gd name="connsiteX8" fmla="*/ 329793 w 354462"/>
                  <a:gd name="connsiteY8" fmla="*/ 1594 h 151327"/>
                  <a:gd name="connsiteX9" fmla="*/ 328364 w 354462"/>
                  <a:gd name="connsiteY9" fmla="*/ 166 h 151327"/>
                  <a:gd name="connsiteX10" fmla="*/ 281501 w 354462"/>
                  <a:gd name="connsiteY10" fmla="*/ 166 h 151327"/>
                  <a:gd name="connsiteX11" fmla="*/ 274929 w 354462"/>
                  <a:gd name="connsiteY11" fmla="*/ 642 h 151327"/>
                  <a:gd name="connsiteX12" fmla="*/ 271881 w 354462"/>
                  <a:gd name="connsiteY12" fmla="*/ 5690 h 151327"/>
                  <a:gd name="connsiteX13" fmla="*/ 261689 w 354462"/>
                  <a:gd name="connsiteY13" fmla="*/ 37218 h 151327"/>
                  <a:gd name="connsiteX14" fmla="*/ 254069 w 354462"/>
                  <a:gd name="connsiteY14" fmla="*/ 57601 h 151327"/>
                  <a:gd name="connsiteX15" fmla="*/ 247402 w 354462"/>
                  <a:gd name="connsiteY15" fmla="*/ 38266 h 151327"/>
                  <a:gd name="connsiteX16" fmla="*/ 237210 w 354462"/>
                  <a:gd name="connsiteY16" fmla="*/ 8262 h 151327"/>
                  <a:gd name="connsiteX17" fmla="*/ 233114 w 354462"/>
                  <a:gd name="connsiteY17" fmla="*/ 1118 h 151327"/>
                  <a:gd name="connsiteX18" fmla="*/ 225494 w 354462"/>
                  <a:gd name="connsiteY18" fmla="*/ 70 h 151327"/>
                  <a:gd name="connsiteX19" fmla="*/ 178727 w 354462"/>
                  <a:gd name="connsiteY19" fmla="*/ 70 h 151327"/>
                  <a:gd name="connsiteX20" fmla="*/ 177298 w 354462"/>
                  <a:gd name="connsiteY20" fmla="*/ 1499 h 151327"/>
                  <a:gd name="connsiteX21" fmla="*/ 177107 w 354462"/>
                  <a:gd name="connsiteY21" fmla="*/ 19978 h 151327"/>
                  <a:gd name="connsiteX22" fmla="*/ 177393 w 354462"/>
                  <a:gd name="connsiteY22" fmla="*/ 21406 h 151327"/>
                  <a:gd name="connsiteX23" fmla="*/ 178917 w 354462"/>
                  <a:gd name="connsiteY23" fmla="*/ 21978 h 151327"/>
                  <a:gd name="connsiteX24" fmla="*/ 188823 w 354462"/>
                  <a:gd name="connsiteY24" fmla="*/ 30265 h 151327"/>
                  <a:gd name="connsiteX25" fmla="*/ 170059 w 354462"/>
                  <a:gd name="connsiteY25" fmla="*/ 121038 h 151327"/>
                  <a:gd name="connsiteX26" fmla="*/ 164439 w 354462"/>
                  <a:gd name="connsiteY26" fmla="*/ 126467 h 151327"/>
                  <a:gd name="connsiteX27" fmla="*/ 158819 w 354462"/>
                  <a:gd name="connsiteY27" fmla="*/ 121038 h 151327"/>
                  <a:gd name="connsiteX28" fmla="*/ 112432 w 354462"/>
                  <a:gd name="connsiteY28" fmla="*/ 3880 h 151327"/>
                  <a:gd name="connsiteX29" fmla="*/ 110908 w 354462"/>
                  <a:gd name="connsiteY29" fmla="*/ 1023 h 151327"/>
                  <a:gd name="connsiteX30" fmla="*/ 108623 w 354462"/>
                  <a:gd name="connsiteY30" fmla="*/ 261 h 151327"/>
                  <a:gd name="connsiteX31" fmla="*/ 66808 w 354462"/>
                  <a:gd name="connsiteY31" fmla="*/ 261 h 151327"/>
                  <a:gd name="connsiteX32" fmla="*/ 64331 w 354462"/>
                  <a:gd name="connsiteY32" fmla="*/ 1023 h 151327"/>
                  <a:gd name="connsiteX33" fmla="*/ 62807 w 354462"/>
                  <a:gd name="connsiteY33" fmla="*/ 3880 h 151327"/>
                  <a:gd name="connsiteX34" fmla="*/ 16421 w 354462"/>
                  <a:gd name="connsiteY34" fmla="*/ 121038 h 151327"/>
                  <a:gd name="connsiteX35" fmla="*/ 1752 w 354462"/>
                  <a:gd name="connsiteY35" fmla="*/ 129325 h 151327"/>
                  <a:gd name="connsiteX36" fmla="*/ 323 w 354462"/>
                  <a:gd name="connsiteY36" fmla="*/ 129896 h 151327"/>
                  <a:gd name="connsiteX37" fmla="*/ 38 w 354462"/>
                  <a:gd name="connsiteY37" fmla="*/ 131325 h 151327"/>
                  <a:gd name="connsiteX38" fmla="*/ 228 w 354462"/>
                  <a:gd name="connsiteY38" fmla="*/ 149803 h 151327"/>
                  <a:gd name="connsiteX39" fmla="*/ 1657 w 354462"/>
                  <a:gd name="connsiteY39" fmla="*/ 151232 h 151327"/>
                  <a:gd name="connsiteX40" fmla="*/ 61569 w 354462"/>
                  <a:gd name="connsiteY40" fmla="*/ 151232 h 151327"/>
                  <a:gd name="connsiteX41" fmla="*/ 62998 w 354462"/>
                  <a:gd name="connsiteY41" fmla="*/ 149803 h 151327"/>
                  <a:gd name="connsiteX42" fmla="*/ 63188 w 354462"/>
                  <a:gd name="connsiteY42" fmla="*/ 131325 h 151327"/>
                  <a:gd name="connsiteX43" fmla="*/ 62903 w 354462"/>
                  <a:gd name="connsiteY43" fmla="*/ 129896 h 151327"/>
                  <a:gd name="connsiteX44" fmla="*/ 61474 w 354462"/>
                  <a:gd name="connsiteY44" fmla="*/ 129325 h 151327"/>
                  <a:gd name="connsiteX45" fmla="*/ 49853 w 354462"/>
                  <a:gd name="connsiteY45" fmla="*/ 121038 h 151327"/>
                  <a:gd name="connsiteX46" fmla="*/ 59283 w 354462"/>
                  <a:gd name="connsiteY46" fmla="*/ 97321 h 151327"/>
                  <a:gd name="connsiteX47" fmla="*/ 107575 w 354462"/>
                  <a:gd name="connsiteY47" fmla="*/ 97321 h 151327"/>
                  <a:gd name="connsiteX48" fmla="*/ 116814 w 354462"/>
                  <a:gd name="connsiteY48" fmla="*/ 121038 h 151327"/>
                  <a:gd name="connsiteX49" fmla="*/ 108241 w 354462"/>
                  <a:gd name="connsiteY49" fmla="*/ 129325 h 151327"/>
                  <a:gd name="connsiteX50" fmla="*/ 106813 w 354462"/>
                  <a:gd name="connsiteY50" fmla="*/ 129896 h 151327"/>
                  <a:gd name="connsiteX51" fmla="*/ 106527 w 354462"/>
                  <a:gd name="connsiteY51" fmla="*/ 131325 h 151327"/>
                  <a:gd name="connsiteX52" fmla="*/ 106432 w 354462"/>
                  <a:gd name="connsiteY52" fmla="*/ 149803 h 151327"/>
                  <a:gd name="connsiteX53" fmla="*/ 107861 w 354462"/>
                  <a:gd name="connsiteY53" fmla="*/ 151232 h 151327"/>
                  <a:gd name="connsiteX54" fmla="*/ 211874 w 354462"/>
                  <a:gd name="connsiteY54" fmla="*/ 151232 h 151327"/>
                  <a:gd name="connsiteX55" fmla="*/ 213302 w 354462"/>
                  <a:gd name="connsiteY55" fmla="*/ 149803 h 151327"/>
                  <a:gd name="connsiteX56" fmla="*/ 213302 w 354462"/>
                  <a:gd name="connsiteY56" fmla="*/ 131325 h 151327"/>
                  <a:gd name="connsiteX57" fmla="*/ 213016 w 354462"/>
                  <a:gd name="connsiteY57" fmla="*/ 129896 h 151327"/>
                  <a:gd name="connsiteX58" fmla="*/ 211588 w 354462"/>
                  <a:gd name="connsiteY58" fmla="*/ 129325 h 151327"/>
                  <a:gd name="connsiteX59" fmla="*/ 203777 w 354462"/>
                  <a:gd name="connsiteY59" fmla="*/ 121038 h 151327"/>
                  <a:gd name="connsiteX60" fmla="*/ 212350 w 354462"/>
                  <a:gd name="connsiteY60" fmla="*/ 57125 h 151327"/>
                  <a:gd name="connsiteX61" fmla="*/ 213874 w 354462"/>
                  <a:gd name="connsiteY61" fmla="*/ 51029 h 151327"/>
                  <a:gd name="connsiteX62" fmla="*/ 217970 w 354462"/>
                  <a:gd name="connsiteY62" fmla="*/ 60745 h 151327"/>
                  <a:gd name="connsiteX63" fmla="*/ 230733 w 354462"/>
                  <a:gd name="connsiteY63" fmla="*/ 106084 h 151327"/>
                  <a:gd name="connsiteX64" fmla="*/ 234257 w 354462"/>
                  <a:gd name="connsiteY64" fmla="*/ 112180 h 151327"/>
                  <a:gd name="connsiteX65" fmla="*/ 241401 w 354462"/>
                  <a:gd name="connsiteY65" fmla="*/ 115704 h 151327"/>
                  <a:gd name="connsiteX66" fmla="*/ 252069 w 354462"/>
                  <a:gd name="connsiteY66" fmla="*/ 115704 h 151327"/>
                  <a:gd name="connsiteX67" fmla="*/ 260737 w 354462"/>
                  <a:gd name="connsiteY67" fmla="*/ 115704 h 151327"/>
                  <a:gd name="connsiteX68" fmla="*/ 265309 w 354462"/>
                  <a:gd name="connsiteY68" fmla="*/ 113704 h 151327"/>
                  <a:gd name="connsiteX69" fmla="*/ 270357 w 354462"/>
                  <a:gd name="connsiteY69" fmla="*/ 104560 h 151327"/>
                  <a:gd name="connsiteX70" fmla="*/ 284645 w 354462"/>
                  <a:gd name="connsiteY70" fmla="*/ 55220 h 151327"/>
                  <a:gd name="connsiteX71" fmla="*/ 287216 w 354462"/>
                  <a:gd name="connsiteY71" fmla="*/ 50648 h 151327"/>
                  <a:gd name="connsiteX72" fmla="*/ 289693 w 354462"/>
                  <a:gd name="connsiteY72" fmla="*/ 57220 h 151327"/>
                  <a:gd name="connsiteX73" fmla="*/ 298265 w 354462"/>
                  <a:gd name="connsiteY73" fmla="*/ 121133 h 151327"/>
                  <a:gd name="connsiteX74" fmla="*/ 290455 w 354462"/>
                  <a:gd name="connsiteY74" fmla="*/ 129420 h 151327"/>
                  <a:gd name="connsiteX75" fmla="*/ 289026 w 354462"/>
                  <a:gd name="connsiteY75" fmla="*/ 129991 h 151327"/>
                  <a:gd name="connsiteX76" fmla="*/ 288740 w 354462"/>
                  <a:gd name="connsiteY76" fmla="*/ 131420 h 151327"/>
                  <a:gd name="connsiteX77" fmla="*/ 288359 w 354462"/>
                  <a:gd name="connsiteY77" fmla="*/ 149899 h 151327"/>
                  <a:gd name="connsiteX78" fmla="*/ 289788 w 354462"/>
                  <a:gd name="connsiteY78" fmla="*/ 151327 h 151327"/>
                  <a:gd name="connsiteX79" fmla="*/ 353034 w 354462"/>
                  <a:gd name="connsiteY79" fmla="*/ 151327 h 151327"/>
                  <a:gd name="connsiteX80" fmla="*/ 354463 w 354462"/>
                  <a:gd name="connsiteY80" fmla="*/ 149899 h 151327"/>
                  <a:gd name="connsiteX81" fmla="*/ 353510 w 354462"/>
                  <a:gd name="connsiteY81" fmla="*/ 131420 h 151327"/>
                  <a:gd name="connsiteX82" fmla="*/ 96621 w 354462"/>
                  <a:gd name="connsiteY82" fmla="*/ 71317 h 151327"/>
                  <a:gd name="connsiteX83" fmla="*/ 94145 w 354462"/>
                  <a:gd name="connsiteY83" fmla="*/ 71889 h 151327"/>
                  <a:gd name="connsiteX84" fmla="*/ 72047 w 354462"/>
                  <a:gd name="connsiteY84" fmla="*/ 71889 h 151327"/>
                  <a:gd name="connsiteX85" fmla="*/ 69761 w 354462"/>
                  <a:gd name="connsiteY85" fmla="*/ 71508 h 151327"/>
                  <a:gd name="connsiteX86" fmla="*/ 70332 w 354462"/>
                  <a:gd name="connsiteY86" fmla="*/ 69031 h 151327"/>
                  <a:gd name="connsiteX87" fmla="*/ 83286 w 354462"/>
                  <a:gd name="connsiteY87" fmla="*/ 35027 h 151327"/>
                  <a:gd name="connsiteX88" fmla="*/ 95859 w 354462"/>
                  <a:gd name="connsiteY88" fmla="*/ 68079 h 151327"/>
                  <a:gd name="connsiteX89" fmla="*/ 96621 w 354462"/>
                  <a:gd name="connsiteY89" fmla="*/ 71317 h 1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4462" h="151327">
                    <a:moveTo>
                      <a:pt x="353510" y="131420"/>
                    </a:moveTo>
                    <a:cubicBezTo>
                      <a:pt x="353415" y="131420"/>
                      <a:pt x="353606" y="130563"/>
                      <a:pt x="353224" y="129991"/>
                    </a:cubicBezTo>
                    <a:cubicBezTo>
                      <a:pt x="352748" y="129325"/>
                      <a:pt x="351796" y="129420"/>
                      <a:pt x="351796" y="129420"/>
                    </a:cubicBezTo>
                    <a:cubicBezTo>
                      <a:pt x="345414" y="128372"/>
                      <a:pt x="337127" y="124753"/>
                      <a:pt x="337127" y="121133"/>
                    </a:cubicBezTo>
                    <a:lnTo>
                      <a:pt x="318363" y="30360"/>
                    </a:lnTo>
                    <a:cubicBezTo>
                      <a:pt x="318363" y="26740"/>
                      <a:pt x="321887" y="23121"/>
                      <a:pt x="328269" y="22073"/>
                    </a:cubicBezTo>
                    <a:cubicBezTo>
                      <a:pt x="328269" y="22073"/>
                      <a:pt x="329317" y="22073"/>
                      <a:pt x="329698" y="21502"/>
                    </a:cubicBezTo>
                    <a:cubicBezTo>
                      <a:pt x="330174" y="20835"/>
                      <a:pt x="329983" y="20073"/>
                      <a:pt x="329983" y="20073"/>
                    </a:cubicBezTo>
                    <a:lnTo>
                      <a:pt x="329793" y="1594"/>
                    </a:lnTo>
                    <a:cubicBezTo>
                      <a:pt x="329793" y="832"/>
                      <a:pt x="329126" y="166"/>
                      <a:pt x="328364" y="166"/>
                    </a:cubicBezTo>
                    <a:lnTo>
                      <a:pt x="281501" y="166"/>
                    </a:lnTo>
                    <a:cubicBezTo>
                      <a:pt x="281501" y="166"/>
                      <a:pt x="276453" y="-311"/>
                      <a:pt x="274929" y="642"/>
                    </a:cubicBezTo>
                    <a:cubicBezTo>
                      <a:pt x="273405" y="1690"/>
                      <a:pt x="271881" y="5690"/>
                      <a:pt x="271881" y="5690"/>
                    </a:cubicBezTo>
                    <a:lnTo>
                      <a:pt x="261689" y="37218"/>
                    </a:lnTo>
                    <a:cubicBezTo>
                      <a:pt x="261689" y="37218"/>
                      <a:pt x="255593" y="57601"/>
                      <a:pt x="254069" y="57601"/>
                    </a:cubicBezTo>
                    <a:cubicBezTo>
                      <a:pt x="252545" y="57601"/>
                      <a:pt x="247402" y="38266"/>
                      <a:pt x="247402" y="38266"/>
                    </a:cubicBezTo>
                    <a:lnTo>
                      <a:pt x="237210" y="8262"/>
                    </a:lnTo>
                    <a:cubicBezTo>
                      <a:pt x="237210" y="8262"/>
                      <a:pt x="235210" y="2642"/>
                      <a:pt x="233114" y="1118"/>
                    </a:cubicBezTo>
                    <a:cubicBezTo>
                      <a:pt x="231114" y="-406"/>
                      <a:pt x="225494" y="70"/>
                      <a:pt x="225494" y="70"/>
                    </a:cubicBezTo>
                    <a:lnTo>
                      <a:pt x="178727" y="70"/>
                    </a:lnTo>
                    <a:cubicBezTo>
                      <a:pt x="177965" y="70"/>
                      <a:pt x="177298" y="737"/>
                      <a:pt x="177298" y="1499"/>
                    </a:cubicBezTo>
                    <a:lnTo>
                      <a:pt x="177107" y="19978"/>
                    </a:lnTo>
                    <a:cubicBezTo>
                      <a:pt x="177107" y="19978"/>
                      <a:pt x="176917" y="20835"/>
                      <a:pt x="177393" y="21406"/>
                    </a:cubicBezTo>
                    <a:cubicBezTo>
                      <a:pt x="177869" y="22073"/>
                      <a:pt x="178917" y="21978"/>
                      <a:pt x="178917" y="21978"/>
                    </a:cubicBezTo>
                    <a:cubicBezTo>
                      <a:pt x="185299" y="23026"/>
                      <a:pt x="188823" y="26645"/>
                      <a:pt x="188823" y="30265"/>
                    </a:cubicBezTo>
                    <a:lnTo>
                      <a:pt x="170059" y="121038"/>
                    </a:lnTo>
                    <a:cubicBezTo>
                      <a:pt x="169297" y="124753"/>
                      <a:pt x="167773" y="126467"/>
                      <a:pt x="164439" y="126467"/>
                    </a:cubicBezTo>
                    <a:cubicBezTo>
                      <a:pt x="161677" y="126467"/>
                      <a:pt x="160724" y="124943"/>
                      <a:pt x="158819" y="121038"/>
                    </a:cubicBezTo>
                    <a:lnTo>
                      <a:pt x="112432" y="3880"/>
                    </a:lnTo>
                    <a:cubicBezTo>
                      <a:pt x="112432" y="3880"/>
                      <a:pt x="111671" y="1785"/>
                      <a:pt x="110908" y="1023"/>
                    </a:cubicBezTo>
                    <a:cubicBezTo>
                      <a:pt x="110147" y="261"/>
                      <a:pt x="108623" y="261"/>
                      <a:pt x="108623" y="261"/>
                    </a:cubicBezTo>
                    <a:lnTo>
                      <a:pt x="66808" y="261"/>
                    </a:lnTo>
                    <a:cubicBezTo>
                      <a:pt x="66808" y="261"/>
                      <a:pt x="65093" y="261"/>
                      <a:pt x="64331" y="1023"/>
                    </a:cubicBezTo>
                    <a:cubicBezTo>
                      <a:pt x="63569" y="1785"/>
                      <a:pt x="62807" y="3880"/>
                      <a:pt x="62807" y="3880"/>
                    </a:cubicBezTo>
                    <a:lnTo>
                      <a:pt x="16421" y="121038"/>
                    </a:lnTo>
                    <a:cubicBezTo>
                      <a:pt x="16421" y="124657"/>
                      <a:pt x="8134" y="128277"/>
                      <a:pt x="1752" y="129325"/>
                    </a:cubicBezTo>
                    <a:cubicBezTo>
                      <a:pt x="1752" y="129325"/>
                      <a:pt x="704" y="129325"/>
                      <a:pt x="323" y="129896"/>
                    </a:cubicBezTo>
                    <a:cubicBezTo>
                      <a:pt x="-153" y="130563"/>
                      <a:pt x="38" y="131325"/>
                      <a:pt x="38" y="131325"/>
                    </a:cubicBezTo>
                    <a:lnTo>
                      <a:pt x="228" y="149803"/>
                    </a:lnTo>
                    <a:cubicBezTo>
                      <a:pt x="228" y="150565"/>
                      <a:pt x="895" y="151232"/>
                      <a:pt x="1657" y="151232"/>
                    </a:cubicBezTo>
                    <a:lnTo>
                      <a:pt x="61569" y="151232"/>
                    </a:lnTo>
                    <a:cubicBezTo>
                      <a:pt x="62331" y="151232"/>
                      <a:pt x="62998" y="150565"/>
                      <a:pt x="62998" y="149803"/>
                    </a:cubicBezTo>
                    <a:lnTo>
                      <a:pt x="63188" y="131325"/>
                    </a:lnTo>
                    <a:cubicBezTo>
                      <a:pt x="63188" y="131325"/>
                      <a:pt x="63379" y="130468"/>
                      <a:pt x="62903" y="129896"/>
                    </a:cubicBezTo>
                    <a:cubicBezTo>
                      <a:pt x="62426" y="129229"/>
                      <a:pt x="61474" y="129325"/>
                      <a:pt x="61474" y="129325"/>
                    </a:cubicBezTo>
                    <a:cubicBezTo>
                      <a:pt x="55092" y="128277"/>
                      <a:pt x="48710" y="126277"/>
                      <a:pt x="49853" y="121038"/>
                    </a:cubicBezTo>
                    <a:lnTo>
                      <a:pt x="59283" y="97321"/>
                    </a:lnTo>
                    <a:lnTo>
                      <a:pt x="107575" y="97321"/>
                    </a:lnTo>
                    <a:lnTo>
                      <a:pt x="116814" y="121038"/>
                    </a:lnTo>
                    <a:cubicBezTo>
                      <a:pt x="119100" y="125134"/>
                      <a:pt x="114623" y="128277"/>
                      <a:pt x="108241" y="129325"/>
                    </a:cubicBezTo>
                    <a:cubicBezTo>
                      <a:pt x="108241" y="129325"/>
                      <a:pt x="107194" y="129325"/>
                      <a:pt x="106813" y="129896"/>
                    </a:cubicBezTo>
                    <a:cubicBezTo>
                      <a:pt x="106337" y="130563"/>
                      <a:pt x="106527" y="131325"/>
                      <a:pt x="106527" y="131325"/>
                    </a:cubicBezTo>
                    <a:lnTo>
                      <a:pt x="106432" y="149803"/>
                    </a:lnTo>
                    <a:cubicBezTo>
                      <a:pt x="106432" y="150565"/>
                      <a:pt x="107099" y="151232"/>
                      <a:pt x="107861" y="151232"/>
                    </a:cubicBezTo>
                    <a:lnTo>
                      <a:pt x="211874" y="151232"/>
                    </a:lnTo>
                    <a:cubicBezTo>
                      <a:pt x="212636" y="151232"/>
                      <a:pt x="213302" y="150565"/>
                      <a:pt x="213302" y="149803"/>
                    </a:cubicBezTo>
                    <a:lnTo>
                      <a:pt x="213302" y="131325"/>
                    </a:lnTo>
                    <a:cubicBezTo>
                      <a:pt x="213302" y="131325"/>
                      <a:pt x="213493" y="130468"/>
                      <a:pt x="213016" y="129896"/>
                    </a:cubicBezTo>
                    <a:cubicBezTo>
                      <a:pt x="212540" y="129229"/>
                      <a:pt x="211588" y="129325"/>
                      <a:pt x="211588" y="129325"/>
                    </a:cubicBezTo>
                    <a:cubicBezTo>
                      <a:pt x="205206" y="128277"/>
                      <a:pt x="203777" y="124657"/>
                      <a:pt x="203777" y="121038"/>
                    </a:cubicBezTo>
                    <a:lnTo>
                      <a:pt x="212350" y="57125"/>
                    </a:lnTo>
                    <a:cubicBezTo>
                      <a:pt x="212350" y="57125"/>
                      <a:pt x="212350" y="51029"/>
                      <a:pt x="213874" y="51029"/>
                    </a:cubicBezTo>
                    <a:cubicBezTo>
                      <a:pt x="215398" y="51029"/>
                      <a:pt x="217970" y="60745"/>
                      <a:pt x="217970" y="60745"/>
                    </a:cubicBezTo>
                    <a:lnTo>
                      <a:pt x="230733" y="106084"/>
                    </a:lnTo>
                    <a:cubicBezTo>
                      <a:pt x="230733" y="106084"/>
                      <a:pt x="232733" y="110656"/>
                      <a:pt x="234257" y="112180"/>
                    </a:cubicBezTo>
                    <a:cubicBezTo>
                      <a:pt x="235781" y="113704"/>
                      <a:pt x="241401" y="115704"/>
                      <a:pt x="241401" y="115704"/>
                    </a:cubicBezTo>
                    <a:lnTo>
                      <a:pt x="252069" y="115704"/>
                    </a:lnTo>
                    <a:lnTo>
                      <a:pt x="260737" y="115704"/>
                    </a:lnTo>
                    <a:cubicBezTo>
                      <a:pt x="260737" y="115704"/>
                      <a:pt x="262737" y="115704"/>
                      <a:pt x="265309" y="113704"/>
                    </a:cubicBezTo>
                    <a:cubicBezTo>
                      <a:pt x="267881" y="111703"/>
                      <a:pt x="270357" y="104560"/>
                      <a:pt x="270357" y="104560"/>
                    </a:cubicBezTo>
                    <a:lnTo>
                      <a:pt x="284645" y="55220"/>
                    </a:lnTo>
                    <a:cubicBezTo>
                      <a:pt x="284645" y="55220"/>
                      <a:pt x="285692" y="50648"/>
                      <a:pt x="287216" y="50648"/>
                    </a:cubicBezTo>
                    <a:cubicBezTo>
                      <a:pt x="289216" y="50648"/>
                      <a:pt x="289693" y="57220"/>
                      <a:pt x="289693" y="57220"/>
                    </a:cubicBezTo>
                    <a:lnTo>
                      <a:pt x="298265" y="121133"/>
                    </a:lnTo>
                    <a:cubicBezTo>
                      <a:pt x="298265" y="124753"/>
                      <a:pt x="296837" y="128372"/>
                      <a:pt x="290455" y="129420"/>
                    </a:cubicBezTo>
                    <a:cubicBezTo>
                      <a:pt x="290455" y="129420"/>
                      <a:pt x="289407" y="129420"/>
                      <a:pt x="289026" y="129991"/>
                    </a:cubicBezTo>
                    <a:cubicBezTo>
                      <a:pt x="288550" y="130658"/>
                      <a:pt x="288740" y="131420"/>
                      <a:pt x="288740" y="131420"/>
                    </a:cubicBezTo>
                    <a:lnTo>
                      <a:pt x="288359" y="149899"/>
                    </a:lnTo>
                    <a:cubicBezTo>
                      <a:pt x="288359" y="150661"/>
                      <a:pt x="289026" y="151327"/>
                      <a:pt x="289788" y="151327"/>
                    </a:cubicBezTo>
                    <a:lnTo>
                      <a:pt x="353034" y="151327"/>
                    </a:lnTo>
                    <a:cubicBezTo>
                      <a:pt x="353796" y="151327"/>
                      <a:pt x="354463" y="150661"/>
                      <a:pt x="354463" y="149899"/>
                    </a:cubicBezTo>
                    <a:lnTo>
                      <a:pt x="353510" y="131420"/>
                    </a:lnTo>
                    <a:close/>
                    <a:moveTo>
                      <a:pt x="96621" y="71317"/>
                    </a:moveTo>
                    <a:cubicBezTo>
                      <a:pt x="96240" y="72270"/>
                      <a:pt x="94145" y="71889"/>
                      <a:pt x="94145" y="71889"/>
                    </a:cubicBezTo>
                    <a:lnTo>
                      <a:pt x="72047" y="71889"/>
                    </a:lnTo>
                    <a:cubicBezTo>
                      <a:pt x="72047" y="71889"/>
                      <a:pt x="70523" y="72079"/>
                      <a:pt x="69761" y="71508"/>
                    </a:cubicBezTo>
                    <a:cubicBezTo>
                      <a:pt x="69189" y="71127"/>
                      <a:pt x="70332" y="69031"/>
                      <a:pt x="70332" y="69031"/>
                    </a:cubicBezTo>
                    <a:lnTo>
                      <a:pt x="83286" y="35027"/>
                    </a:lnTo>
                    <a:lnTo>
                      <a:pt x="95859" y="68079"/>
                    </a:lnTo>
                    <a:cubicBezTo>
                      <a:pt x="95859" y="67984"/>
                      <a:pt x="96907" y="70460"/>
                      <a:pt x="96621" y="7131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39" name="Freeform 138">
                <a:extLst>
                  <a:ext uri="{FF2B5EF4-FFF2-40B4-BE49-F238E27FC236}">
                    <a16:creationId xmlns:a16="http://schemas.microsoft.com/office/drawing/2014/main" id="{E3C7D620-C0C8-9A47-93E1-6DF135DD1F60}"/>
                  </a:ext>
                </a:extLst>
              </p:cNvPr>
              <p:cNvSpPr/>
              <p:nvPr/>
            </p:nvSpPr>
            <p:spPr>
              <a:xfrm>
                <a:off x="1701895" y="6439479"/>
                <a:ext cx="125275" cy="68918"/>
              </a:xfrm>
              <a:custGeom>
                <a:avLst/>
                <a:gdLst>
                  <a:gd name="connsiteX0" fmla="*/ 282321 w 282987"/>
                  <a:gd name="connsiteY0" fmla="*/ 133750 h 155681"/>
                  <a:gd name="connsiteX1" fmla="*/ 280892 w 282987"/>
                  <a:gd name="connsiteY1" fmla="*/ 133179 h 155681"/>
                  <a:gd name="connsiteX2" fmla="*/ 266224 w 282987"/>
                  <a:gd name="connsiteY2" fmla="*/ 124892 h 155681"/>
                  <a:gd name="connsiteX3" fmla="*/ 219837 w 282987"/>
                  <a:gd name="connsiteY3" fmla="*/ 7735 h 155681"/>
                  <a:gd name="connsiteX4" fmla="*/ 218313 w 282987"/>
                  <a:gd name="connsiteY4" fmla="*/ 4877 h 155681"/>
                  <a:gd name="connsiteX5" fmla="*/ 216027 w 282987"/>
                  <a:gd name="connsiteY5" fmla="*/ 4115 h 155681"/>
                  <a:gd name="connsiteX6" fmla="*/ 174212 w 282987"/>
                  <a:gd name="connsiteY6" fmla="*/ 4115 h 155681"/>
                  <a:gd name="connsiteX7" fmla="*/ 171736 w 282987"/>
                  <a:gd name="connsiteY7" fmla="*/ 4877 h 155681"/>
                  <a:gd name="connsiteX8" fmla="*/ 170212 w 282987"/>
                  <a:gd name="connsiteY8" fmla="*/ 7735 h 155681"/>
                  <a:gd name="connsiteX9" fmla="*/ 130493 w 282987"/>
                  <a:gd name="connsiteY9" fmla="*/ 107938 h 155681"/>
                  <a:gd name="connsiteX10" fmla="*/ 110681 w 282987"/>
                  <a:gd name="connsiteY10" fmla="*/ 130703 h 155681"/>
                  <a:gd name="connsiteX11" fmla="*/ 84487 w 282987"/>
                  <a:gd name="connsiteY11" fmla="*/ 134227 h 155681"/>
                  <a:gd name="connsiteX12" fmla="*/ 84011 w 282987"/>
                  <a:gd name="connsiteY12" fmla="*/ 134227 h 155681"/>
                  <a:gd name="connsiteX13" fmla="*/ 84011 w 282987"/>
                  <a:gd name="connsiteY13" fmla="*/ 134227 h 155681"/>
                  <a:gd name="connsiteX14" fmla="*/ 62484 w 282987"/>
                  <a:gd name="connsiteY14" fmla="*/ 130703 h 155681"/>
                  <a:gd name="connsiteX15" fmla="*/ 46768 w 282987"/>
                  <a:gd name="connsiteY15" fmla="*/ 112986 h 155681"/>
                  <a:gd name="connsiteX16" fmla="*/ 42386 w 282987"/>
                  <a:gd name="connsiteY16" fmla="*/ 78029 h 155681"/>
                  <a:gd name="connsiteX17" fmla="*/ 46768 w 282987"/>
                  <a:gd name="connsiteY17" fmla="*/ 40405 h 155681"/>
                  <a:gd name="connsiteX18" fmla="*/ 78200 w 282987"/>
                  <a:gd name="connsiteY18" fmla="*/ 24213 h 155681"/>
                  <a:gd name="connsiteX19" fmla="*/ 106775 w 282987"/>
                  <a:gd name="connsiteY19" fmla="*/ 35357 h 155681"/>
                  <a:gd name="connsiteX20" fmla="*/ 112109 w 282987"/>
                  <a:gd name="connsiteY20" fmla="*/ 45168 h 155681"/>
                  <a:gd name="connsiteX21" fmla="*/ 112109 w 282987"/>
                  <a:gd name="connsiteY21" fmla="*/ 46787 h 155681"/>
                  <a:gd name="connsiteX22" fmla="*/ 116777 w 282987"/>
                  <a:gd name="connsiteY22" fmla="*/ 51454 h 155681"/>
                  <a:gd name="connsiteX23" fmla="*/ 128969 w 282987"/>
                  <a:gd name="connsiteY23" fmla="*/ 51454 h 155681"/>
                  <a:gd name="connsiteX24" fmla="*/ 133636 w 282987"/>
                  <a:gd name="connsiteY24" fmla="*/ 46787 h 155681"/>
                  <a:gd name="connsiteX25" fmla="*/ 134017 w 282987"/>
                  <a:gd name="connsiteY25" fmla="*/ 10307 h 155681"/>
                  <a:gd name="connsiteX26" fmla="*/ 131445 w 282987"/>
                  <a:gd name="connsiteY26" fmla="*/ 4973 h 155681"/>
                  <a:gd name="connsiteX27" fmla="*/ 84392 w 282987"/>
                  <a:gd name="connsiteY27" fmla="*/ 19 h 155681"/>
                  <a:gd name="connsiteX28" fmla="*/ 29718 w 282987"/>
                  <a:gd name="connsiteY28" fmla="*/ 11735 h 155681"/>
                  <a:gd name="connsiteX29" fmla="*/ 0 w 282987"/>
                  <a:gd name="connsiteY29" fmla="*/ 75553 h 155681"/>
                  <a:gd name="connsiteX30" fmla="*/ 18860 w 282987"/>
                  <a:gd name="connsiteY30" fmla="*/ 137846 h 155681"/>
                  <a:gd name="connsiteX31" fmla="*/ 59341 w 282987"/>
                  <a:gd name="connsiteY31" fmla="*/ 154515 h 155681"/>
                  <a:gd name="connsiteX32" fmla="*/ 78772 w 282987"/>
                  <a:gd name="connsiteY32" fmla="*/ 155467 h 155681"/>
                  <a:gd name="connsiteX33" fmla="*/ 84106 w 282987"/>
                  <a:gd name="connsiteY33" fmla="*/ 155658 h 155681"/>
                  <a:gd name="connsiteX34" fmla="*/ 98203 w 282987"/>
                  <a:gd name="connsiteY34" fmla="*/ 155086 h 155681"/>
                  <a:gd name="connsiteX35" fmla="*/ 131445 w 282987"/>
                  <a:gd name="connsiteY35" fmla="*/ 154991 h 155681"/>
                  <a:gd name="connsiteX36" fmla="*/ 168878 w 282987"/>
                  <a:gd name="connsiteY36" fmla="*/ 154991 h 155681"/>
                  <a:gd name="connsiteX37" fmla="*/ 170307 w 282987"/>
                  <a:gd name="connsiteY37" fmla="*/ 153562 h 155681"/>
                  <a:gd name="connsiteX38" fmla="*/ 170498 w 282987"/>
                  <a:gd name="connsiteY38" fmla="*/ 135084 h 155681"/>
                  <a:gd name="connsiteX39" fmla="*/ 170212 w 282987"/>
                  <a:gd name="connsiteY39" fmla="*/ 133655 h 155681"/>
                  <a:gd name="connsiteX40" fmla="*/ 168783 w 282987"/>
                  <a:gd name="connsiteY40" fmla="*/ 133084 h 155681"/>
                  <a:gd name="connsiteX41" fmla="*/ 157163 w 282987"/>
                  <a:gd name="connsiteY41" fmla="*/ 124797 h 155681"/>
                  <a:gd name="connsiteX42" fmla="*/ 166592 w 282987"/>
                  <a:gd name="connsiteY42" fmla="*/ 101080 h 155681"/>
                  <a:gd name="connsiteX43" fmla="*/ 214884 w 282987"/>
                  <a:gd name="connsiteY43" fmla="*/ 101080 h 155681"/>
                  <a:gd name="connsiteX44" fmla="*/ 224123 w 282987"/>
                  <a:gd name="connsiteY44" fmla="*/ 124797 h 155681"/>
                  <a:gd name="connsiteX45" fmla="*/ 215551 w 282987"/>
                  <a:gd name="connsiteY45" fmla="*/ 133084 h 155681"/>
                  <a:gd name="connsiteX46" fmla="*/ 214122 w 282987"/>
                  <a:gd name="connsiteY46" fmla="*/ 133655 h 155681"/>
                  <a:gd name="connsiteX47" fmla="*/ 213836 w 282987"/>
                  <a:gd name="connsiteY47" fmla="*/ 135084 h 155681"/>
                  <a:gd name="connsiteX48" fmla="*/ 213932 w 282987"/>
                  <a:gd name="connsiteY48" fmla="*/ 153562 h 155681"/>
                  <a:gd name="connsiteX49" fmla="*/ 215360 w 282987"/>
                  <a:gd name="connsiteY49" fmla="*/ 154991 h 155681"/>
                  <a:gd name="connsiteX50" fmla="*/ 281369 w 282987"/>
                  <a:gd name="connsiteY50" fmla="*/ 154991 h 155681"/>
                  <a:gd name="connsiteX51" fmla="*/ 282797 w 282987"/>
                  <a:gd name="connsiteY51" fmla="*/ 153562 h 155681"/>
                  <a:gd name="connsiteX52" fmla="*/ 282988 w 282987"/>
                  <a:gd name="connsiteY52" fmla="*/ 135084 h 155681"/>
                  <a:gd name="connsiteX53" fmla="*/ 282321 w 282987"/>
                  <a:gd name="connsiteY53" fmla="*/ 133750 h 155681"/>
                  <a:gd name="connsiteX54" fmla="*/ 203930 w 282987"/>
                  <a:gd name="connsiteY54" fmla="*/ 75172 h 155681"/>
                  <a:gd name="connsiteX55" fmla="*/ 201454 w 282987"/>
                  <a:gd name="connsiteY55" fmla="*/ 75743 h 155681"/>
                  <a:gd name="connsiteX56" fmla="*/ 179356 w 282987"/>
                  <a:gd name="connsiteY56" fmla="*/ 75743 h 155681"/>
                  <a:gd name="connsiteX57" fmla="*/ 177070 w 282987"/>
                  <a:gd name="connsiteY57" fmla="*/ 75362 h 155681"/>
                  <a:gd name="connsiteX58" fmla="*/ 177641 w 282987"/>
                  <a:gd name="connsiteY58" fmla="*/ 72886 h 155681"/>
                  <a:gd name="connsiteX59" fmla="*/ 190595 w 282987"/>
                  <a:gd name="connsiteY59" fmla="*/ 38882 h 155681"/>
                  <a:gd name="connsiteX60" fmla="*/ 203168 w 282987"/>
                  <a:gd name="connsiteY60" fmla="*/ 71933 h 155681"/>
                  <a:gd name="connsiteX61" fmla="*/ 203930 w 282987"/>
                  <a:gd name="connsiteY61" fmla="*/ 75172 h 15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987" h="155681">
                    <a:moveTo>
                      <a:pt x="282321" y="133750"/>
                    </a:moveTo>
                    <a:cubicBezTo>
                      <a:pt x="281845" y="133084"/>
                      <a:pt x="280892" y="133179"/>
                      <a:pt x="280892" y="133179"/>
                    </a:cubicBezTo>
                    <a:cubicBezTo>
                      <a:pt x="274511" y="132131"/>
                      <a:pt x="266224" y="128512"/>
                      <a:pt x="266224" y="124892"/>
                    </a:cubicBezTo>
                    <a:lnTo>
                      <a:pt x="219837" y="7735"/>
                    </a:lnTo>
                    <a:cubicBezTo>
                      <a:pt x="219837" y="7735"/>
                      <a:pt x="219075" y="5639"/>
                      <a:pt x="218313" y="4877"/>
                    </a:cubicBezTo>
                    <a:cubicBezTo>
                      <a:pt x="217551" y="4115"/>
                      <a:pt x="216027" y="4115"/>
                      <a:pt x="216027" y="4115"/>
                    </a:cubicBezTo>
                    <a:lnTo>
                      <a:pt x="174212" y="4115"/>
                    </a:lnTo>
                    <a:cubicBezTo>
                      <a:pt x="174212" y="4115"/>
                      <a:pt x="172498" y="4115"/>
                      <a:pt x="171736" y="4877"/>
                    </a:cubicBezTo>
                    <a:cubicBezTo>
                      <a:pt x="170974" y="5639"/>
                      <a:pt x="170212" y="7735"/>
                      <a:pt x="170212" y="7735"/>
                    </a:cubicBezTo>
                    <a:lnTo>
                      <a:pt x="130493" y="107938"/>
                    </a:lnTo>
                    <a:cubicBezTo>
                      <a:pt x="130493" y="107938"/>
                      <a:pt x="122777" y="127273"/>
                      <a:pt x="110681" y="130703"/>
                    </a:cubicBezTo>
                    <a:cubicBezTo>
                      <a:pt x="101537" y="133274"/>
                      <a:pt x="95441" y="133846"/>
                      <a:pt x="84487" y="134227"/>
                    </a:cubicBezTo>
                    <a:cubicBezTo>
                      <a:pt x="84296" y="134227"/>
                      <a:pt x="84201" y="134227"/>
                      <a:pt x="84011" y="134227"/>
                    </a:cubicBezTo>
                    <a:lnTo>
                      <a:pt x="84011" y="134227"/>
                    </a:lnTo>
                    <a:cubicBezTo>
                      <a:pt x="73057" y="133846"/>
                      <a:pt x="70295" y="133846"/>
                      <a:pt x="62484" y="130703"/>
                    </a:cubicBezTo>
                    <a:cubicBezTo>
                      <a:pt x="58103" y="128988"/>
                      <a:pt x="49435" y="120034"/>
                      <a:pt x="46768" y="112986"/>
                    </a:cubicBezTo>
                    <a:cubicBezTo>
                      <a:pt x="44863" y="107557"/>
                      <a:pt x="42386" y="100603"/>
                      <a:pt x="42386" y="78029"/>
                    </a:cubicBezTo>
                    <a:cubicBezTo>
                      <a:pt x="42386" y="55360"/>
                      <a:pt x="44006" y="44882"/>
                      <a:pt x="46768" y="40405"/>
                    </a:cubicBezTo>
                    <a:cubicBezTo>
                      <a:pt x="51816" y="32500"/>
                      <a:pt x="59722" y="24213"/>
                      <a:pt x="78200" y="24213"/>
                    </a:cubicBezTo>
                    <a:cubicBezTo>
                      <a:pt x="96679" y="24213"/>
                      <a:pt x="103537" y="30976"/>
                      <a:pt x="106775" y="35357"/>
                    </a:cubicBezTo>
                    <a:cubicBezTo>
                      <a:pt x="106775" y="35357"/>
                      <a:pt x="111728" y="39453"/>
                      <a:pt x="112109" y="45168"/>
                    </a:cubicBezTo>
                    <a:lnTo>
                      <a:pt x="112109" y="46787"/>
                    </a:lnTo>
                    <a:cubicBezTo>
                      <a:pt x="112109" y="49359"/>
                      <a:pt x="114205" y="51454"/>
                      <a:pt x="116777" y="51454"/>
                    </a:cubicBezTo>
                    <a:lnTo>
                      <a:pt x="128969" y="51454"/>
                    </a:lnTo>
                    <a:cubicBezTo>
                      <a:pt x="131540" y="51454"/>
                      <a:pt x="133636" y="49359"/>
                      <a:pt x="133636" y="46787"/>
                    </a:cubicBezTo>
                    <a:lnTo>
                      <a:pt x="134017" y="10307"/>
                    </a:lnTo>
                    <a:cubicBezTo>
                      <a:pt x="134017" y="10307"/>
                      <a:pt x="134684" y="7640"/>
                      <a:pt x="131445" y="4973"/>
                    </a:cubicBezTo>
                    <a:cubicBezTo>
                      <a:pt x="131445" y="4973"/>
                      <a:pt x="113824" y="-362"/>
                      <a:pt x="84392" y="19"/>
                    </a:cubicBezTo>
                    <a:cubicBezTo>
                      <a:pt x="60008" y="305"/>
                      <a:pt x="40005" y="5353"/>
                      <a:pt x="29718" y="11735"/>
                    </a:cubicBezTo>
                    <a:cubicBezTo>
                      <a:pt x="19431" y="18212"/>
                      <a:pt x="0" y="36976"/>
                      <a:pt x="0" y="75553"/>
                    </a:cubicBezTo>
                    <a:cubicBezTo>
                      <a:pt x="0" y="114034"/>
                      <a:pt x="8573" y="128131"/>
                      <a:pt x="18860" y="137846"/>
                    </a:cubicBezTo>
                    <a:cubicBezTo>
                      <a:pt x="27337" y="145847"/>
                      <a:pt x="36957" y="151467"/>
                      <a:pt x="59341" y="154515"/>
                    </a:cubicBezTo>
                    <a:cubicBezTo>
                      <a:pt x="60198" y="155182"/>
                      <a:pt x="73343" y="155467"/>
                      <a:pt x="78772" y="155467"/>
                    </a:cubicBezTo>
                    <a:cubicBezTo>
                      <a:pt x="80486" y="155563"/>
                      <a:pt x="82296" y="155658"/>
                      <a:pt x="84106" y="155658"/>
                    </a:cubicBezTo>
                    <a:cubicBezTo>
                      <a:pt x="89535" y="155753"/>
                      <a:pt x="94107" y="155563"/>
                      <a:pt x="98203" y="155086"/>
                    </a:cubicBezTo>
                    <a:cubicBezTo>
                      <a:pt x="116396" y="154420"/>
                      <a:pt x="126302" y="156039"/>
                      <a:pt x="131445" y="154991"/>
                    </a:cubicBezTo>
                    <a:lnTo>
                      <a:pt x="168878" y="154991"/>
                    </a:lnTo>
                    <a:cubicBezTo>
                      <a:pt x="169640" y="154991"/>
                      <a:pt x="170307" y="154324"/>
                      <a:pt x="170307" y="153562"/>
                    </a:cubicBezTo>
                    <a:lnTo>
                      <a:pt x="170498" y="135084"/>
                    </a:lnTo>
                    <a:cubicBezTo>
                      <a:pt x="170402" y="135084"/>
                      <a:pt x="170688" y="134227"/>
                      <a:pt x="170212" y="133655"/>
                    </a:cubicBezTo>
                    <a:cubicBezTo>
                      <a:pt x="169736" y="132988"/>
                      <a:pt x="168783" y="133084"/>
                      <a:pt x="168783" y="133084"/>
                    </a:cubicBezTo>
                    <a:cubicBezTo>
                      <a:pt x="162401" y="132036"/>
                      <a:pt x="156020" y="130036"/>
                      <a:pt x="157163" y="124797"/>
                    </a:cubicBezTo>
                    <a:lnTo>
                      <a:pt x="166592" y="101080"/>
                    </a:lnTo>
                    <a:lnTo>
                      <a:pt x="214884" y="101080"/>
                    </a:lnTo>
                    <a:lnTo>
                      <a:pt x="224123" y="124797"/>
                    </a:lnTo>
                    <a:cubicBezTo>
                      <a:pt x="226409" y="128893"/>
                      <a:pt x="221933" y="132036"/>
                      <a:pt x="215551" y="133084"/>
                    </a:cubicBezTo>
                    <a:cubicBezTo>
                      <a:pt x="215551" y="133084"/>
                      <a:pt x="214503" y="133084"/>
                      <a:pt x="214122" y="133655"/>
                    </a:cubicBezTo>
                    <a:cubicBezTo>
                      <a:pt x="213646" y="134322"/>
                      <a:pt x="213836" y="135084"/>
                      <a:pt x="213836" y="135084"/>
                    </a:cubicBezTo>
                    <a:lnTo>
                      <a:pt x="213932" y="153562"/>
                    </a:lnTo>
                    <a:cubicBezTo>
                      <a:pt x="213932" y="154324"/>
                      <a:pt x="214598" y="154991"/>
                      <a:pt x="215360" y="154991"/>
                    </a:cubicBezTo>
                    <a:lnTo>
                      <a:pt x="281369" y="154991"/>
                    </a:lnTo>
                    <a:cubicBezTo>
                      <a:pt x="282131" y="154991"/>
                      <a:pt x="282797" y="154324"/>
                      <a:pt x="282797" y="153562"/>
                    </a:cubicBezTo>
                    <a:lnTo>
                      <a:pt x="282988" y="135084"/>
                    </a:lnTo>
                    <a:cubicBezTo>
                      <a:pt x="282512" y="135274"/>
                      <a:pt x="282702" y="134417"/>
                      <a:pt x="282321" y="133750"/>
                    </a:cubicBezTo>
                    <a:close/>
                    <a:moveTo>
                      <a:pt x="203930" y="75172"/>
                    </a:moveTo>
                    <a:cubicBezTo>
                      <a:pt x="203550" y="76124"/>
                      <a:pt x="201454" y="75743"/>
                      <a:pt x="201454" y="75743"/>
                    </a:cubicBezTo>
                    <a:lnTo>
                      <a:pt x="179356" y="75743"/>
                    </a:lnTo>
                    <a:cubicBezTo>
                      <a:pt x="179356" y="75743"/>
                      <a:pt x="177832" y="75934"/>
                      <a:pt x="177070" y="75362"/>
                    </a:cubicBezTo>
                    <a:cubicBezTo>
                      <a:pt x="176498" y="74981"/>
                      <a:pt x="177641" y="72886"/>
                      <a:pt x="177641" y="72886"/>
                    </a:cubicBezTo>
                    <a:lnTo>
                      <a:pt x="190595" y="38882"/>
                    </a:lnTo>
                    <a:lnTo>
                      <a:pt x="203168" y="71933"/>
                    </a:lnTo>
                    <a:cubicBezTo>
                      <a:pt x="203168" y="71838"/>
                      <a:pt x="204216" y="74315"/>
                      <a:pt x="203930" y="7517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grpSp>
      </p:grpSp>
      <p:sp>
        <p:nvSpPr>
          <p:cNvPr id="140" name="Rectangle 139">
            <a:extLst>
              <a:ext uri="{FF2B5EF4-FFF2-40B4-BE49-F238E27FC236}">
                <a16:creationId xmlns:a16="http://schemas.microsoft.com/office/drawing/2014/main" id="{A92DED2B-5170-9F4D-BCF9-AB76180CE33A}"/>
              </a:ext>
            </a:extLst>
          </p:cNvPr>
          <p:cNvSpPr/>
          <p:nvPr userDrawn="1"/>
        </p:nvSpPr>
        <p:spPr>
          <a:xfrm>
            <a:off x="0" y="6720840"/>
            <a:ext cx="12188952"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733282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with 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C549439-D781-F34B-8750-D701E93934C3}"/>
              </a:ext>
            </a:extLst>
          </p:cNvPr>
          <p:cNvSpPr>
            <a:spLocks noGrp="1"/>
          </p:cNvSpPr>
          <p:nvPr>
            <p:ph type="title"/>
          </p:nvPr>
        </p:nvSpPr>
        <p:spPr>
          <a:xfrm>
            <a:off x="381000" y="381000"/>
            <a:ext cx="11429999" cy="108424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51850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81000" y="685800"/>
            <a:ext cx="2709672" cy="2834640"/>
          </a:xfrm>
        </p:spPr>
        <p:txBody>
          <a:bodyPr anchor="b">
            <a:normAutofit/>
          </a:bodyPr>
          <a:lstStyle>
            <a:lvl1pPr>
              <a:defRPr sz="3200" b="1" i="0" baseline="0">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9092" y="685800"/>
            <a:ext cx="8003308" cy="52578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81000" y="3605048"/>
            <a:ext cx="2723772" cy="2338552"/>
          </a:xfrm>
        </p:spPr>
        <p:txBody>
          <a:bodyPr anchor="t">
            <a:normAutofit/>
          </a:bodyPr>
          <a:lstStyle>
            <a:lvl1pPr marL="0" indent="0">
              <a:lnSpc>
                <a:spcPct val="100000"/>
              </a:lnSpc>
              <a:buNone/>
              <a:defRPr sz="1400">
                <a:solidFill>
                  <a:schemeClr val="accent1">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2836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81000" y="685800"/>
            <a:ext cx="2709672" cy="2834640"/>
          </a:xfr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3" y="685801"/>
            <a:ext cx="8011757" cy="5257800"/>
          </a:xfrm>
          <a:solidFill>
            <a:schemeClr val="bg1">
              <a:lumMod val="75000"/>
            </a:schemeClr>
          </a:solidFill>
        </p:spPr>
        <p:txBody>
          <a:bodyPr anchor="ct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381000" y="3605048"/>
            <a:ext cx="2709672" cy="2338552"/>
          </a:xfrm>
        </p:spPr>
        <p:txBody>
          <a:bodyPr anchor="t">
            <a:normAutofit/>
          </a:bodyPr>
          <a:lstStyle>
            <a:lvl1pPr marL="0" indent="0">
              <a:lnSpc>
                <a:spcPct val="100000"/>
              </a:lnSpc>
              <a:buNone/>
              <a:defRPr sz="1400">
                <a:solidFill>
                  <a:schemeClr val="accent1">
                    <a:lumMod val="20000"/>
                    <a:lumOff val="8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8601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063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01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3456808" y="3888476"/>
            <a:ext cx="8232090" cy="1124958"/>
          </a:xfrm>
          <a:prstGeom prst="rect">
            <a:avLst/>
          </a:prstGeom>
        </p:spPr>
        <p:txBody>
          <a:bodyPr lIns="0" anchor="t">
            <a:normAutofit/>
          </a:bodyPr>
          <a:lstStyle>
            <a:lvl1pPr marL="0" indent="0" algn="l">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3456808" y="2530366"/>
            <a:ext cx="8232090" cy="1219551"/>
          </a:xfrm>
          <a:prstGeom prst="rect">
            <a:avLst/>
          </a:prstGeom>
        </p:spPr>
        <p:txBody>
          <a:bodyPr lIns="0"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CAUSE DOOR for PPT.png">
            <a:extLst>
              <a:ext uri="{FF2B5EF4-FFF2-40B4-BE49-F238E27FC236}">
                <a16:creationId xmlns:a16="http://schemas.microsoft.com/office/drawing/2014/main" id="{EB83C529-DC68-0E48-8845-131B7517B0C0}"/>
              </a:ext>
            </a:extLst>
          </p:cNvPr>
          <p:cNvPicPr>
            <a:picLocks noChangeAspect="1"/>
          </p:cNvPicPr>
          <p:nvPr userDrawn="1"/>
        </p:nvPicPr>
        <p:blipFill>
          <a:blip r:embed="rId2" cstate="print">
            <a:alphaModFix amt="72000"/>
            <a:extLst>
              <a:ext uri="{28A0092B-C50C-407E-A947-70E740481C1C}">
                <a14:useLocalDpi xmlns:a14="http://schemas.microsoft.com/office/drawing/2010/main"/>
              </a:ext>
            </a:extLst>
          </a:blip>
          <a:stretch>
            <a:fillRect/>
          </a:stretch>
        </p:blipFill>
        <p:spPr>
          <a:xfrm>
            <a:off x="-1513860" y="0"/>
            <a:ext cx="6437833" cy="7244374"/>
          </a:xfrm>
          <a:prstGeom prst="rect">
            <a:avLst/>
          </a:prstGeom>
        </p:spPr>
      </p:pic>
    </p:spTree>
    <p:extLst>
      <p:ext uri="{BB962C8B-B14F-4D97-AF65-F5344CB8AC3E}">
        <p14:creationId xmlns:p14="http://schemas.microsoft.com/office/powerpoint/2010/main" val="22294521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6F3FB-C1C5-447D-ABA5-9C9AB69D0849}"/>
              </a:ext>
            </a:extLst>
          </p:cNvPr>
          <p:cNvSpPr>
            <a:spLocks noGrp="1"/>
          </p:cNvSpPr>
          <p:nvPr>
            <p:ph type="title"/>
          </p:nvPr>
        </p:nvSpPr>
        <p:spPr>
          <a:xfrm>
            <a:off x="5867400" y="1524016"/>
            <a:ext cx="5943600" cy="2880712"/>
          </a:xfrm>
          <a:prstGeom prst="rect">
            <a:avLst/>
          </a:prstGeom>
        </p:spPr>
        <p:txBody>
          <a:bodyPr anchor="b">
            <a:normAutofit/>
          </a:bodyPr>
          <a:lstStyle>
            <a:lvl1pPr>
              <a:defRPr sz="5400" b="1" i="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B76E73D8-8A72-49BC-A454-F7A0C51B18DF}"/>
              </a:ext>
            </a:extLst>
          </p:cNvPr>
          <p:cNvCxnSpPr/>
          <p:nvPr/>
        </p:nvCxnSpPr>
        <p:spPr>
          <a:xfrm>
            <a:off x="5923155" y="4525323"/>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D39F3435-1C21-4998-8E85-FFEF4BE2EC50}"/>
              </a:ext>
            </a:extLst>
          </p:cNvPr>
          <p:cNvSpPr>
            <a:spLocks noGrp="1"/>
          </p:cNvSpPr>
          <p:nvPr>
            <p:ph type="pic" sz="quarter" idx="10"/>
          </p:nvPr>
        </p:nvSpPr>
        <p:spPr>
          <a:xfrm>
            <a:off x="0" y="-1"/>
            <a:ext cx="5402263" cy="5943593"/>
          </a:xfrm>
          <a:prstGeom prst="rect">
            <a:avLst/>
          </a:prstGeom>
        </p:spPr>
        <p:txBody>
          <a:bodyPr anchor="ctr"/>
          <a:lstStyle>
            <a:lvl1pPr marL="0" indent="0" algn="ctr">
              <a:buNone/>
              <a:defRPr/>
            </a:lvl1pPr>
          </a:lstStyle>
          <a:p>
            <a:r>
              <a:rPr lang="en-US"/>
              <a:t>Click icon to add picture</a:t>
            </a:r>
          </a:p>
        </p:txBody>
      </p:sp>
      <p:sp>
        <p:nvSpPr>
          <p:cNvPr id="12" name="Text Placeholder 11">
            <a:extLst>
              <a:ext uri="{FF2B5EF4-FFF2-40B4-BE49-F238E27FC236}">
                <a16:creationId xmlns:a16="http://schemas.microsoft.com/office/drawing/2014/main" id="{754DB52F-7FB3-4CB7-8A16-F1EE7DFCB9D7}"/>
              </a:ext>
            </a:extLst>
          </p:cNvPr>
          <p:cNvSpPr>
            <a:spLocks noGrp="1"/>
          </p:cNvSpPr>
          <p:nvPr>
            <p:ph type="body" sz="quarter" idx="11" hasCustomPrompt="1"/>
          </p:nvPr>
        </p:nvSpPr>
        <p:spPr>
          <a:xfrm>
            <a:off x="5867400" y="4759750"/>
            <a:ext cx="5943600" cy="955249"/>
          </a:xfrm>
          <a:prstGeom prst="rect">
            <a:avLst/>
          </a:prstGeom>
        </p:spPr>
        <p:txBody>
          <a:bodyPr>
            <a:noAutofit/>
          </a:bodyPr>
          <a:lstStyle>
            <a:lvl1pPr marL="0" indent="0">
              <a:buNone/>
              <a:defRPr sz="1400" b="1">
                <a:solidFill>
                  <a:srgbClr val="9F9F9F"/>
                </a:solidFill>
                <a:latin typeface="Arial" panose="020B0604020202020204" pitchFamily="34" charset="0"/>
                <a:cs typeface="Arial" panose="020B0604020202020204" pitchFamily="34" charset="0"/>
              </a:defRPr>
            </a:lvl1pPr>
          </a:lstStyle>
          <a:p>
            <a:pPr lvl="0"/>
            <a:r>
              <a:rPr lang="en-US"/>
              <a:t>BOYS &amp; GIRLS CLUBS OF AMERICA AND [PARTNER]</a:t>
            </a:r>
          </a:p>
        </p:txBody>
      </p:sp>
    </p:spTree>
    <p:extLst>
      <p:ext uri="{BB962C8B-B14F-4D97-AF65-F5344CB8AC3E}">
        <p14:creationId xmlns:p14="http://schemas.microsoft.com/office/powerpoint/2010/main" val="112317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BBB73-AFE0-664E-BC6B-D157828F3210}"/>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CCFDC63-1A22-4944-812C-2BFAF2A6FD3E}"/>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156A02-AF2A-9348-BC33-3D4C404C0F85}"/>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Tree>
    <p:extLst>
      <p:ext uri="{BB962C8B-B14F-4D97-AF65-F5344CB8AC3E}">
        <p14:creationId xmlns:p14="http://schemas.microsoft.com/office/powerpoint/2010/main" val="336940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377DAD3-3C26-41FB-8C76-602A1DF3D3D7}"/>
              </a:ext>
            </a:extLst>
          </p:cNvPr>
          <p:cNvSpPr>
            <a:spLocks noGrp="1"/>
          </p:cNvSpPr>
          <p:nvPr>
            <p:ph idx="1"/>
          </p:nvPr>
        </p:nvSpPr>
        <p:spPr>
          <a:xfrm>
            <a:off x="381000" y="1828800"/>
            <a:ext cx="11430000" cy="3886201"/>
          </a:xfrm>
          <a:prstGeom prst="rect">
            <a:avLst/>
          </a:prstGeo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5101050C-0E32-564F-8FEB-5F00ACAC5396}"/>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7B9A5C27-65CB-1B43-BB3B-4B6CCADD5EFC}"/>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1" name="Straight Connector 10">
            <a:extLst>
              <a:ext uri="{FF2B5EF4-FFF2-40B4-BE49-F238E27FC236}">
                <a16:creationId xmlns:a16="http://schemas.microsoft.com/office/drawing/2014/main" id="{11520688-497E-D549-8EDC-3EFAC9BF302F}"/>
              </a:ext>
            </a:extLst>
          </p:cNvPr>
          <p:cNvCxnSpPr>
            <a:cxnSpLocks/>
          </p:cNvCxnSpPr>
          <p:nvPr userDrawn="1"/>
        </p:nvCxnSpPr>
        <p:spPr>
          <a:xfrm>
            <a:off x="445652"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578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 No Lin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377DAD3-3C26-41FB-8C76-602A1DF3D3D7}"/>
              </a:ext>
            </a:extLst>
          </p:cNvPr>
          <p:cNvSpPr>
            <a:spLocks noGrp="1"/>
          </p:cNvSpPr>
          <p:nvPr>
            <p:ph idx="1"/>
          </p:nvPr>
        </p:nvSpPr>
        <p:spPr>
          <a:xfrm>
            <a:off x="381000" y="1828801"/>
            <a:ext cx="11430000" cy="3886200"/>
          </a:xfrm>
          <a:prstGeom prst="rect">
            <a:avLst/>
          </a:prstGeo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F2D3DB79-CEAC-0A4B-83E0-37A6C21369FF}"/>
              </a:ext>
            </a:extLst>
          </p:cNvPr>
          <p:cNvSpPr>
            <a:spLocks noGrp="1"/>
          </p:cNvSpPr>
          <p:nvPr>
            <p:ph type="title"/>
          </p:nvPr>
        </p:nvSpPr>
        <p:spPr/>
        <p:txBody>
          <a:bodyPr tIns="91440" anchor="t"/>
          <a:lstStyle/>
          <a:p>
            <a:r>
              <a:rPr lang="en-US"/>
              <a:t>Click to edit Master title style</a:t>
            </a:r>
          </a:p>
        </p:txBody>
      </p:sp>
      <p:sp>
        <p:nvSpPr>
          <p:cNvPr id="8" name="Text Placeholder 2">
            <a:extLst>
              <a:ext uri="{FF2B5EF4-FFF2-40B4-BE49-F238E27FC236}">
                <a16:creationId xmlns:a16="http://schemas.microsoft.com/office/drawing/2014/main" id="{626FC926-5E23-D345-BDB8-932E4020A28E}"/>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Tree>
    <p:extLst>
      <p:ext uri="{BB962C8B-B14F-4D97-AF65-F5344CB8AC3E}">
        <p14:creationId xmlns:p14="http://schemas.microsoft.com/office/powerpoint/2010/main" val="636895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3" y="1828801"/>
            <a:ext cx="5486397" cy="3886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3" name="Straight Connector 12">
            <a:extLst>
              <a:ext uri="{FF2B5EF4-FFF2-40B4-BE49-F238E27FC236}">
                <a16:creationId xmlns:a16="http://schemas.microsoft.com/office/drawing/2014/main" id="{74CA209F-B9AC-DA40-8C43-FEF5411B48BF}"/>
              </a:ext>
            </a:extLst>
          </p:cNvPr>
          <p:cNvCxnSpPr>
            <a:cxnSpLocks/>
          </p:cNvCxnSpPr>
          <p:nvPr userDrawn="1"/>
        </p:nvCxnSpPr>
        <p:spPr>
          <a:xfrm>
            <a:off x="445652"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7F2517DD-E122-1A43-9D1E-4903AAD302FC}"/>
              </a:ext>
            </a:extLst>
          </p:cNvPr>
          <p:cNvSpPr>
            <a:spLocks noGrp="1"/>
          </p:cNvSpPr>
          <p:nvPr>
            <p:ph sz="quarter" idx="10"/>
          </p:nvPr>
        </p:nvSpPr>
        <p:spPr>
          <a:xfrm>
            <a:off x="381000" y="1828800"/>
            <a:ext cx="5486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78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ntent - No Lin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3" y="1828801"/>
            <a:ext cx="5486397" cy="3886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tIns="91440" anchor="t"/>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
        <p:nvSpPr>
          <p:cNvPr id="6" name="Content Placeholder 5">
            <a:extLst>
              <a:ext uri="{FF2B5EF4-FFF2-40B4-BE49-F238E27FC236}">
                <a16:creationId xmlns:a16="http://schemas.microsoft.com/office/drawing/2014/main" id="{DD8C4243-E78F-4546-A5C8-1340185A4495}"/>
              </a:ext>
            </a:extLst>
          </p:cNvPr>
          <p:cNvSpPr>
            <a:spLocks noGrp="1"/>
          </p:cNvSpPr>
          <p:nvPr>
            <p:ph sz="quarter" idx="10"/>
          </p:nvPr>
        </p:nvSpPr>
        <p:spPr>
          <a:xfrm>
            <a:off x="381000" y="1828800"/>
            <a:ext cx="5486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15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 Compa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381000" y="2564779"/>
            <a:ext cx="5486399" cy="3150221"/>
          </a:xfrm>
          <a:prstGeom prst="rect">
            <a:avLst/>
          </a:prstGeom>
        </p:spPr>
        <p:txBody>
          <a:bodyPr/>
          <a:lstStyle>
            <a:lvl1pPr marL="342900" marR="0" indent="-342900" algn="l" defTabSz="914400" rtl="0" eaLnBrk="1" fontAlgn="auto" latinLnBrk="0" hangingPunct="1">
              <a:lnSpc>
                <a:spcPct val="90000"/>
              </a:lnSpc>
              <a:spcBef>
                <a:spcPts val="0"/>
              </a:spcBef>
              <a:spcAft>
                <a:spcPts val="600"/>
              </a:spcAft>
              <a:buClr>
                <a:srgbClr val="009DDC"/>
              </a:buClr>
              <a:buSzTx/>
              <a:buFont typeface="Arial" panose="020B0604020202020204" pitchFamily="34" charset="0"/>
              <a:buChar char="•"/>
              <a:tabLst/>
              <a:defRPr sz="2400"/>
            </a:lvl1pPr>
            <a:lvl2pPr marL="685800" marR="0" indent="-228600" algn="l" defTabSz="914400" rtl="0" eaLnBrk="1" fontAlgn="auto" latinLnBrk="0" hangingPunct="1">
              <a:lnSpc>
                <a:spcPct val="90000"/>
              </a:lnSpc>
              <a:spcBef>
                <a:spcPts val="0"/>
              </a:spcBef>
              <a:spcAft>
                <a:spcPts val="600"/>
              </a:spcAft>
              <a:buClr>
                <a:srgbClr val="009DDC"/>
              </a:buClr>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0"/>
              </a:spcBef>
              <a:spcAft>
                <a:spcPts val="600"/>
              </a:spcAft>
              <a:buClr>
                <a:srgbClr val="009DDC"/>
              </a:buClr>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0"/>
              </a:spcBef>
              <a:spcAft>
                <a:spcPts val="600"/>
              </a:spcAft>
              <a:buClr>
                <a:srgbClr val="009DDC"/>
              </a:buClr>
              <a:buSzTx/>
              <a:buFont typeface="Arial" panose="020B0604020202020204" pitchFamily="34" charset="0"/>
              <a:buChar char="•"/>
              <a:tabLst/>
              <a:defRPr/>
            </a:lvl4pPr>
            <a:lvl5pPr marL="2171700" indent="-342900">
              <a:spcBef>
                <a:spcPts val="0"/>
              </a:spcBef>
              <a:spcAft>
                <a:spcPts val="600"/>
              </a:spcAft>
              <a:buClr>
                <a:srgbClr val="009DD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3" y="2564779"/>
            <a:ext cx="5486397" cy="3150221"/>
          </a:xfrm>
          <a:prstGeom prst="rect">
            <a:avLst/>
          </a:prstGeom>
        </p:spPr>
        <p:txBody>
          <a:bodyPr/>
          <a:lstStyle>
            <a:lvl1pPr marL="457200" indent="-457200">
              <a:spcAft>
                <a:spcPts val="600"/>
              </a:spcAft>
              <a:buClr>
                <a:srgbClr val="009DDC"/>
              </a:buClr>
              <a:buFont typeface="Arial" panose="020B0604020202020204" pitchFamily="34" charset="0"/>
              <a:buChar char="•"/>
              <a:defRPr/>
            </a:lvl1pPr>
            <a:lvl2pPr marL="914400" indent="-457200">
              <a:spcAft>
                <a:spcPts val="600"/>
              </a:spcAft>
              <a:buClr>
                <a:srgbClr val="009DDC"/>
              </a:buClr>
              <a:buFont typeface="Arial" panose="020B0604020202020204" pitchFamily="34" charset="0"/>
              <a:buChar char="•"/>
              <a:defRPr/>
            </a:lvl2pPr>
            <a:lvl3pPr marL="1257300" indent="-342900">
              <a:spcAft>
                <a:spcPts val="600"/>
              </a:spcAft>
              <a:buClr>
                <a:srgbClr val="009DDC"/>
              </a:buClr>
              <a:buFont typeface="Arial" panose="020B0604020202020204" pitchFamily="34" charset="0"/>
              <a:buChar char="•"/>
              <a:defRPr/>
            </a:lvl3pPr>
            <a:lvl4pPr marL="1714500" indent="-342900">
              <a:spcAft>
                <a:spcPts val="600"/>
              </a:spcAft>
              <a:buClr>
                <a:srgbClr val="009DDC"/>
              </a:buClr>
              <a:buFont typeface="Arial" panose="020B0604020202020204" pitchFamily="34" charset="0"/>
              <a:buChar char="•"/>
              <a:defRPr/>
            </a:lvl4pPr>
            <a:lvl5pPr marL="2171700" indent="-342900">
              <a:spcAft>
                <a:spcPts val="600"/>
              </a:spcAft>
              <a:buClr>
                <a:srgbClr val="009DD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3" name="Straight Connector 12">
            <a:extLst>
              <a:ext uri="{FF2B5EF4-FFF2-40B4-BE49-F238E27FC236}">
                <a16:creationId xmlns:a16="http://schemas.microsoft.com/office/drawing/2014/main" id="{74CA209F-B9AC-DA40-8C43-FEF5411B48BF}"/>
              </a:ext>
            </a:extLst>
          </p:cNvPr>
          <p:cNvCxnSpPr>
            <a:cxnSpLocks/>
          </p:cNvCxnSpPr>
          <p:nvPr userDrawn="1"/>
        </p:nvCxnSpPr>
        <p:spPr>
          <a:xfrm>
            <a:off x="445652"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99E43BE2-9F07-674F-BA4E-8DB131D47FEF}"/>
              </a:ext>
            </a:extLst>
          </p:cNvPr>
          <p:cNvSpPr>
            <a:spLocks noGrp="1"/>
          </p:cNvSpPr>
          <p:nvPr>
            <p:ph type="body" sz="quarter" idx="12"/>
          </p:nvPr>
        </p:nvSpPr>
        <p:spPr>
          <a:xfrm>
            <a:off x="381000" y="1828183"/>
            <a:ext cx="5486400" cy="635618"/>
          </a:xfrm>
        </p:spPr>
        <p:txBody>
          <a:bodyPr anchor="b"/>
          <a:lstStyle>
            <a:lvl1pPr marL="0" indent="0">
              <a:buNone/>
              <a:defRPr b="1">
                <a:solidFill>
                  <a:srgbClr val="009DDC"/>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11" name="Text Placeholder 5">
            <a:extLst>
              <a:ext uri="{FF2B5EF4-FFF2-40B4-BE49-F238E27FC236}">
                <a16:creationId xmlns:a16="http://schemas.microsoft.com/office/drawing/2014/main" id="{345EF32B-3255-D948-904C-91C807E4E418}"/>
              </a:ext>
            </a:extLst>
          </p:cNvPr>
          <p:cNvSpPr>
            <a:spLocks noGrp="1"/>
          </p:cNvSpPr>
          <p:nvPr>
            <p:ph type="body" sz="quarter" idx="13"/>
          </p:nvPr>
        </p:nvSpPr>
        <p:spPr>
          <a:xfrm>
            <a:off x="6324602" y="1828183"/>
            <a:ext cx="5486400" cy="635618"/>
          </a:xfrm>
        </p:spPr>
        <p:txBody>
          <a:bodyPr anchor="b"/>
          <a:lstStyle>
            <a:lvl1pPr marL="0" indent="0">
              <a:buNone/>
              <a:defRPr b="1">
                <a:solidFill>
                  <a:srgbClr val="009DDC"/>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Tree>
    <p:extLst>
      <p:ext uri="{BB962C8B-B14F-4D97-AF65-F5344CB8AC3E}">
        <p14:creationId xmlns:p14="http://schemas.microsoft.com/office/powerpoint/2010/main" val="1103409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ntent Only">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C0996F7-7777-2543-888F-28DFAEE5C3FA}"/>
              </a:ext>
            </a:extLst>
          </p:cNvPr>
          <p:cNvSpPr>
            <a:spLocks noGrp="1"/>
          </p:cNvSpPr>
          <p:nvPr>
            <p:ph sz="quarter" idx="10"/>
          </p:nvPr>
        </p:nvSpPr>
        <p:spPr>
          <a:xfrm>
            <a:off x="3810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8551022F-9F66-4245-B91B-0B52A374ADBF}"/>
              </a:ext>
            </a:extLst>
          </p:cNvPr>
          <p:cNvSpPr>
            <a:spLocks noGrp="1"/>
          </p:cNvSpPr>
          <p:nvPr>
            <p:ph sz="quarter" idx="11"/>
          </p:nvPr>
        </p:nvSpPr>
        <p:spPr>
          <a:xfrm>
            <a:off x="42672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8">
            <a:extLst>
              <a:ext uri="{FF2B5EF4-FFF2-40B4-BE49-F238E27FC236}">
                <a16:creationId xmlns:a16="http://schemas.microsoft.com/office/drawing/2014/main" id="{5F5131D7-B12B-4F4B-9DE0-01650C8DEB4A}"/>
              </a:ext>
            </a:extLst>
          </p:cNvPr>
          <p:cNvSpPr>
            <a:spLocks noGrp="1"/>
          </p:cNvSpPr>
          <p:nvPr>
            <p:ph sz="quarter" idx="12"/>
          </p:nvPr>
        </p:nvSpPr>
        <p:spPr>
          <a:xfrm>
            <a:off x="81534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817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8">
          <p15:clr>
            <a:srgbClr val="FBAE40"/>
          </p15:clr>
        </p15:guide>
        <p15:guide id="2" pos="2544">
          <p15:clr>
            <a:srgbClr val="FBAE40"/>
          </p15:clr>
        </p15:guide>
        <p15:guide id="3" pos="4992">
          <p15:clr>
            <a:srgbClr val="FBAE40"/>
          </p15:clr>
        </p15:guide>
        <p15:guide id="4" pos="513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82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ank -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0E903F-7A34-4041-9E4B-E79423094970}"/>
              </a:ext>
            </a:extLst>
          </p:cNvPr>
          <p:cNvSpPr>
            <a:spLocks noGrp="1"/>
          </p:cNvSpPr>
          <p:nvPr>
            <p:ph type="title"/>
          </p:nvPr>
        </p:nvSpPr>
        <p:spPr/>
        <p:txBody>
          <a:bodyPr tIns="91440" anchor="t"/>
          <a:lstStyle/>
          <a:p>
            <a:r>
              <a:rPr lang="en-US"/>
              <a:t>Click to edit Master title style</a:t>
            </a:r>
          </a:p>
        </p:txBody>
      </p:sp>
      <p:sp>
        <p:nvSpPr>
          <p:cNvPr id="7" name="Text Placeholder 2">
            <a:extLst>
              <a:ext uri="{FF2B5EF4-FFF2-40B4-BE49-F238E27FC236}">
                <a16:creationId xmlns:a16="http://schemas.microsoft.com/office/drawing/2014/main" id="{0F0004B8-1EC7-7F49-B74B-6F4739C635F0}"/>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Tree>
    <p:extLst>
      <p:ext uri="{BB962C8B-B14F-4D97-AF65-F5344CB8AC3E}">
        <p14:creationId xmlns:p14="http://schemas.microsoft.com/office/powerpoint/2010/main" val="180607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 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51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Footer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3B5B9A-3CAA-C74B-A70E-A03755CF2C81}"/>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66248B3-323C-204C-BC99-6455E90F20E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3" name="Straight Connector 12">
            <a:extLst>
              <a:ext uri="{FF2B5EF4-FFF2-40B4-BE49-F238E27FC236}">
                <a16:creationId xmlns:a16="http://schemas.microsoft.com/office/drawing/2014/main" id="{458445D0-8BD7-9543-A0AC-119E5F350621}"/>
              </a:ext>
            </a:extLst>
          </p:cNvPr>
          <p:cNvCxnSpPr>
            <a:cxnSpLocks/>
          </p:cNvCxnSpPr>
          <p:nvPr userDrawn="1"/>
        </p:nvCxnSpPr>
        <p:spPr>
          <a:xfrm>
            <a:off x="445652"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AD68F-322B-E84A-AB37-9BA62FC38CBC}"/>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355E606-1BBA-4647-A8BE-39B41E753E98}"/>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F6000861-637D-EE47-ACE5-EB0B5476562D}"/>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Tree>
    <p:extLst>
      <p:ext uri="{BB962C8B-B14F-4D97-AF65-F5344CB8AC3E}">
        <p14:creationId xmlns:p14="http://schemas.microsoft.com/office/powerpoint/2010/main" val="983356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Footer Only - No Lin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0E903F-7A34-4041-9E4B-E79423094970}"/>
              </a:ext>
            </a:extLst>
          </p:cNvPr>
          <p:cNvSpPr>
            <a:spLocks noGrp="1"/>
          </p:cNvSpPr>
          <p:nvPr>
            <p:ph type="title"/>
          </p:nvPr>
        </p:nvSpPr>
        <p:spPr/>
        <p:txBody>
          <a:bodyPr tIns="91440" anchor="t"/>
          <a:lstStyle/>
          <a:p>
            <a:r>
              <a:rPr lang="en-US"/>
              <a:t>Click to edit Master title style</a:t>
            </a:r>
          </a:p>
        </p:txBody>
      </p:sp>
      <p:sp>
        <p:nvSpPr>
          <p:cNvPr id="7" name="Text Placeholder 2">
            <a:extLst>
              <a:ext uri="{FF2B5EF4-FFF2-40B4-BE49-F238E27FC236}">
                <a16:creationId xmlns:a16="http://schemas.microsoft.com/office/drawing/2014/main" id="{0F0004B8-1EC7-7F49-B74B-6F4739C635F0}"/>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Tree>
    <p:extLst>
      <p:ext uri="{BB962C8B-B14F-4D97-AF65-F5344CB8AC3E}">
        <p14:creationId xmlns:p14="http://schemas.microsoft.com/office/powerpoint/2010/main" val="10031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eft Side Content Only">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D802CAD-3E6B-47C8-8653-5FFEA4A51DEC}"/>
              </a:ext>
            </a:extLst>
          </p:cNvPr>
          <p:cNvSpPr>
            <a:spLocks noGrp="1"/>
          </p:cNvSpPr>
          <p:nvPr>
            <p:ph type="pic" sz="quarter" idx="11"/>
          </p:nvPr>
        </p:nvSpPr>
        <p:spPr>
          <a:xfrm>
            <a:off x="6646126" y="0"/>
            <a:ext cx="5545873" cy="5943600"/>
          </a:xfrm>
          <a:prstGeom prst="rect">
            <a:avLst/>
          </a:prstGeom>
        </p:spPr>
        <p:txBody>
          <a:bodyPr anchor="ctr"/>
          <a:lstStyle>
            <a:lvl1pPr marL="0" indent="0" algn="ctr">
              <a:buNone/>
              <a:defRPr/>
            </a:lvl1pPr>
          </a:lstStyle>
          <a:p>
            <a:r>
              <a:rPr lang="en-US"/>
              <a:t>Click icon to add picture</a:t>
            </a:r>
          </a:p>
        </p:txBody>
      </p:sp>
      <p:sp>
        <p:nvSpPr>
          <p:cNvPr id="3" name="Title 2">
            <a:extLst>
              <a:ext uri="{FF2B5EF4-FFF2-40B4-BE49-F238E27FC236}">
                <a16:creationId xmlns:a16="http://schemas.microsoft.com/office/drawing/2014/main" id="{4FDF02DC-48A7-9341-83EA-32115C659100}"/>
              </a:ext>
            </a:extLst>
          </p:cNvPr>
          <p:cNvSpPr>
            <a:spLocks noGrp="1"/>
          </p:cNvSpPr>
          <p:nvPr>
            <p:ph type="title"/>
          </p:nvPr>
        </p:nvSpPr>
        <p:spPr>
          <a:xfrm>
            <a:off x="381000" y="532302"/>
            <a:ext cx="5486400" cy="991698"/>
          </a:xfrm>
        </p:spPr>
        <p:txBody>
          <a:bodyPr tIns="182880"/>
          <a:lstStyle/>
          <a:p>
            <a:r>
              <a:rPr lang="en-US"/>
              <a:t>Click to edit Master title style</a:t>
            </a:r>
          </a:p>
        </p:txBody>
      </p:sp>
      <p:sp>
        <p:nvSpPr>
          <p:cNvPr id="10" name="Text Placeholder 2">
            <a:extLst>
              <a:ext uri="{FF2B5EF4-FFF2-40B4-BE49-F238E27FC236}">
                <a16:creationId xmlns:a16="http://schemas.microsoft.com/office/drawing/2014/main" id="{DBF48651-229C-FA40-9D3F-56220D035821}"/>
              </a:ext>
            </a:extLst>
          </p:cNvPr>
          <p:cNvSpPr txBox="1">
            <a:spLocks/>
          </p:cNvSpPr>
          <p:nvPr userDrawn="1"/>
        </p:nvSpPr>
        <p:spPr>
          <a:xfrm>
            <a:off x="381001" y="393386"/>
            <a:ext cx="54864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1" name="Straight Connector 10">
            <a:extLst>
              <a:ext uri="{FF2B5EF4-FFF2-40B4-BE49-F238E27FC236}">
                <a16:creationId xmlns:a16="http://schemas.microsoft.com/office/drawing/2014/main" id="{98555469-AEB0-724E-BCC4-723E5F14382C}"/>
              </a:ext>
            </a:extLst>
          </p:cNvPr>
          <p:cNvCxnSpPr>
            <a:cxnSpLocks/>
          </p:cNvCxnSpPr>
          <p:nvPr userDrawn="1"/>
        </p:nvCxnSpPr>
        <p:spPr>
          <a:xfrm>
            <a:off x="445652" y="1657814"/>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8F0A40A0-FEAF-1B49-A50E-EC69AAC261B7}"/>
              </a:ext>
            </a:extLst>
          </p:cNvPr>
          <p:cNvSpPr>
            <a:spLocks noGrp="1"/>
          </p:cNvSpPr>
          <p:nvPr>
            <p:ph sz="quarter" idx="12"/>
          </p:nvPr>
        </p:nvSpPr>
        <p:spPr>
          <a:xfrm>
            <a:off x="381000" y="1828801"/>
            <a:ext cx="5486400" cy="388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772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eft Side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DF02DC-48A7-9341-83EA-32115C659100}"/>
              </a:ext>
            </a:extLst>
          </p:cNvPr>
          <p:cNvSpPr>
            <a:spLocks noGrp="1"/>
          </p:cNvSpPr>
          <p:nvPr>
            <p:ph type="title"/>
          </p:nvPr>
        </p:nvSpPr>
        <p:spPr>
          <a:xfrm>
            <a:off x="381000" y="624468"/>
            <a:ext cx="5486400" cy="2804532"/>
          </a:xfrm>
        </p:spPr>
        <p:txBody>
          <a:bodyPr tIns="91440" anchor="t"/>
          <a:lstStyle/>
          <a:p>
            <a:r>
              <a:rPr lang="en-US"/>
              <a:t>Click to edit Master title style</a:t>
            </a:r>
          </a:p>
        </p:txBody>
      </p:sp>
      <p:sp>
        <p:nvSpPr>
          <p:cNvPr id="10" name="Text Placeholder 2">
            <a:extLst>
              <a:ext uri="{FF2B5EF4-FFF2-40B4-BE49-F238E27FC236}">
                <a16:creationId xmlns:a16="http://schemas.microsoft.com/office/drawing/2014/main" id="{DBF48651-229C-FA40-9D3F-56220D035821}"/>
              </a:ext>
            </a:extLst>
          </p:cNvPr>
          <p:cNvSpPr txBox="1">
            <a:spLocks/>
          </p:cNvSpPr>
          <p:nvPr userDrawn="1"/>
        </p:nvSpPr>
        <p:spPr>
          <a:xfrm>
            <a:off x="381001" y="393386"/>
            <a:ext cx="54864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Tree>
    <p:extLst>
      <p:ext uri="{BB962C8B-B14F-4D97-AF65-F5344CB8AC3E}">
        <p14:creationId xmlns:p14="http://schemas.microsoft.com/office/powerpoint/2010/main" val="276759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Right Side Content Onl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6324600" y="1828800"/>
            <a:ext cx="5486400" cy="388619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2">
            <a:extLst>
              <a:ext uri="{FF2B5EF4-FFF2-40B4-BE49-F238E27FC236}">
                <a16:creationId xmlns:a16="http://schemas.microsoft.com/office/drawing/2014/main" id="{F830454F-E51E-49B9-9116-0727B40F16F2}"/>
              </a:ext>
            </a:extLst>
          </p:cNvPr>
          <p:cNvSpPr>
            <a:spLocks noGrp="1"/>
          </p:cNvSpPr>
          <p:nvPr>
            <p:ph type="pic" sz="quarter" idx="11"/>
          </p:nvPr>
        </p:nvSpPr>
        <p:spPr>
          <a:xfrm>
            <a:off x="-1" y="-1"/>
            <a:ext cx="5867401" cy="5923275"/>
          </a:xfrm>
          <a:prstGeom prst="rect">
            <a:avLst/>
          </a:prstGeom>
        </p:spPr>
        <p:txBody>
          <a:bodyPr anchor="ct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B528180D-BD56-E34E-B6ED-BBB0663E738D}"/>
              </a:ext>
            </a:extLst>
          </p:cNvPr>
          <p:cNvSpPr>
            <a:spLocks noGrp="1"/>
          </p:cNvSpPr>
          <p:nvPr>
            <p:ph type="title"/>
          </p:nvPr>
        </p:nvSpPr>
        <p:spPr>
          <a:xfrm>
            <a:off x="6324598" y="532302"/>
            <a:ext cx="5486401" cy="991698"/>
          </a:xfrm>
        </p:spPr>
        <p:txBody>
          <a:bodyPr tIns="91440"/>
          <a:lstStyle/>
          <a:p>
            <a:r>
              <a:rPr lang="en-US"/>
              <a:t>Click to edit Master title style</a:t>
            </a:r>
          </a:p>
        </p:txBody>
      </p:sp>
      <p:sp>
        <p:nvSpPr>
          <p:cNvPr id="12" name="Text Placeholder 2">
            <a:extLst>
              <a:ext uri="{FF2B5EF4-FFF2-40B4-BE49-F238E27FC236}">
                <a16:creationId xmlns:a16="http://schemas.microsoft.com/office/drawing/2014/main" id="{DB0D7BCC-CBB1-C740-8F44-6A3C4C626B38}"/>
              </a:ext>
            </a:extLst>
          </p:cNvPr>
          <p:cNvSpPr txBox="1">
            <a:spLocks/>
          </p:cNvSpPr>
          <p:nvPr userDrawn="1"/>
        </p:nvSpPr>
        <p:spPr>
          <a:xfrm>
            <a:off x="6324600" y="393386"/>
            <a:ext cx="5486399"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cxnSp>
        <p:nvCxnSpPr>
          <p:cNvPr id="13" name="Straight Connector 12">
            <a:extLst>
              <a:ext uri="{FF2B5EF4-FFF2-40B4-BE49-F238E27FC236}">
                <a16:creationId xmlns:a16="http://schemas.microsoft.com/office/drawing/2014/main" id="{AF917942-1DE3-BA46-BBAC-E1AB2DCE4C49}"/>
              </a:ext>
            </a:extLst>
          </p:cNvPr>
          <p:cNvCxnSpPr>
            <a:cxnSpLocks/>
          </p:cNvCxnSpPr>
          <p:nvPr userDrawn="1"/>
        </p:nvCxnSpPr>
        <p:spPr>
          <a:xfrm>
            <a:off x="6389252" y="1602059"/>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7047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1" y="6018754"/>
            <a:ext cx="1353327" cy="743771"/>
          </a:xfrm>
          <a:prstGeom prst="rect">
            <a:avLst/>
          </a:prstGeom>
        </p:spPr>
      </p:pic>
      <p:sp>
        <p:nvSpPr>
          <p:cNvPr id="5" name="Picture Placeholder 4">
            <a:extLst>
              <a:ext uri="{FF2B5EF4-FFF2-40B4-BE49-F238E27FC236}">
                <a16:creationId xmlns:a16="http://schemas.microsoft.com/office/drawing/2014/main" id="{D39F3435-1C21-4998-8E85-FFEF4BE2EC50}"/>
              </a:ext>
            </a:extLst>
          </p:cNvPr>
          <p:cNvSpPr>
            <a:spLocks noGrp="1"/>
          </p:cNvSpPr>
          <p:nvPr>
            <p:ph type="pic" sz="quarter" idx="10"/>
          </p:nvPr>
        </p:nvSpPr>
        <p:spPr>
          <a:xfrm>
            <a:off x="0" y="0"/>
            <a:ext cx="5402263" cy="5931395"/>
          </a:xfrm>
          <a:prstGeom prst="rect">
            <a:avLst/>
          </a:prstGeom>
        </p:spPr>
        <p:txBody>
          <a:bodyPr anchor="ctr"/>
          <a:lstStyle>
            <a:lvl1pPr marL="0" indent="0" algn="ctr">
              <a:buNone/>
              <a:defRPr/>
            </a:lvl1pPr>
          </a:lstStyle>
          <a:p>
            <a:r>
              <a:rPr lang="en-US"/>
              <a:t>Click icon to add picture</a:t>
            </a:r>
          </a:p>
        </p:txBody>
      </p:sp>
      <p:sp>
        <p:nvSpPr>
          <p:cNvPr id="13" name="Rectangle 12">
            <a:extLst>
              <a:ext uri="{FF2B5EF4-FFF2-40B4-BE49-F238E27FC236}">
                <a16:creationId xmlns:a16="http://schemas.microsoft.com/office/drawing/2014/main" id="{FE2DC956-3414-4FD3-8366-E1D33BDBB69B}"/>
              </a:ext>
            </a:extLst>
          </p:cNvPr>
          <p:cNvSpPr/>
          <p:nvPr/>
        </p:nvSpPr>
        <p:spPr>
          <a:xfrm>
            <a:off x="0" y="5931397"/>
            <a:ext cx="12192000" cy="9347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14" name="Picture 13">
            <a:extLst>
              <a:ext uri="{FF2B5EF4-FFF2-40B4-BE49-F238E27FC236}">
                <a16:creationId xmlns:a16="http://schemas.microsoft.com/office/drawing/2014/main" id="{8D11F645-D4BE-4CCA-838B-693165B665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1" y="6026871"/>
            <a:ext cx="1353327" cy="743771"/>
          </a:xfrm>
          <a:prstGeom prst="rect">
            <a:avLst/>
          </a:prstGeom>
        </p:spPr>
      </p:pic>
      <p:sp>
        <p:nvSpPr>
          <p:cNvPr id="4" name="Text Placeholder 3">
            <a:extLst>
              <a:ext uri="{FF2B5EF4-FFF2-40B4-BE49-F238E27FC236}">
                <a16:creationId xmlns:a16="http://schemas.microsoft.com/office/drawing/2014/main" id="{1D8E8A7F-7297-4DB2-BA63-CE01697D1CDC}"/>
              </a:ext>
            </a:extLst>
          </p:cNvPr>
          <p:cNvSpPr>
            <a:spLocks noGrp="1"/>
          </p:cNvSpPr>
          <p:nvPr>
            <p:ph type="body" sz="quarter" idx="12" hasCustomPrompt="1"/>
          </p:nvPr>
        </p:nvSpPr>
        <p:spPr>
          <a:xfrm>
            <a:off x="5867399" y="3632200"/>
            <a:ext cx="5943600" cy="2082796"/>
          </a:xfrm>
          <a:prstGeom prst="rect">
            <a:avLst/>
          </a:prstGeom>
        </p:spPr>
        <p:txBody>
          <a:bodyPr/>
          <a:lstStyle>
            <a:lvl1pPr marL="0" indent="0">
              <a:buNone/>
              <a:defRPr/>
            </a:lvl1pPr>
            <a:lvl5pPr>
              <a:defRPr/>
            </a:lvl5pPr>
          </a:lstStyle>
          <a:p>
            <a:pPr lvl="0"/>
            <a:r>
              <a:rPr lang="en-US"/>
              <a:t>[Name]</a:t>
            </a:r>
          </a:p>
          <a:p>
            <a:pPr lvl="0"/>
            <a:r>
              <a:rPr lang="en-US"/>
              <a:t>[Title]</a:t>
            </a:r>
          </a:p>
          <a:p>
            <a:pPr lvl="0"/>
            <a:r>
              <a:rPr lang="en-US"/>
              <a:t>[Contact information]</a:t>
            </a:r>
          </a:p>
        </p:txBody>
      </p:sp>
      <p:sp>
        <p:nvSpPr>
          <p:cNvPr id="11" name="Title 1">
            <a:extLst>
              <a:ext uri="{FF2B5EF4-FFF2-40B4-BE49-F238E27FC236}">
                <a16:creationId xmlns:a16="http://schemas.microsoft.com/office/drawing/2014/main" id="{BE9B1A66-1E9D-D347-ABAF-C6FBE7A6F234}"/>
              </a:ext>
            </a:extLst>
          </p:cNvPr>
          <p:cNvSpPr>
            <a:spLocks noGrp="1"/>
          </p:cNvSpPr>
          <p:nvPr>
            <p:ph type="title" hasCustomPrompt="1"/>
          </p:nvPr>
        </p:nvSpPr>
        <p:spPr>
          <a:xfrm>
            <a:off x="5867400" y="2286000"/>
            <a:ext cx="5943600" cy="1151118"/>
          </a:xfrm>
          <a:prstGeom prst="rect">
            <a:avLst/>
          </a:prstGeom>
        </p:spPr>
        <p:txBody>
          <a:bodyPr anchor="b">
            <a:normAutofit/>
          </a:bodyPr>
          <a:lstStyle>
            <a:lvl1pPr>
              <a:defRPr sz="5400" b="1" i="0">
                <a:solidFill>
                  <a:schemeClr val="tx1"/>
                </a:solidFill>
                <a:latin typeface="Arial" panose="020B0604020202020204" pitchFamily="34" charset="0"/>
                <a:cs typeface="Arial" panose="020B0604020202020204" pitchFamily="34" charset="0"/>
              </a:defRPr>
            </a:lvl1pPr>
          </a:lstStyle>
          <a:p>
            <a:r>
              <a:rPr lang="en-US"/>
              <a:t>Thank You!</a:t>
            </a:r>
          </a:p>
        </p:txBody>
      </p:sp>
      <p:cxnSp>
        <p:nvCxnSpPr>
          <p:cNvPr id="12" name="Straight Connector 11">
            <a:extLst>
              <a:ext uri="{FF2B5EF4-FFF2-40B4-BE49-F238E27FC236}">
                <a16:creationId xmlns:a16="http://schemas.microsoft.com/office/drawing/2014/main" id="{6E9CF33E-7998-9D42-835F-6601AABAAE53}"/>
              </a:ext>
            </a:extLst>
          </p:cNvPr>
          <p:cNvCxnSpPr/>
          <p:nvPr userDrawn="1"/>
        </p:nvCxnSpPr>
        <p:spPr>
          <a:xfrm>
            <a:off x="5923155" y="3488260"/>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124E84AA-CB13-CC41-9D81-5C6997C89395}"/>
              </a:ext>
            </a:extLst>
          </p:cNvPr>
          <p:cNvSpPr txBox="1">
            <a:spLocks/>
          </p:cNvSpPr>
          <p:nvPr userDrawn="1"/>
        </p:nvSpPr>
        <p:spPr>
          <a:xfrm>
            <a:off x="5867400" y="2195531"/>
            <a:ext cx="5943600" cy="154903"/>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400"/>
              <a:t>BOYS &amp; GIRLS CLUBS OF AMERICA</a:t>
            </a:r>
          </a:p>
        </p:txBody>
      </p:sp>
    </p:spTree>
    <p:extLst>
      <p:ext uri="{BB962C8B-B14F-4D97-AF65-F5344CB8AC3E}">
        <p14:creationId xmlns:p14="http://schemas.microsoft.com/office/powerpoint/2010/main" val="2237575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Photo - Option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3994E4E-6243-4B81-92C9-1E8215CA91EE}"/>
              </a:ext>
            </a:extLst>
          </p:cNvPr>
          <p:cNvSpPr>
            <a:spLocks noGrp="1"/>
          </p:cNvSpPr>
          <p:nvPr>
            <p:ph type="subTitle" idx="1"/>
          </p:nvPr>
        </p:nvSpPr>
        <p:spPr>
          <a:xfrm>
            <a:off x="3581400" y="4938540"/>
            <a:ext cx="7772400" cy="87674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F65B65-77DB-4B76-9052-FB4DE1651D47}"/>
              </a:ext>
            </a:extLst>
          </p:cNvPr>
          <p:cNvSpPr>
            <a:spLocks noGrp="1"/>
          </p:cNvSpPr>
          <p:nvPr>
            <p:ph type="dt" sz="half" idx="10"/>
          </p:nvPr>
        </p:nvSpPr>
        <p:spPr>
          <a:xfrm>
            <a:off x="838200" y="6356350"/>
            <a:ext cx="2743200" cy="365125"/>
          </a:xfrm>
          <a:prstGeom prst="rect">
            <a:avLst/>
          </a:prstGeom>
        </p:spPr>
        <p:txBody>
          <a:bodyPr/>
          <a:lstStyle>
            <a:lvl1pPr>
              <a:defRPr b="0" i="0">
                <a:latin typeface="Arial" panose="020B0604020202020204" pitchFamily="34" charset="0"/>
              </a:defRPr>
            </a:lvl1pPr>
          </a:lstStyle>
          <a:p>
            <a:fld id="{98463734-6F52-461C-A2B2-300503EE808A}" type="datetimeFigureOut">
              <a:rPr lang="en-US" smtClean="0"/>
              <a:pPr/>
              <a:t>3/1/23</a:t>
            </a:fld>
            <a:endParaRPr lang="en-US"/>
          </a:p>
        </p:txBody>
      </p:sp>
      <p:sp>
        <p:nvSpPr>
          <p:cNvPr id="5" name="Footer Placeholder 4">
            <a:extLst>
              <a:ext uri="{FF2B5EF4-FFF2-40B4-BE49-F238E27FC236}">
                <a16:creationId xmlns:a16="http://schemas.microsoft.com/office/drawing/2014/main" id="{2B056837-0E8E-4D57-9516-22895320862F}"/>
              </a:ext>
            </a:extLst>
          </p:cNvPr>
          <p:cNvSpPr>
            <a:spLocks noGrp="1"/>
          </p:cNvSpPr>
          <p:nvPr>
            <p:ph type="ftr" sz="quarter" idx="11"/>
          </p:nvPr>
        </p:nvSpPr>
        <p:spPr>
          <a:xfrm>
            <a:off x="4038600" y="6356350"/>
            <a:ext cx="4114800" cy="365125"/>
          </a:xfrm>
          <a:prstGeom prst="rect">
            <a:avLst/>
          </a:prstGeom>
        </p:spPr>
        <p:txBody>
          <a:bodyPr/>
          <a:lstStyle>
            <a:lvl1pPr>
              <a:defRPr b="0" i="0">
                <a:latin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4E4FB576-254B-45AD-99E6-31D0DDDC589F}"/>
              </a:ext>
            </a:extLst>
          </p:cNvPr>
          <p:cNvSpPr>
            <a:spLocks noGrp="1"/>
          </p:cNvSpPr>
          <p:nvPr>
            <p:ph type="sldNum" sz="quarter" idx="12"/>
          </p:nvPr>
        </p:nvSpPr>
        <p:spPr>
          <a:xfrm>
            <a:off x="8610600" y="6356350"/>
            <a:ext cx="2743200" cy="365125"/>
          </a:xfrm>
          <a:prstGeom prst="rect">
            <a:avLst/>
          </a:prstGeom>
        </p:spPr>
        <p:txBody>
          <a:bodyPr/>
          <a:lstStyle>
            <a:lvl1pPr>
              <a:defRPr b="0" i="0">
                <a:latin typeface="Arial" panose="020B0604020202020204" pitchFamily="34" charset="0"/>
              </a:defRPr>
            </a:lvl1pPr>
          </a:lstStyle>
          <a:p>
            <a:fld id="{3E7C50CF-3954-4162-8DB4-E527195877A7}" type="slidenum">
              <a:rPr lang="en-US" smtClean="0"/>
              <a:pPr/>
              <a:t>‹#›</a:t>
            </a:fld>
            <a:endParaRPr lang="en-US"/>
          </a:p>
        </p:txBody>
      </p:sp>
      <p:sp>
        <p:nvSpPr>
          <p:cNvPr id="2" name="Title 1">
            <a:extLst>
              <a:ext uri="{FF2B5EF4-FFF2-40B4-BE49-F238E27FC236}">
                <a16:creationId xmlns:a16="http://schemas.microsoft.com/office/drawing/2014/main" id="{D35CC3CD-4E92-4A59-926A-DDE007EDE2C5}"/>
              </a:ext>
            </a:extLst>
          </p:cNvPr>
          <p:cNvSpPr>
            <a:spLocks noGrp="1"/>
          </p:cNvSpPr>
          <p:nvPr>
            <p:ph type="ctrTitle"/>
          </p:nvPr>
        </p:nvSpPr>
        <p:spPr>
          <a:xfrm>
            <a:off x="0" y="2550940"/>
            <a:ext cx="6294783" cy="2387600"/>
          </a:xfrm>
          <a:prstGeom prst="rect">
            <a:avLst/>
          </a:prstGeom>
        </p:spPr>
        <p:txBody>
          <a:bodyPr anchor="b"/>
          <a:lstStyle>
            <a:lvl1pPr algn="r">
              <a:defRPr sz="6000">
                <a:solidFill>
                  <a:schemeClr val="bg1"/>
                </a:solidFill>
              </a:defRPr>
            </a:lvl1pPr>
          </a:lstStyle>
          <a:p>
            <a:r>
              <a:rPr lang="en-US"/>
              <a:t>Click to edit Master title style</a:t>
            </a:r>
          </a:p>
        </p:txBody>
      </p:sp>
      <p:sp>
        <p:nvSpPr>
          <p:cNvPr id="8" name="Rectangle 7">
            <a:extLst>
              <a:ext uri="{FF2B5EF4-FFF2-40B4-BE49-F238E27FC236}">
                <a16:creationId xmlns:a16="http://schemas.microsoft.com/office/drawing/2014/main" id="{1419DAF6-F9C8-4F53-ACD6-179EBBDE330F}"/>
              </a:ext>
            </a:extLst>
          </p:cNvPr>
          <p:cNvSpPr/>
          <p:nvPr/>
        </p:nvSpPr>
        <p:spPr>
          <a:xfrm>
            <a:off x="5974813" y="3244334"/>
            <a:ext cx="248786" cy="369332"/>
          </a:xfrm>
          <a:prstGeom prst="rect">
            <a:avLst/>
          </a:prstGeom>
        </p:spPr>
        <p:txBody>
          <a:bodyPr wrap="none">
            <a:spAutoFit/>
          </a:bodyPr>
          <a:lstStyle/>
          <a:p>
            <a:r>
              <a:rPr lang="en-US" b="0" i="0">
                <a:solidFill>
                  <a:srgbClr val="000000"/>
                </a:solidFill>
                <a:effectLst/>
                <a:latin typeface="Arial" panose="020B0604020202020204" pitchFamily="34" charset="0"/>
              </a:rPr>
              <a:t> </a:t>
            </a:r>
            <a:endParaRPr lang="en-US" b="0" i="0">
              <a:latin typeface="Arial" panose="020B0604020202020204" pitchFamily="34" charset="0"/>
            </a:endParaRPr>
          </a:p>
        </p:txBody>
      </p:sp>
      <p:pic>
        <p:nvPicPr>
          <p:cNvPr id="10" name="Picture 9">
            <a:extLst>
              <a:ext uri="{FF2B5EF4-FFF2-40B4-BE49-F238E27FC236}">
                <a16:creationId xmlns:a16="http://schemas.microsoft.com/office/drawing/2014/main" id="{C9A2F68F-DD77-46C5-9085-618DED525AE7}"/>
              </a:ext>
            </a:extLst>
          </p:cNvPr>
          <p:cNvPicPr>
            <a:picLocks noChangeAspect="1"/>
          </p:cNvPicPr>
          <p:nvPr/>
        </p:nvPicPr>
        <p:blipFill rotWithShape="1">
          <a:blip r:embed="rId2"/>
          <a:srcRect t="13603" b="13603"/>
          <a:stretch/>
        </p:blipFill>
        <p:spPr>
          <a:xfrm>
            <a:off x="0" y="0"/>
            <a:ext cx="12192000" cy="6858000"/>
          </a:xfrm>
          <a:prstGeom prst="rect">
            <a:avLst/>
          </a:prstGeom>
        </p:spPr>
      </p:pic>
    </p:spTree>
    <p:extLst>
      <p:ext uri="{BB962C8B-B14F-4D97-AF65-F5344CB8AC3E}">
        <p14:creationId xmlns:p14="http://schemas.microsoft.com/office/powerpoint/2010/main" val="31272888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hoto - Option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B5F29A1-53BD-476B-B4AD-188D0F4B7832}"/>
              </a:ext>
            </a:extLst>
          </p:cNvPr>
          <p:cNvPicPr>
            <a:picLocks noChangeAspect="1"/>
          </p:cNvPicPr>
          <p:nvPr/>
        </p:nvPicPr>
        <p:blipFill rotWithShape="1">
          <a:blip r:embed="rId2">
            <a:extLst>
              <a:ext uri="{28A0092B-C50C-407E-A947-70E740481C1C}">
                <a14:useLocalDpi xmlns:a14="http://schemas.microsoft.com/office/drawing/2010/main" val="0"/>
              </a:ext>
            </a:extLst>
          </a:blip>
          <a:srcRect t="2014" b="13609"/>
          <a:stretch/>
        </p:blipFill>
        <p:spPr>
          <a:xfrm>
            <a:off x="0" y="0"/>
            <a:ext cx="12192000" cy="6858000"/>
          </a:xfrm>
          <a:prstGeom prst="rect">
            <a:avLst/>
          </a:prstGeom>
        </p:spPr>
      </p:pic>
    </p:spTree>
    <p:extLst>
      <p:ext uri="{BB962C8B-B14F-4D97-AF65-F5344CB8AC3E}">
        <p14:creationId xmlns:p14="http://schemas.microsoft.com/office/powerpoint/2010/main" val="39347138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hoto - Option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24CB2DD-D6A6-44BA-B940-60D870B6D1EE}"/>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4473394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Photo - Option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D4885E5-C209-427F-BDE1-CC3AC853758A}"/>
              </a:ext>
            </a:extLst>
          </p:cNvPr>
          <p:cNvPicPr>
            <a:picLocks noChangeAspect="1"/>
          </p:cNvPicPr>
          <p:nvPr/>
        </p:nvPicPr>
        <p:blipFill rotWithShape="1">
          <a:blip r:embed="rId2">
            <a:extLst>
              <a:ext uri="{28A0092B-C50C-407E-A947-70E740481C1C}">
                <a14:useLocalDpi xmlns:a14="http://schemas.microsoft.com/office/drawing/2010/main" val="0"/>
              </a:ext>
            </a:extLst>
          </a:blip>
          <a:srcRect t="7813" b="7813"/>
          <a:stretch/>
        </p:blipFill>
        <p:spPr>
          <a:xfrm>
            <a:off x="1" y="-1"/>
            <a:ext cx="12192000" cy="6858001"/>
          </a:xfrm>
          <a:prstGeom prst="rect">
            <a:avLst/>
          </a:prstGeom>
        </p:spPr>
      </p:pic>
    </p:spTree>
    <p:extLst>
      <p:ext uri="{BB962C8B-B14F-4D97-AF65-F5344CB8AC3E}">
        <p14:creationId xmlns:p14="http://schemas.microsoft.com/office/powerpoint/2010/main" val="1337315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Photo - Option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761D65-C8B6-473C-8929-991703246D27}"/>
              </a:ext>
            </a:extLst>
          </p:cNvPr>
          <p:cNvPicPr>
            <a:picLocks noChangeAspect="1"/>
          </p:cNvPicPr>
          <p:nvPr/>
        </p:nvPicPr>
        <p:blipFill rotWithShape="1">
          <a:blip r:embed="rId2">
            <a:extLst>
              <a:ext uri="{28A0092B-C50C-407E-A947-70E740481C1C}">
                <a14:useLocalDpi xmlns:a14="http://schemas.microsoft.com/office/drawing/2010/main" val="0"/>
              </a:ext>
            </a:extLst>
          </a:blip>
          <a:srcRect b="15624"/>
          <a:stretch/>
        </p:blipFill>
        <p:spPr>
          <a:xfrm>
            <a:off x="0" y="0"/>
            <a:ext cx="12192000" cy="6858000"/>
          </a:xfrm>
          <a:prstGeom prst="rect">
            <a:avLst/>
          </a:prstGeom>
        </p:spPr>
      </p:pic>
    </p:spTree>
    <p:extLst>
      <p:ext uri="{BB962C8B-B14F-4D97-AF65-F5344CB8AC3E}">
        <p14:creationId xmlns:p14="http://schemas.microsoft.com/office/powerpoint/2010/main" val="35970312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6DD90-84B9-3B42-9531-4E125EE2BD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53AEF6-CA6F-894C-804F-2B4DCE034DF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838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Photo - Option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14E39D-10A8-40AE-80CA-F6C20AB12AD7}"/>
              </a:ext>
            </a:extLst>
          </p:cNvPr>
          <p:cNvPicPr>
            <a:picLocks noChangeAspect="1"/>
          </p:cNvPicPr>
          <p:nvPr/>
        </p:nvPicPr>
        <p:blipFill rotWithShape="1">
          <a:blip r:embed="rId2">
            <a:extLst>
              <a:ext uri="{28A0092B-C50C-407E-A947-70E740481C1C}">
                <a14:useLocalDpi xmlns:a14="http://schemas.microsoft.com/office/drawing/2010/main" val="0"/>
              </a:ext>
            </a:extLst>
          </a:blip>
          <a:srcRect t="8059" b="7791"/>
          <a:stretch/>
        </p:blipFill>
        <p:spPr>
          <a:xfrm>
            <a:off x="-32735" y="0"/>
            <a:ext cx="12224735" cy="6858000"/>
          </a:xfrm>
          <a:prstGeom prst="rect">
            <a:avLst/>
          </a:prstGeom>
        </p:spPr>
      </p:pic>
    </p:spTree>
    <p:extLst>
      <p:ext uri="{BB962C8B-B14F-4D97-AF65-F5344CB8AC3E}">
        <p14:creationId xmlns:p14="http://schemas.microsoft.com/office/powerpoint/2010/main" val="36603978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rgbClr val="009DD8"/>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DCE9344-7935-9943-AE49-874320AD8619}"/>
              </a:ext>
            </a:extLst>
          </p:cNvPr>
          <p:cNvSpPr>
            <a:spLocks noGrp="1"/>
          </p:cNvSpPr>
          <p:nvPr>
            <p:ph type="body" sz="quarter" idx="10" hasCustomPrompt="1"/>
          </p:nvPr>
        </p:nvSpPr>
        <p:spPr>
          <a:xfrm>
            <a:off x="266701" y="4760913"/>
            <a:ext cx="11772900" cy="1087437"/>
          </a:xfrm>
          <a:prstGeom prst="rect">
            <a:avLst/>
          </a:prstGeom>
        </p:spPr>
        <p:txBody>
          <a:bodyPr lIns="91440" rIns="91440">
            <a:noAutofit/>
          </a:bodyPr>
          <a:lstStyle>
            <a:lvl1pPr marL="7938" indent="0" algn="ctr">
              <a:lnSpc>
                <a:spcPct val="100000"/>
              </a:lnSpc>
              <a:spcBef>
                <a:spcPts val="0"/>
              </a:spcBef>
              <a:buNone/>
              <a:tabLst/>
              <a:defRPr sz="1200">
                <a:solidFill>
                  <a:schemeClr val="bg1"/>
                </a:solidFill>
              </a:defRPr>
            </a:lvl1pPr>
            <a:lvl2pPr marL="7938" indent="0" algn="ctr">
              <a:buNone/>
              <a:tabLst/>
              <a:defRPr sz="1200">
                <a:solidFill>
                  <a:schemeClr val="bg1"/>
                </a:solidFill>
              </a:defRPr>
            </a:lvl2pPr>
            <a:lvl3pPr marL="7938" indent="0" algn="ctr">
              <a:buNone/>
              <a:tabLst/>
              <a:defRPr sz="1200">
                <a:solidFill>
                  <a:schemeClr val="bg1"/>
                </a:solidFill>
              </a:defRPr>
            </a:lvl3pPr>
            <a:lvl4pPr marL="7938" indent="0" algn="ctr">
              <a:buNone/>
              <a:tabLst/>
              <a:defRPr sz="1200">
                <a:solidFill>
                  <a:schemeClr val="bg1"/>
                </a:solidFill>
              </a:defRPr>
            </a:lvl4pPr>
            <a:lvl5pPr marL="7938" indent="0" algn="ctr">
              <a:buNone/>
              <a:tabLst/>
              <a:defRPr sz="1200">
                <a:solidFill>
                  <a:schemeClr val="bg1"/>
                </a:solidFill>
              </a:defRPr>
            </a:lvl5pPr>
          </a:lstStyle>
          <a:p>
            <a:pPr algn="ctr"/>
            <a:r>
              <a:rPr lang="en-US" sz="1200" b="1">
                <a:solidFill>
                  <a:schemeClr val="bg1"/>
                </a:solidFill>
                <a:latin typeface="Arial" panose="020B0604020202020204" pitchFamily="34" charset="0"/>
                <a:cs typeface="Arial" panose="020B0604020202020204" pitchFamily="34" charset="0"/>
              </a:rPr>
              <a:t>National Headquarters</a:t>
            </a:r>
          </a:p>
          <a:p>
            <a:pPr algn="ctr"/>
            <a:r>
              <a:rPr lang="en-US" sz="1200">
                <a:solidFill>
                  <a:schemeClr val="bg1"/>
                </a:solidFill>
                <a:latin typeface="Arial" panose="020B0604020202020204" pitchFamily="34" charset="0"/>
                <a:cs typeface="Arial" panose="020B0604020202020204" pitchFamily="34" charset="0"/>
              </a:rPr>
              <a:t>1275 Peachtree Street NE</a:t>
            </a:r>
          </a:p>
          <a:p>
            <a:pPr algn="ctr"/>
            <a:r>
              <a:rPr lang="en-US" sz="1200">
                <a:solidFill>
                  <a:schemeClr val="bg1"/>
                </a:solidFill>
                <a:latin typeface="Arial" panose="020B0604020202020204" pitchFamily="34" charset="0"/>
                <a:cs typeface="Arial" panose="020B0604020202020204" pitchFamily="34" charset="0"/>
              </a:rPr>
              <a:t>Atlanta, GA 30309-3506</a:t>
            </a:r>
          </a:p>
          <a:p>
            <a:pPr algn="ctr"/>
            <a:r>
              <a:rPr lang="en-US" sz="1200">
                <a:solidFill>
                  <a:schemeClr val="bg1"/>
                </a:solidFill>
                <a:latin typeface="Arial" panose="020B0604020202020204" pitchFamily="34" charset="0"/>
                <a:cs typeface="Arial" panose="020B0604020202020204" pitchFamily="34" charset="0"/>
              </a:rPr>
              <a:t>Phone: (404) 487-5700</a:t>
            </a:r>
          </a:p>
          <a:p>
            <a:pPr algn="ctr"/>
            <a:r>
              <a:rPr lang="en-US" sz="1200" err="1">
                <a:solidFill>
                  <a:schemeClr val="bg1"/>
                </a:solidFill>
                <a:latin typeface="Arial" panose="020B0604020202020204" pitchFamily="34" charset="0"/>
                <a:cs typeface="Arial" panose="020B0604020202020204" pitchFamily="34" charset="0"/>
              </a:rPr>
              <a:t>BGCA.org</a:t>
            </a:r>
            <a:endParaRPr lang="en-US"/>
          </a:p>
        </p:txBody>
      </p:sp>
      <p:sp>
        <p:nvSpPr>
          <p:cNvPr id="9" name="TextBox 8">
            <a:extLst>
              <a:ext uri="{FF2B5EF4-FFF2-40B4-BE49-F238E27FC236}">
                <a16:creationId xmlns:a16="http://schemas.microsoft.com/office/drawing/2014/main" id="{E583457A-F7F4-7E45-BB70-B667C7B8D976}"/>
              </a:ext>
            </a:extLst>
          </p:cNvPr>
          <p:cNvSpPr txBox="1"/>
          <p:nvPr userDrawn="1"/>
        </p:nvSpPr>
        <p:spPr>
          <a:xfrm>
            <a:off x="0" y="6196647"/>
            <a:ext cx="12192000" cy="230832"/>
          </a:xfrm>
          <a:prstGeom prst="rect">
            <a:avLst/>
          </a:prstGeom>
          <a:noFill/>
        </p:spPr>
        <p:txBody>
          <a:bodyPr wrap="square" rtlCol="0">
            <a:spAutoFit/>
          </a:bodyPr>
          <a:lstStyle/>
          <a:p>
            <a:pPr algn="ctr"/>
            <a:r>
              <a:rPr lang="en-US" sz="900">
                <a:solidFill>
                  <a:schemeClr val="bg1"/>
                </a:solidFill>
                <a:latin typeface="Arial" panose="020B0604020202020204" pitchFamily="34" charset="0"/>
                <a:cs typeface="Arial" panose="020B0604020202020204" pitchFamily="34" charset="0"/>
              </a:rPr>
              <a:t>©2020 Boys &amp; Girls Clubs of America</a:t>
            </a:r>
          </a:p>
        </p:txBody>
      </p:sp>
    </p:spTree>
    <p:extLst>
      <p:ext uri="{BB962C8B-B14F-4D97-AF65-F5344CB8AC3E}">
        <p14:creationId xmlns:p14="http://schemas.microsoft.com/office/powerpoint/2010/main" val="945842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rgbClr val="009DD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7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Option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DC1E02-BC3C-3A46-9AF8-73E7C9A1F5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270" r="19635" b="15156"/>
          <a:stretch/>
        </p:blipFill>
        <p:spPr>
          <a:xfrm>
            <a:off x="460375" y="457201"/>
            <a:ext cx="11268076" cy="5940424"/>
          </a:xfrm>
          <a:prstGeom prst="rect">
            <a:avLst/>
          </a:prstGeom>
        </p:spPr>
      </p:pic>
      <p:sp>
        <p:nvSpPr>
          <p:cNvPr id="10" name="Rectangle 9"/>
          <p:cNvSpPr/>
          <p:nvPr userDrawn="1"/>
        </p:nvSpPr>
        <p:spPr>
          <a:xfrm>
            <a:off x="460375" y="5664370"/>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2" name="Title 1"/>
          <p:cNvSpPr>
            <a:spLocks noGrp="1"/>
          </p:cNvSpPr>
          <p:nvPr>
            <p:ph type="ctrTitle" hasCustomPrompt="1"/>
          </p:nvPr>
        </p:nvSpPr>
        <p:spPr>
          <a:xfrm>
            <a:off x="2417135" y="4835010"/>
            <a:ext cx="8872656" cy="729362"/>
          </a:xfrm>
          <a:noFill/>
        </p:spPr>
        <p:txBody>
          <a:bodyPr wrap="none" anchor="ctr"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sz="5500" b="0" i="0" spc="-300" baseline="0">
                <a:solidFill>
                  <a:schemeClr val="bg1"/>
                </a:solidFill>
                <a:effectLst>
                  <a:outerShdw blurRad="469900" dist="342900" dir="5400000" sy="-20000" rotWithShape="0">
                    <a:prstClr val="black">
                      <a:alpha val="66000"/>
                    </a:prstClr>
                  </a:outerShdw>
                </a:effectLst>
                <a:latin typeface="Arial Regular"/>
              </a:defRPr>
            </a:lvl1pPr>
          </a:lstStyle>
          <a:p>
            <a:r>
              <a:rPr lang="en-US"/>
              <a:t>Click here</a:t>
            </a:r>
          </a:p>
        </p:txBody>
      </p:sp>
      <p:sp>
        <p:nvSpPr>
          <p:cNvPr id="3" name="Subtitle 2"/>
          <p:cNvSpPr>
            <a:spLocks noGrp="1"/>
          </p:cNvSpPr>
          <p:nvPr>
            <p:ph type="subTitle" idx="1" hasCustomPrompt="1"/>
          </p:nvPr>
        </p:nvSpPr>
        <p:spPr>
          <a:xfrm>
            <a:off x="838200" y="5664370"/>
            <a:ext cx="10515600" cy="731520"/>
          </a:xfrm>
          <a:noFill/>
        </p:spPr>
        <p:txBody>
          <a:bodyPr anchor="ctr" anchorCtr="0">
            <a:normAutofit/>
          </a:bodyPr>
          <a:lstStyle>
            <a:lvl1pPr marL="0" indent="0" algn="r">
              <a:buNone/>
              <a:defRPr sz="3000" b="0" i="0" baseline="0">
                <a:solidFill>
                  <a:schemeClr val="bg1"/>
                </a:solidFill>
                <a:latin typeface="Arial Regular"/>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here</a:t>
            </a:r>
          </a:p>
        </p:txBody>
      </p:sp>
      <p:sp>
        <p:nvSpPr>
          <p:cNvPr id="9" name="Triangle 8">
            <a:extLst>
              <a:ext uri="{FF2B5EF4-FFF2-40B4-BE49-F238E27FC236}">
                <a16:creationId xmlns:a16="http://schemas.microsoft.com/office/drawing/2014/main" id="{C3873829-87C7-1847-BA28-6AE71E7D5A78}"/>
              </a:ext>
            </a:extLst>
          </p:cNvPr>
          <p:cNvSpPr/>
          <p:nvPr userDrawn="1"/>
        </p:nvSpPr>
        <p:spPr>
          <a:xfrm rot="5400000">
            <a:off x="681034"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2" name="Triangle 11">
            <a:extLst>
              <a:ext uri="{FF2B5EF4-FFF2-40B4-BE49-F238E27FC236}">
                <a16:creationId xmlns:a16="http://schemas.microsoft.com/office/drawing/2014/main" id="{FEE56D03-4D7B-9B46-9CC9-EBC1655EACD6}"/>
              </a:ext>
            </a:extLst>
          </p:cNvPr>
          <p:cNvSpPr/>
          <p:nvPr userDrawn="1"/>
        </p:nvSpPr>
        <p:spPr>
          <a:xfrm rot="5400000">
            <a:off x="1262281"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3" name="Triangle 12">
            <a:extLst>
              <a:ext uri="{FF2B5EF4-FFF2-40B4-BE49-F238E27FC236}">
                <a16:creationId xmlns:a16="http://schemas.microsoft.com/office/drawing/2014/main" id="{2B7924C1-B5D5-A842-B068-902AE47BFA59}"/>
              </a:ext>
            </a:extLst>
          </p:cNvPr>
          <p:cNvSpPr/>
          <p:nvPr userDrawn="1"/>
        </p:nvSpPr>
        <p:spPr>
          <a:xfrm rot="5400000">
            <a:off x="1843528"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20" name="Picture 19">
            <a:extLst>
              <a:ext uri="{FF2B5EF4-FFF2-40B4-BE49-F238E27FC236}">
                <a16:creationId xmlns:a16="http://schemas.microsoft.com/office/drawing/2014/main" id="{CF544756-0146-F441-A47E-964984287D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17837" y="673331"/>
            <a:ext cx="3172506" cy="689955"/>
          </a:xfrm>
          <a:prstGeom prst="rect">
            <a:avLst/>
          </a:prstGeom>
        </p:spPr>
      </p:pic>
    </p:spTree>
    <p:extLst>
      <p:ext uri="{BB962C8B-B14F-4D97-AF65-F5344CB8AC3E}">
        <p14:creationId xmlns:p14="http://schemas.microsoft.com/office/powerpoint/2010/main" val="453112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Option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DC1E02-BC3C-3A46-9AF8-73E7C9A1F5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35" r="13860" b="15923"/>
          <a:stretch/>
        </p:blipFill>
        <p:spPr>
          <a:xfrm>
            <a:off x="460375" y="457201"/>
            <a:ext cx="11268076" cy="5940424"/>
          </a:xfrm>
          <a:prstGeom prst="rect">
            <a:avLst/>
          </a:prstGeom>
        </p:spPr>
      </p:pic>
      <p:sp>
        <p:nvSpPr>
          <p:cNvPr id="10" name="Rectangle 9"/>
          <p:cNvSpPr/>
          <p:nvPr userDrawn="1"/>
        </p:nvSpPr>
        <p:spPr>
          <a:xfrm>
            <a:off x="460375" y="5664370"/>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2" name="Title 1"/>
          <p:cNvSpPr>
            <a:spLocks noGrp="1"/>
          </p:cNvSpPr>
          <p:nvPr>
            <p:ph type="ctrTitle" hasCustomPrompt="1"/>
          </p:nvPr>
        </p:nvSpPr>
        <p:spPr>
          <a:xfrm>
            <a:off x="2417135" y="4835010"/>
            <a:ext cx="8872656" cy="729362"/>
          </a:xfrm>
          <a:noFill/>
        </p:spPr>
        <p:txBody>
          <a:bodyPr wrap="none" anchor="ctr"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sz="5500" b="0" i="0" spc="-300" baseline="0">
                <a:solidFill>
                  <a:schemeClr val="bg1"/>
                </a:solidFill>
                <a:effectLst>
                  <a:outerShdw blurRad="469900" dist="342900" dir="5400000" sy="-20000" rotWithShape="0">
                    <a:prstClr val="black">
                      <a:alpha val="66000"/>
                    </a:prstClr>
                  </a:outerShdw>
                </a:effectLst>
                <a:latin typeface="Arial Regular"/>
              </a:defRPr>
            </a:lvl1pPr>
          </a:lstStyle>
          <a:p>
            <a:r>
              <a:rPr lang="en-US"/>
              <a:t>Click here</a:t>
            </a:r>
          </a:p>
        </p:txBody>
      </p:sp>
      <p:sp>
        <p:nvSpPr>
          <p:cNvPr id="3" name="Subtitle 2"/>
          <p:cNvSpPr>
            <a:spLocks noGrp="1"/>
          </p:cNvSpPr>
          <p:nvPr>
            <p:ph type="subTitle" idx="1" hasCustomPrompt="1"/>
          </p:nvPr>
        </p:nvSpPr>
        <p:spPr>
          <a:xfrm>
            <a:off x="838200" y="5664370"/>
            <a:ext cx="10515600" cy="731520"/>
          </a:xfrm>
          <a:noFill/>
        </p:spPr>
        <p:txBody>
          <a:bodyPr anchor="ctr" anchorCtr="0">
            <a:normAutofit/>
          </a:bodyPr>
          <a:lstStyle>
            <a:lvl1pPr marL="0" indent="0" algn="r">
              <a:buNone/>
              <a:defRPr sz="3000" b="0" i="0" baseline="0">
                <a:solidFill>
                  <a:schemeClr val="bg1"/>
                </a:solidFill>
                <a:latin typeface="Arial Regular"/>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here</a:t>
            </a:r>
          </a:p>
        </p:txBody>
      </p:sp>
      <p:sp>
        <p:nvSpPr>
          <p:cNvPr id="9" name="Triangle 8">
            <a:extLst>
              <a:ext uri="{FF2B5EF4-FFF2-40B4-BE49-F238E27FC236}">
                <a16:creationId xmlns:a16="http://schemas.microsoft.com/office/drawing/2014/main" id="{C3873829-87C7-1847-BA28-6AE71E7D5A78}"/>
              </a:ext>
            </a:extLst>
          </p:cNvPr>
          <p:cNvSpPr/>
          <p:nvPr userDrawn="1"/>
        </p:nvSpPr>
        <p:spPr>
          <a:xfrm rot="5400000">
            <a:off x="681034"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2" name="Triangle 11">
            <a:extLst>
              <a:ext uri="{FF2B5EF4-FFF2-40B4-BE49-F238E27FC236}">
                <a16:creationId xmlns:a16="http://schemas.microsoft.com/office/drawing/2014/main" id="{FEE56D03-4D7B-9B46-9CC9-EBC1655EACD6}"/>
              </a:ext>
            </a:extLst>
          </p:cNvPr>
          <p:cNvSpPr/>
          <p:nvPr userDrawn="1"/>
        </p:nvSpPr>
        <p:spPr>
          <a:xfrm rot="5400000">
            <a:off x="1262281"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3" name="Triangle 12">
            <a:extLst>
              <a:ext uri="{FF2B5EF4-FFF2-40B4-BE49-F238E27FC236}">
                <a16:creationId xmlns:a16="http://schemas.microsoft.com/office/drawing/2014/main" id="{2B7924C1-B5D5-A842-B068-902AE47BFA59}"/>
              </a:ext>
            </a:extLst>
          </p:cNvPr>
          <p:cNvSpPr/>
          <p:nvPr userDrawn="1"/>
        </p:nvSpPr>
        <p:spPr>
          <a:xfrm rot="5400000">
            <a:off x="1843528"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1" name="Picture 10">
            <a:extLst>
              <a:ext uri="{FF2B5EF4-FFF2-40B4-BE49-F238E27FC236}">
                <a16:creationId xmlns:a16="http://schemas.microsoft.com/office/drawing/2014/main" id="{47C74FEF-CBA5-6740-A0E7-3DEA0F636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17837" y="673331"/>
            <a:ext cx="3172506" cy="689955"/>
          </a:xfrm>
          <a:prstGeom prst="rect">
            <a:avLst/>
          </a:prstGeom>
        </p:spPr>
      </p:pic>
    </p:spTree>
    <p:extLst>
      <p:ext uri="{BB962C8B-B14F-4D97-AF65-F5344CB8AC3E}">
        <p14:creationId xmlns:p14="http://schemas.microsoft.com/office/powerpoint/2010/main" val="2918275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Layout Option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422F73-FBD7-9F4F-9422-4693737C2E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0" t="3297" b="17725"/>
          <a:stretch/>
        </p:blipFill>
        <p:spPr>
          <a:xfrm>
            <a:off x="460375" y="457201"/>
            <a:ext cx="11268076" cy="5940424"/>
          </a:xfrm>
          <a:prstGeom prst="rect">
            <a:avLst/>
          </a:prstGeom>
        </p:spPr>
      </p:pic>
      <p:sp>
        <p:nvSpPr>
          <p:cNvPr id="10" name="Rectangle 9">
            <a:extLst>
              <a:ext uri="{FF2B5EF4-FFF2-40B4-BE49-F238E27FC236}">
                <a16:creationId xmlns:a16="http://schemas.microsoft.com/office/drawing/2014/main" id="{6DBE0ACC-C285-BA43-9CBB-D92BB5C65260}"/>
              </a:ext>
            </a:extLst>
          </p:cNvPr>
          <p:cNvSpPr/>
          <p:nvPr userDrawn="1"/>
        </p:nvSpPr>
        <p:spPr>
          <a:xfrm>
            <a:off x="460375" y="457201"/>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5" name="Title 4">
            <a:extLst>
              <a:ext uri="{FF2B5EF4-FFF2-40B4-BE49-F238E27FC236}">
                <a16:creationId xmlns:a16="http://schemas.microsoft.com/office/drawing/2014/main" id="{7CC2A8B2-E5E8-BC4B-AD21-1A8688EC8F88}"/>
              </a:ext>
            </a:extLst>
          </p:cNvPr>
          <p:cNvSpPr>
            <a:spLocks noGrp="1"/>
          </p:cNvSpPr>
          <p:nvPr>
            <p:ph type="title"/>
          </p:nvPr>
        </p:nvSpPr>
        <p:spPr>
          <a:xfrm>
            <a:off x="952499" y="457200"/>
            <a:ext cx="10782301" cy="733256"/>
          </a:xfrm>
        </p:spPr>
        <p:txBody>
          <a:bodyPr>
            <a:noAutofit/>
          </a:bodyPr>
          <a:lstStyle>
            <a:lvl1pPr>
              <a:defRPr sz="4400">
                <a:solidFill>
                  <a:schemeClr val="bg1"/>
                </a:solidFill>
              </a:defRPr>
            </a:lvl1pPr>
          </a:lstStyle>
          <a:p>
            <a:r>
              <a:rPr lang="en-US"/>
              <a:t>Click to edit Master title style</a:t>
            </a:r>
          </a:p>
        </p:txBody>
      </p:sp>
      <p:sp>
        <p:nvSpPr>
          <p:cNvPr id="11" name="Triangle 10">
            <a:extLst>
              <a:ext uri="{FF2B5EF4-FFF2-40B4-BE49-F238E27FC236}">
                <a16:creationId xmlns:a16="http://schemas.microsoft.com/office/drawing/2014/main" id="{394DEAA2-C814-694B-BEAA-C161AA357DA5}"/>
              </a:ext>
            </a:extLst>
          </p:cNvPr>
          <p:cNvSpPr/>
          <p:nvPr userDrawn="1"/>
        </p:nvSpPr>
        <p:spPr>
          <a:xfrm rot="5400000">
            <a:off x="520442" y="727484"/>
            <a:ext cx="371990" cy="1926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3" name="Picture 12">
            <a:extLst>
              <a:ext uri="{FF2B5EF4-FFF2-40B4-BE49-F238E27FC236}">
                <a16:creationId xmlns:a16="http://schemas.microsoft.com/office/drawing/2014/main" id="{E715159A-9316-1F46-B124-DAFB1D1CF3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98663" y="5737079"/>
            <a:ext cx="2116344" cy="460262"/>
          </a:xfrm>
          <a:prstGeom prst="rect">
            <a:avLst/>
          </a:prstGeom>
        </p:spPr>
      </p:pic>
    </p:spTree>
    <p:extLst>
      <p:ext uri="{BB962C8B-B14F-4D97-AF65-F5344CB8AC3E}">
        <p14:creationId xmlns:p14="http://schemas.microsoft.com/office/powerpoint/2010/main" val="2339884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Layout Option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422F73-FBD7-9F4F-9422-4693737C2E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156" r="28" b="9777"/>
          <a:stretch/>
        </p:blipFill>
        <p:spPr>
          <a:xfrm>
            <a:off x="460375" y="457201"/>
            <a:ext cx="11268076" cy="5940424"/>
          </a:xfrm>
          <a:prstGeom prst="rect">
            <a:avLst/>
          </a:prstGeom>
        </p:spPr>
      </p:pic>
      <p:sp>
        <p:nvSpPr>
          <p:cNvPr id="10" name="Rectangle 9">
            <a:extLst>
              <a:ext uri="{FF2B5EF4-FFF2-40B4-BE49-F238E27FC236}">
                <a16:creationId xmlns:a16="http://schemas.microsoft.com/office/drawing/2014/main" id="{6DBE0ACC-C285-BA43-9CBB-D92BB5C65260}"/>
              </a:ext>
            </a:extLst>
          </p:cNvPr>
          <p:cNvSpPr/>
          <p:nvPr userDrawn="1"/>
        </p:nvSpPr>
        <p:spPr>
          <a:xfrm>
            <a:off x="460375" y="457201"/>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5" name="Title 4">
            <a:extLst>
              <a:ext uri="{FF2B5EF4-FFF2-40B4-BE49-F238E27FC236}">
                <a16:creationId xmlns:a16="http://schemas.microsoft.com/office/drawing/2014/main" id="{7CC2A8B2-E5E8-BC4B-AD21-1A8688EC8F88}"/>
              </a:ext>
            </a:extLst>
          </p:cNvPr>
          <p:cNvSpPr>
            <a:spLocks noGrp="1"/>
          </p:cNvSpPr>
          <p:nvPr>
            <p:ph type="title"/>
          </p:nvPr>
        </p:nvSpPr>
        <p:spPr>
          <a:xfrm>
            <a:off x="952499" y="457200"/>
            <a:ext cx="10782301" cy="733256"/>
          </a:xfrm>
        </p:spPr>
        <p:txBody>
          <a:bodyPr>
            <a:noAutofit/>
          </a:bodyPr>
          <a:lstStyle>
            <a:lvl1pPr>
              <a:defRPr sz="4400">
                <a:solidFill>
                  <a:schemeClr val="bg1"/>
                </a:solidFill>
              </a:defRPr>
            </a:lvl1pPr>
          </a:lstStyle>
          <a:p>
            <a:r>
              <a:rPr lang="en-US"/>
              <a:t>Click to edit Master title style</a:t>
            </a:r>
          </a:p>
        </p:txBody>
      </p:sp>
      <p:sp>
        <p:nvSpPr>
          <p:cNvPr id="11" name="Triangle 10">
            <a:extLst>
              <a:ext uri="{FF2B5EF4-FFF2-40B4-BE49-F238E27FC236}">
                <a16:creationId xmlns:a16="http://schemas.microsoft.com/office/drawing/2014/main" id="{394DEAA2-C814-694B-BEAA-C161AA357DA5}"/>
              </a:ext>
            </a:extLst>
          </p:cNvPr>
          <p:cNvSpPr/>
          <p:nvPr userDrawn="1"/>
        </p:nvSpPr>
        <p:spPr>
          <a:xfrm rot="5400000">
            <a:off x="520442" y="727484"/>
            <a:ext cx="371990" cy="1926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3" name="Picture 12">
            <a:extLst>
              <a:ext uri="{FF2B5EF4-FFF2-40B4-BE49-F238E27FC236}">
                <a16:creationId xmlns:a16="http://schemas.microsoft.com/office/drawing/2014/main" id="{B8A806D2-BD2C-034E-97BE-F7CC12B66C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98663" y="5737079"/>
            <a:ext cx="2116344" cy="460262"/>
          </a:xfrm>
          <a:prstGeom prst="rect">
            <a:avLst/>
          </a:prstGeom>
        </p:spPr>
      </p:pic>
    </p:spTree>
    <p:extLst>
      <p:ext uri="{BB962C8B-B14F-4D97-AF65-F5344CB8AC3E}">
        <p14:creationId xmlns:p14="http://schemas.microsoft.com/office/powerpoint/2010/main" val="25549007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835A8-7151-8D47-901C-F2879C1B3B78}"/>
              </a:ext>
            </a:extLst>
          </p:cNvPr>
          <p:cNvSpPr>
            <a:spLocks noGrp="1"/>
          </p:cNvSpPr>
          <p:nvPr>
            <p:ph type="title"/>
          </p:nvPr>
        </p:nvSpPr>
        <p:spPr>
          <a:xfrm>
            <a:off x="460375" y="457199"/>
            <a:ext cx="7921625" cy="1257301"/>
          </a:xfrm>
        </p:spPr>
        <p:txBody>
          <a:bodyPr/>
          <a:lstStyle/>
          <a:p>
            <a:r>
              <a:rPr lang="en-US"/>
              <a:t>Click to edit Master title style</a:t>
            </a:r>
          </a:p>
        </p:txBody>
      </p:sp>
      <p:sp>
        <p:nvSpPr>
          <p:cNvPr id="8" name="Content Placeholder 7">
            <a:extLst>
              <a:ext uri="{FF2B5EF4-FFF2-40B4-BE49-F238E27FC236}">
                <a16:creationId xmlns:a16="http://schemas.microsoft.com/office/drawing/2014/main" id="{D37320FF-31CF-8B44-9DC1-80D88BD4AAFB}"/>
              </a:ext>
            </a:extLst>
          </p:cNvPr>
          <p:cNvSpPr>
            <a:spLocks noGrp="1"/>
          </p:cNvSpPr>
          <p:nvPr>
            <p:ph sz="quarter" idx="10"/>
          </p:nvPr>
        </p:nvSpPr>
        <p:spPr>
          <a:xfrm>
            <a:off x="460375" y="1828800"/>
            <a:ext cx="11274425" cy="4572000"/>
          </a:xfrm>
        </p:spPr>
        <p:txBody>
          <a:bodyPr/>
          <a:lstStyle>
            <a:lvl1pPr marL="457200" indent="-457200">
              <a:defRPr/>
            </a:lvl1pPr>
            <a:lvl2pPr marL="457200">
              <a:defRPr/>
            </a:lvl2pPr>
            <a:lvl3pPr marL="914400" indent="455613">
              <a:tabLst/>
              <a:defRPr/>
            </a:lvl3pPr>
            <a:lvl4pPr marL="1371600" indent="457200">
              <a:tabLst/>
              <a:defRPr/>
            </a:lvl4pPr>
            <a:lvl5pPr marL="18288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DC47EF27-7074-3B4C-B293-19B3D7326480}"/>
              </a:ext>
            </a:extLst>
          </p:cNvPr>
          <p:cNvSpPr>
            <a:spLocks noGrp="1"/>
          </p:cNvSpPr>
          <p:nvPr>
            <p:ph type="sldNum" sz="quarter" idx="13"/>
          </p:nvPr>
        </p:nvSpPr>
        <p:spPr/>
        <p:txBody>
          <a:bodyPr/>
          <a:lstStyle/>
          <a:p>
            <a:fld id="{9192A14D-5A09-466B-8DDF-D1E3FE9873CF}" type="slidenum">
              <a:rPr lang="en-US" smtClean="0"/>
              <a:pPr/>
              <a:t>‹#›</a:t>
            </a:fld>
            <a:endParaRPr lang="en-US"/>
          </a:p>
        </p:txBody>
      </p:sp>
      <p:pic>
        <p:nvPicPr>
          <p:cNvPr id="17" name="Picture 16">
            <a:extLst>
              <a:ext uri="{FF2B5EF4-FFF2-40B4-BE49-F238E27FC236}">
                <a16:creationId xmlns:a16="http://schemas.microsoft.com/office/drawing/2014/main" id="{44865CD0-91D5-A142-8665-7E8180B400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11136" y="6042787"/>
            <a:ext cx="2123663" cy="460262"/>
          </a:xfrm>
          <a:prstGeom prst="rect">
            <a:avLst/>
          </a:prstGeom>
        </p:spPr>
      </p:pic>
    </p:spTree>
    <p:extLst>
      <p:ext uri="{BB962C8B-B14F-4D97-AF65-F5344CB8AC3E}">
        <p14:creationId xmlns:p14="http://schemas.microsoft.com/office/powerpoint/2010/main" val="26069232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2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835A8-7151-8D47-901C-F2879C1B3B78}"/>
              </a:ext>
            </a:extLst>
          </p:cNvPr>
          <p:cNvSpPr>
            <a:spLocks noGrp="1"/>
          </p:cNvSpPr>
          <p:nvPr>
            <p:ph type="title"/>
          </p:nvPr>
        </p:nvSpPr>
        <p:spPr>
          <a:xfrm>
            <a:off x="460375" y="457199"/>
            <a:ext cx="7921625" cy="1257301"/>
          </a:xfrm>
        </p:spPr>
        <p:txBody>
          <a:bodyPr/>
          <a:lstStyle/>
          <a:p>
            <a:r>
              <a:rPr lang="en-US"/>
              <a:t>Click to edit Master title style</a:t>
            </a:r>
          </a:p>
        </p:txBody>
      </p:sp>
      <p:sp>
        <p:nvSpPr>
          <p:cNvPr id="8" name="Content Placeholder 7">
            <a:extLst>
              <a:ext uri="{FF2B5EF4-FFF2-40B4-BE49-F238E27FC236}">
                <a16:creationId xmlns:a16="http://schemas.microsoft.com/office/drawing/2014/main" id="{D37320FF-31CF-8B44-9DC1-80D88BD4AAFB}"/>
              </a:ext>
            </a:extLst>
          </p:cNvPr>
          <p:cNvSpPr>
            <a:spLocks noGrp="1"/>
          </p:cNvSpPr>
          <p:nvPr>
            <p:ph sz="quarter" idx="10"/>
          </p:nvPr>
        </p:nvSpPr>
        <p:spPr>
          <a:xfrm>
            <a:off x="460375" y="1828800"/>
            <a:ext cx="5407025" cy="4572000"/>
          </a:xfrm>
        </p:spPr>
        <p:txBody>
          <a:bodyPr/>
          <a:lstStyle>
            <a:lvl1pPr marL="457200" indent="-457200">
              <a:defRPr/>
            </a:lvl1pPr>
            <a:lvl2pPr marL="914400" indent="-457200">
              <a:defRPr/>
            </a:lvl2pPr>
            <a:lvl3pPr marL="1371600" indent="-457200">
              <a:defRPr/>
            </a:lvl3pPr>
            <a:lvl4pPr marL="1828800" indent="-457200">
              <a:defRPr/>
            </a:lvl4pPr>
            <a:lvl5pPr marL="2286000" indent="-4572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E33B926-86DB-394F-95B0-3BE97A8A8079}"/>
              </a:ext>
            </a:extLst>
          </p:cNvPr>
          <p:cNvSpPr>
            <a:spLocks noGrp="1"/>
          </p:cNvSpPr>
          <p:nvPr>
            <p:ph type="sldNum" sz="quarter" idx="14"/>
          </p:nvPr>
        </p:nvSpPr>
        <p:spPr/>
        <p:txBody>
          <a:bodyPr/>
          <a:lstStyle/>
          <a:p>
            <a:fld id="{9192A14D-5A09-466B-8DDF-D1E3FE9873CF}" type="slidenum">
              <a:rPr lang="en-US" smtClean="0"/>
              <a:pPr/>
              <a:t>‹#›</a:t>
            </a:fld>
            <a:endParaRPr lang="en-US"/>
          </a:p>
        </p:txBody>
      </p:sp>
      <p:sp>
        <p:nvSpPr>
          <p:cNvPr id="10" name="Content Placeholder 7">
            <a:extLst>
              <a:ext uri="{FF2B5EF4-FFF2-40B4-BE49-F238E27FC236}">
                <a16:creationId xmlns:a16="http://schemas.microsoft.com/office/drawing/2014/main" id="{11E23822-FAEC-1B4A-AB85-FA244C45B564}"/>
              </a:ext>
            </a:extLst>
          </p:cNvPr>
          <p:cNvSpPr>
            <a:spLocks noGrp="1"/>
          </p:cNvSpPr>
          <p:nvPr>
            <p:ph sz="quarter" idx="15"/>
          </p:nvPr>
        </p:nvSpPr>
        <p:spPr>
          <a:xfrm>
            <a:off x="6327775" y="1828800"/>
            <a:ext cx="5407025" cy="4572000"/>
          </a:xfrm>
        </p:spPr>
        <p:txBody>
          <a:bodyPr/>
          <a:lstStyle>
            <a:lvl1pPr marL="457200" indent="-457200">
              <a:defRPr/>
            </a:lvl1pPr>
            <a:lvl2pPr marL="914400" indent="-457200">
              <a:defRPr/>
            </a:lvl2pPr>
            <a:lvl3pPr marL="1371600" indent="-457200">
              <a:defRPr/>
            </a:lvl3pPr>
            <a:lvl4pPr marL="1828800" indent="-457200">
              <a:defRPr/>
            </a:lvl4pPr>
            <a:lvl5pPr marL="2286000" indent="-4572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F00D3321-2526-9645-A24C-1AA2BC798E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11136" y="6042787"/>
            <a:ext cx="2123663" cy="460262"/>
          </a:xfrm>
          <a:prstGeom prst="rect">
            <a:avLst/>
          </a:prstGeom>
        </p:spPr>
      </p:pic>
    </p:spTree>
    <p:extLst>
      <p:ext uri="{BB962C8B-B14F-4D97-AF65-F5344CB8AC3E}">
        <p14:creationId xmlns:p14="http://schemas.microsoft.com/office/powerpoint/2010/main" val="13499623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FA35581-A853-2646-994C-3383CB426E19}"/>
              </a:ext>
            </a:extLst>
          </p:cNvPr>
          <p:cNvSpPr/>
          <p:nvPr userDrawn="1"/>
        </p:nvSpPr>
        <p:spPr>
          <a:xfrm>
            <a:off x="0" y="457200"/>
            <a:ext cx="12192000" cy="6400800"/>
          </a:xfrm>
          <a:prstGeom prst="rect">
            <a:avLst/>
          </a:prstGeom>
          <a:solidFill>
            <a:srgbClr val="0095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7" name="Rectangle 16">
            <a:extLst>
              <a:ext uri="{FF2B5EF4-FFF2-40B4-BE49-F238E27FC236}">
                <a16:creationId xmlns:a16="http://schemas.microsoft.com/office/drawing/2014/main" id="{410B0A34-CE2C-A846-9304-BAF8F4E66AA2}"/>
              </a:ext>
            </a:extLst>
          </p:cNvPr>
          <p:cNvSpPr/>
          <p:nvPr userDrawn="1"/>
        </p:nvSpPr>
        <p:spPr>
          <a:xfrm>
            <a:off x="0" y="6146"/>
            <a:ext cx="12192000" cy="45105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21" name="Picture 20">
            <a:extLst>
              <a:ext uri="{FF2B5EF4-FFF2-40B4-BE49-F238E27FC236}">
                <a16:creationId xmlns:a16="http://schemas.microsoft.com/office/drawing/2014/main" id="{FD5F0F57-9836-8640-A90D-8D6B0174AA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61905" y="2997967"/>
            <a:ext cx="4268190" cy="1668400"/>
          </a:xfrm>
          <a:prstGeom prst="rect">
            <a:avLst/>
          </a:prstGeom>
        </p:spPr>
      </p:pic>
      <p:sp>
        <p:nvSpPr>
          <p:cNvPr id="22" name="TextBox 21">
            <a:extLst>
              <a:ext uri="{FF2B5EF4-FFF2-40B4-BE49-F238E27FC236}">
                <a16:creationId xmlns:a16="http://schemas.microsoft.com/office/drawing/2014/main" id="{19BEAB2F-C643-824F-9EFE-0208500E0666}"/>
              </a:ext>
            </a:extLst>
          </p:cNvPr>
          <p:cNvSpPr txBox="1"/>
          <p:nvPr userDrawn="1"/>
        </p:nvSpPr>
        <p:spPr>
          <a:xfrm>
            <a:off x="4989627" y="6331550"/>
            <a:ext cx="2227902" cy="692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50" b="0" i="0" kern="1200">
                <a:solidFill>
                  <a:schemeClr val="bg1"/>
                </a:solidFill>
                <a:effectLst/>
                <a:latin typeface="Arial Regular"/>
                <a:ea typeface="+mn-ea"/>
                <a:cs typeface="+mn-cs"/>
              </a:rPr>
              <a:t>©2019 BOYS &amp; GIRLS CLUBS OF AMERICA • 19-MKTG-0205</a:t>
            </a:r>
            <a:endParaRPr lang="en-US" sz="450" b="0" i="0">
              <a:solidFill>
                <a:schemeClr val="bg1"/>
              </a:solidFill>
              <a:latin typeface="Arial Regular"/>
            </a:endParaRPr>
          </a:p>
        </p:txBody>
      </p:sp>
    </p:spTree>
    <p:extLst>
      <p:ext uri="{BB962C8B-B14F-4D97-AF65-F5344CB8AC3E}">
        <p14:creationId xmlns:p14="http://schemas.microsoft.com/office/powerpoint/2010/main" val="2362560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2BF2A6-F41F-9245-B30C-4CDD4B63558E}"/>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BB88F3-9B57-1C4F-AB0B-1AE3D6E1C3A3}"/>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256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773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Option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DC1E02-BC3C-3A46-9AF8-73E7C9A1F5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270" r="19635" b="15156"/>
          <a:stretch/>
        </p:blipFill>
        <p:spPr>
          <a:xfrm>
            <a:off x="460375" y="457201"/>
            <a:ext cx="11268076" cy="5940424"/>
          </a:xfrm>
          <a:prstGeom prst="rect">
            <a:avLst/>
          </a:prstGeom>
        </p:spPr>
      </p:pic>
      <p:sp>
        <p:nvSpPr>
          <p:cNvPr id="10" name="Rectangle 9"/>
          <p:cNvSpPr/>
          <p:nvPr userDrawn="1"/>
        </p:nvSpPr>
        <p:spPr>
          <a:xfrm>
            <a:off x="460375" y="5664370"/>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2" name="Title 1"/>
          <p:cNvSpPr>
            <a:spLocks noGrp="1"/>
          </p:cNvSpPr>
          <p:nvPr>
            <p:ph type="ctrTitle" hasCustomPrompt="1"/>
          </p:nvPr>
        </p:nvSpPr>
        <p:spPr>
          <a:xfrm>
            <a:off x="2417135" y="4835010"/>
            <a:ext cx="8872656" cy="729362"/>
          </a:xfrm>
          <a:noFill/>
        </p:spPr>
        <p:txBody>
          <a:bodyPr wrap="none" anchor="ctr"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sz="5500" b="0" i="0" spc="-300" baseline="0">
                <a:solidFill>
                  <a:schemeClr val="bg1"/>
                </a:solidFill>
                <a:effectLst>
                  <a:outerShdw blurRad="469900" dist="342900" dir="5400000" sy="-20000" rotWithShape="0">
                    <a:prstClr val="black">
                      <a:alpha val="66000"/>
                    </a:prstClr>
                  </a:outerShdw>
                </a:effectLst>
                <a:latin typeface="Arial Regular"/>
              </a:defRPr>
            </a:lvl1pPr>
          </a:lstStyle>
          <a:p>
            <a:r>
              <a:rPr lang="en-US"/>
              <a:t>Click here</a:t>
            </a:r>
          </a:p>
        </p:txBody>
      </p:sp>
      <p:sp>
        <p:nvSpPr>
          <p:cNvPr id="3" name="Subtitle 2"/>
          <p:cNvSpPr>
            <a:spLocks noGrp="1"/>
          </p:cNvSpPr>
          <p:nvPr>
            <p:ph type="subTitle" idx="1" hasCustomPrompt="1"/>
          </p:nvPr>
        </p:nvSpPr>
        <p:spPr>
          <a:xfrm>
            <a:off x="838200" y="5664370"/>
            <a:ext cx="10515600" cy="731520"/>
          </a:xfrm>
          <a:noFill/>
        </p:spPr>
        <p:txBody>
          <a:bodyPr anchor="ctr" anchorCtr="0">
            <a:normAutofit/>
          </a:bodyPr>
          <a:lstStyle>
            <a:lvl1pPr marL="0" indent="0" algn="r">
              <a:buNone/>
              <a:defRPr sz="3000" b="0" i="0" baseline="0">
                <a:solidFill>
                  <a:schemeClr val="bg1"/>
                </a:solidFill>
                <a:latin typeface="Arial Regular"/>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here</a:t>
            </a:r>
          </a:p>
        </p:txBody>
      </p:sp>
      <p:sp>
        <p:nvSpPr>
          <p:cNvPr id="9" name="Triangle 8">
            <a:extLst>
              <a:ext uri="{FF2B5EF4-FFF2-40B4-BE49-F238E27FC236}">
                <a16:creationId xmlns:a16="http://schemas.microsoft.com/office/drawing/2014/main" id="{C3873829-87C7-1847-BA28-6AE71E7D5A78}"/>
              </a:ext>
            </a:extLst>
          </p:cNvPr>
          <p:cNvSpPr/>
          <p:nvPr userDrawn="1"/>
        </p:nvSpPr>
        <p:spPr>
          <a:xfrm rot="5400000">
            <a:off x="681034"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2" name="Triangle 11">
            <a:extLst>
              <a:ext uri="{FF2B5EF4-FFF2-40B4-BE49-F238E27FC236}">
                <a16:creationId xmlns:a16="http://schemas.microsoft.com/office/drawing/2014/main" id="{FEE56D03-4D7B-9B46-9CC9-EBC1655EACD6}"/>
              </a:ext>
            </a:extLst>
          </p:cNvPr>
          <p:cNvSpPr/>
          <p:nvPr userDrawn="1"/>
        </p:nvSpPr>
        <p:spPr>
          <a:xfrm rot="5400000">
            <a:off x="1262281"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3" name="Triangle 12">
            <a:extLst>
              <a:ext uri="{FF2B5EF4-FFF2-40B4-BE49-F238E27FC236}">
                <a16:creationId xmlns:a16="http://schemas.microsoft.com/office/drawing/2014/main" id="{2B7924C1-B5D5-A842-B068-902AE47BFA59}"/>
              </a:ext>
            </a:extLst>
          </p:cNvPr>
          <p:cNvSpPr/>
          <p:nvPr userDrawn="1"/>
        </p:nvSpPr>
        <p:spPr>
          <a:xfrm rot="5400000">
            <a:off x="1843528"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20" name="Picture 19">
            <a:extLst>
              <a:ext uri="{FF2B5EF4-FFF2-40B4-BE49-F238E27FC236}">
                <a16:creationId xmlns:a16="http://schemas.microsoft.com/office/drawing/2014/main" id="{CF544756-0146-F441-A47E-964984287D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17837" y="673331"/>
            <a:ext cx="3172506" cy="689955"/>
          </a:xfrm>
          <a:prstGeom prst="rect">
            <a:avLst/>
          </a:prstGeom>
        </p:spPr>
      </p:pic>
    </p:spTree>
    <p:extLst>
      <p:ext uri="{BB962C8B-B14F-4D97-AF65-F5344CB8AC3E}">
        <p14:creationId xmlns:p14="http://schemas.microsoft.com/office/powerpoint/2010/main" val="11320407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Option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DC1E02-BC3C-3A46-9AF8-73E7C9A1F5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935" r="13860" b="15923"/>
          <a:stretch/>
        </p:blipFill>
        <p:spPr>
          <a:xfrm>
            <a:off x="460375" y="457201"/>
            <a:ext cx="11268076" cy="5940424"/>
          </a:xfrm>
          <a:prstGeom prst="rect">
            <a:avLst/>
          </a:prstGeom>
        </p:spPr>
      </p:pic>
      <p:sp>
        <p:nvSpPr>
          <p:cNvPr id="10" name="Rectangle 9"/>
          <p:cNvSpPr/>
          <p:nvPr userDrawn="1"/>
        </p:nvSpPr>
        <p:spPr>
          <a:xfrm>
            <a:off x="460375" y="5664370"/>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2" name="Title 1"/>
          <p:cNvSpPr>
            <a:spLocks noGrp="1"/>
          </p:cNvSpPr>
          <p:nvPr>
            <p:ph type="ctrTitle" hasCustomPrompt="1"/>
          </p:nvPr>
        </p:nvSpPr>
        <p:spPr>
          <a:xfrm>
            <a:off x="2417135" y="4835010"/>
            <a:ext cx="8872656" cy="729362"/>
          </a:xfrm>
          <a:noFill/>
        </p:spPr>
        <p:txBody>
          <a:bodyPr wrap="none" anchor="ctr" anchorCtr="0">
            <a:normAutofit/>
          </a:bodyPr>
          <a:lstStyle>
            <a:lvl1pPr marL="0" marR="0" indent="0" algn="l" defTabSz="914400" rtl="0" eaLnBrk="1" fontAlgn="auto" latinLnBrk="0" hangingPunct="1">
              <a:lnSpc>
                <a:spcPct val="90000"/>
              </a:lnSpc>
              <a:spcBef>
                <a:spcPct val="0"/>
              </a:spcBef>
              <a:spcAft>
                <a:spcPts val="0"/>
              </a:spcAft>
              <a:buClrTx/>
              <a:buSzTx/>
              <a:buFontTx/>
              <a:buNone/>
              <a:tabLst/>
              <a:defRPr sz="5500" b="0" i="0" spc="-300" baseline="0">
                <a:solidFill>
                  <a:schemeClr val="bg1"/>
                </a:solidFill>
                <a:effectLst>
                  <a:outerShdw blurRad="469900" dist="342900" dir="5400000" sy="-20000" rotWithShape="0">
                    <a:prstClr val="black">
                      <a:alpha val="66000"/>
                    </a:prstClr>
                  </a:outerShdw>
                </a:effectLst>
                <a:latin typeface="Arial Regular"/>
              </a:defRPr>
            </a:lvl1pPr>
          </a:lstStyle>
          <a:p>
            <a:r>
              <a:rPr lang="en-US"/>
              <a:t>Click here</a:t>
            </a:r>
          </a:p>
        </p:txBody>
      </p:sp>
      <p:sp>
        <p:nvSpPr>
          <p:cNvPr id="3" name="Subtitle 2"/>
          <p:cNvSpPr>
            <a:spLocks noGrp="1"/>
          </p:cNvSpPr>
          <p:nvPr>
            <p:ph type="subTitle" idx="1" hasCustomPrompt="1"/>
          </p:nvPr>
        </p:nvSpPr>
        <p:spPr>
          <a:xfrm>
            <a:off x="838200" y="5664370"/>
            <a:ext cx="10515600" cy="731520"/>
          </a:xfrm>
          <a:noFill/>
        </p:spPr>
        <p:txBody>
          <a:bodyPr anchor="ctr" anchorCtr="0">
            <a:normAutofit/>
          </a:bodyPr>
          <a:lstStyle>
            <a:lvl1pPr marL="0" indent="0" algn="r">
              <a:buNone/>
              <a:defRPr sz="3000" b="0" i="0" baseline="0">
                <a:solidFill>
                  <a:schemeClr val="bg1"/>
                </a:solidFill>
                <a:latin typeface="Arial Regular"/>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here</a:t>
            </a:r>
          </a:p>
        </p:txBody>
      </p:sp>
      <p:sp>
        <p:nvSpPr>
          <p:cNvPr id="9" name="Triangle 8">
            <a:extLst>
              <a:ext uri="{FF2B5EF4-FFF2-40B4-BE49-F238E27FC236}">
                <a16:creationId xmlns:a16="http://schemas.microsoft.com/office/drawing/2014/main" id="{C3873829-87C7-1847-BA28-6AE71E7D5A78}"/>
              </a:ext>
            </a:extLst>
          </p:cNvPr>
          <p:cNvSpPr/>
          <p:nvPr userDrawn="1"/>
        </p:nvSpPr>
        <p:spPr>
          <a:xfrm rot="5400000">
            <a:off x="681034"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2" name="Triangle 11">
            <a:extLst>
              <a:ext uri="{FF2B5EF4-FFF2-40B4-BE49-F238E27FC236}">
                <a16:creationId xmlns:a16="http://schemas.microsoft.com/office/drawing/2014/main" id="{FEE56D03-4D7B-9B46-9CC9-EBC1655EACD6}"/>
              </a:ext>
            </a:extLst>
          </p:cNvPr>
          <p:cNvSpPr/>
          <p:nvPr userDrawn="1"/>
        </p:nvSpPr>
        <p:spPr>
          <a:xfrm rot="5400000">
            <a:off x="1262281"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3" name="Triangle 12">
            <a:extLst>
              <a:ext uri="{FF2B5EF4-FFF2-40B4-BE49-F238E27FC236}">
                <a16:creationId xmlns:a16="http://schemas.microsoft.com/office/drawing/2014/main" id="{2B7924C1-B5D5-A842-B068-902AE47BFA59}"/>
              </a:ext>
            </a:extLst>
          </p:cNvPr>
          <p:cNvSpPr/>
          <p:nvPr userDrawn="1"/>
        </p:nvSpPr>
        <p:spPr>
          <a:xfrm rot="5400000">
            <a:off x="1843528" y="4992176"/>
            <a:ext cx="652130" cy="337798"/>
          </a:xfrm>
          <a:prstGeom prst="triangle">
            <a:avLst/>
          </a:prstGeom>
          <a:solidFill>
            <a:srgbClr val="FFB3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1" name="Picture 10">
            <a:extLst>
              <a:ext uri="{FF2B5EF4-FFF2-40B4-BE49-F238E27FC236}">
                <a16:creationId xmlns:a16="http://schemas.microsoft.com/office/drawing/2014/main" id="{47C74FEF-CBA5-6740-A0E7-3DEA0F636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17837" y="673331"/>
            <a:ext cx="3172506" cy="689955"/>
          </a:xfrm>
          <a:prstGeom prst="rect">
            <a:avLst/>
          </a:prstGeom>
        </p:spPr>
      </p:pic>
    </p:spTree>
    <p:extLst>
      <p:ext uri="{BB962C8B-B14F-4D97-AF65-F5344CB8AC3E}">
        <p14:creationId xmlns:p14="http://schemas.microsoft.com/office/powerpoint/2010/main" val="39368956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Layout Option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422F73-FBD7-9F4F-9422-4693737C2E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0" t="3297" b="17725"/>
          <a:stretch/>
        </p:blipFill>
        <p:spPr>
          <a:xfrm>
            <a:off x="460375" y="457201"/>
            <a:ext cx="11268076" cy="5940424"/>
          </a:xfrm>
          <a:prstGeom prst="rect">
            <a:avLst/>
          </a:prstGeom>
        </p:spPr>
      </p:pic>
      <p:sp>
        <p:nvSpPr>
          <p:cNvPr id="10" name="Rectangle 9">
            <a:extLst>
              <a:ext uri="{FF2B5EF4-FFF2-40B4-BE49-F238E27FC236}">
                <a16:creationId xmlns:a16="http://schemas.microsoft.com/office/drawing/2014/main" id="{6DBE0ACC-C285-BA43-9CBB-D92BB5C65260}"/>
              </a:ext>
            </a:extLst>
          </p:cNvPr>
          <p:cNvSpPr/>
          <p:nvPr userDrawn="1"/>
        </p:nvSpPr>
        <p:spPr>
          <a:xfrm>
            <a:off x="460375" y="457201"/>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5" name="Title 4">
            <a:extLst>
              <a:ext uri="{FF2B5EF4-FFF2-40B4-BE49-F238E27FC236}">
                <a16:creationId xmlns:a16="http://schemas.microsoft.com/office/drawing/2014/main" id="{7CC2A8B2-E5E8-BC4B-AD21-1A8688EC8F88}"/>
              </a:ext>
            </a:extLst>
          </p:cNvPr>
          <p:cNvSpPr>
            <a:spLocks noGrp="1"/>
          </p:cNvSpPr>
          <p:nvPr>
            <p:ph type="title"/>
          </p:nvPr>
        </p:nvSpPr>
        <p:spPr>
          <a:xfrm>
            <a:off x="952499" y="457200"/>
            <a:ext cx="10782301" cy="733256"/>
          </a:xfrm>
        </p:spPr>
        <p:txBody>
          <a:bodyPr>
            <a:noAutofit/>
          </a:bodyPr>
          <a:lstStyle>
            <a:lvl1pPr>
              <a:defRPr sz="4400">
                <a:solidFill>
                  <a:schemeClr val="bg1"/>
                </a:solidFill>
              </a:defRPr>
            </a:lvl1pPr>
          </a:lstStyle>
          <a:p>
            <a:r>
              <a:rPr lang="en-US"/>
              <a:t>Click to edit Master title style</a:t>
            </a:r>
          </a:p>
        </p:txBody>
      </p:sp>
      <p:sp>
        <p:nvSpPr>
          <p:cNvPr id="11" name="Triangle 10">
            <a:extLst>
              <a:ext uri="{FF2B5EF4-FFF2-40B4-BE49-F238E27FC236}">
                <a16:creationId xmlns:a16="http://schemas.microsoft.com/office/drawing/2014/main" id="{394DEAA2-C814-694B-BEAA-C161AA357DA5}"/>
              </a:ext>
            </a:extLst>
          </p:cNvPr>
          <p:cNvSpPr/>
          <p:nvPr userDrawn="1"/>
        </p:nvSpPr>
        <p:spPr>
          <a:xfrm rot="5400000">
            <a:off x="520442" y="727484"/>
            <a:ext cx="371990" cy="1926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3" name="Picture 12">
            <a:extLst>
              <a:ext uri="{FF2B5EF4-FFF2-40B4-BE49-F238E27FC236}">
                <a16:creationId xmlns:a16="http://schemas.microsoft.com/office/drawing/2014/main" id="{E715159A-9316-1F46-B124-DAFB1D1CF3F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98663" y="5737079"/>
            <a:ext cx="2116344" cy="460262"/>
          </a:xfrm>
          <a:prstGeom prst="rect">
            <a:avLst/>
          </a:prstGeom>
        </p:spPr>
      </p:pic>
    </p:spTree>
    <p:extLst>
      <p:ext uri="{BB962C8B-B14F-4D97-AF65-F5344CB8AC3E}">
        <p14:creationId xmlns:p14="http://schemas.microsoft.com/office/powerpoint/2010/main" val="14755655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Layout Option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7422F73-FBD7-9F4F-9422-4693737C2E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156" r="28" b="9777"/>
          <a:stretch/>
        </p:blipFill>
        <p:spPr>
          <a:xfrm>
            <a:off x="460375" y="457201"/>
            <a:ext cx="11268076" cy="5940424"/>
          </a:xfrm>
          <a:prstGeom prst="rect">
            <a:avLst/>
          </a:prstGeom>
        </p:spPr>
      </p:pic>
      <p:sp>
        <p:nvSpPr>
          <p:cNvPr id="10" name="Rectangle 9">
            <a:extLst>
              <a:ext uri="{FF2B5EF4-FFF2-40B4-BE49-F238E27FC236}">
                <a16:creationId xmlns:a16="http://schemas.microsoft.com/office/drawing/2014/main" id="{6DBE0ACC-C285-BA43-9CBB-D92BB5C65260}"/>
              </a:ext>
            </a:extLst>
          </p:cNvPr>
          <p:cNvSpPr/>
          <p:nvPr userDrawn="1"/>
        </p:nvSpPr>
        <p:spPr>
          <a:xfrm>
            <a:off x="460375" y="457201"/>
            <a:ext cx="11268076" cy="73325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5" name="Title 4">
            <a:extLst>
              <a:ext uri="{FF2B5EF4-FFF2-40B4-BE49-F238E27FC236}">
                <a16:creationId xmlns:a16="http://schemas.microsoft.com/office/drawing/2014/main" id="{7CC2A8B2-E5E8-BC4B-AD21-1A8688EC8F88}"/>
              </a:ext>
            </a:extLst>
          </p:cNvPr>
          <p:cNvSpPr>
            <a:spLocks noGrp="1"/>
          </p:cNvSpPr>
          <p:nvPr>
            <p:ph type="title"/>
          </p:nvPr>
        </p:nvSpPr>
        <p:spPr>
          <a:xfrm>
            <a:off x="952499" y="457200"/>
            <a:ext cx="10782301" cy="733256"/>
          </a:xfrm>
        </p:spPr>
        <p:txBody>
          <a:bodyPr>
            <a:noAutofit/>
          </a:bodyPr>
          <a:lstStyle>
            <a:lvl1pPr>
              <a:defRPr sz="4400">
                <a:solidFill>
                  <a:schemeClr val="bg1"/>
                </a:solidFill>
              </a:defRPr>
            </a:lvl1pPr>
          </a:lstStyle>
          <a:p>
            <a:r>
              <a:rPr lang="en-US"/>
              <a:t>Click to edit Master title style</a:t>
            </a:r>
          </a:p>
        </p:txBody>
      </p:sp>
      <p:sp>
        <p:nvSpPr>
          <p:cNvPr id="11" name="Triangle 10">
            <a:extLst>
              <a:ext uri="{FF2B5EF4-FFF2-40B4-BE49-F238E27FC236}">
                <a16:creationId xmlns:a16="http://schemas.microsoft.com/office/drawing/2014/main" id="{394DEAA2-C814-694B-BEAA-C161AA357DA5}"/>
              </a:ext>
            </a:extLst>
          </p:cNvPr>
          <p:cNvSpPr/>
          <p:nvPr userDrawn="1"/>
        </p:nvSpPr>
        <p:spPr>
          <a:xfrm rot="5400000">
            <a:off x="520442" y="727484"/>
            <a:ext cx="371990" cy="19268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13" name="Picture 12">
            <a:extLst>
              <a:ext uri="{FF2B5EF4-FFF2-40B4-BE49-F238E27FC236}">
                <a16:creationId xmlns:a16="http://schemas.microsoft.com/office/drawing/2014/main" id="{B8A806D2-BD2C-034E-97BE-F7CC12B66C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98663" y="5737079"/>
            <a:ext cx="2116344" cy="460262"/>
          </a:xfrm>
          <a:prstGeom prst="rect">
            <a:avLst/>
          </a:prstGeom>
        </p:spPr>
      </p:pic>
    </p:spTree>
    <p:extLst>
      <p:ext uri="{BB962C8B-B14F-4D97-AF65-F5344CB8AC3E}">
        <p14:creationId xmlns:p14="http://schemas.microsoft.com/office/powerpoint/2010/main" val="27732627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835A8-7151-8D47-901C-F2879C1B3B78}"/>
              </a:ext>
            </a:extLst>
          </p:cNvPr>
          <p:cNvSpPr>
            <a:spLocks noGrp="1"/>
          </p:cNvSpPr>
          <p:nvPr>
            <p:ph type="title"/>
          </p:nvPr>
        </p:nvSpPr>
        <p:spPr>
          <a:xfrm>
            <a:off x="460375" y="457199"/>
            <a:ext cx="7921625" cy="1257301"/>
          </a:xfrm>
        </p:spPr>
        <p:txBody>
          <a:bodyPr/>
          <a:lstStyle/>
          <a:p>
            <a:r>
              <a:rPr lang="en-US"/>
              <a:t>Click to edit Master title style</a:t>
            </a:r>
          </a:p>
        </p:txBody>
      </p:sp>
      <p:sp>
        <p:nvSpPr>
          <p:cNvPr id="8" name="Content Placeholder 7">
            <a:extLst>
              <a:ext uri="{FF2B5EF4-FFF2-40B4-BE49-F238E27FC236}">
                <a16:creationId xmlns:a16="http://schemas.microsoft.com/office/drawing/2014/main" id="{D37320FF-31CF-8B44-9DC1-80D88BD4AAFB}"/>
              </a:ext>
            </a:extLst>
          </p:cNvPr>
          <p:cNvSpPr>
            <a:spLocks noGrp="1"/>
          </p:cNvSpPr>
          <p:nvPr>
            <p:ph sz="quarter" idx="10"/>
          </p:nvPr>
        </p:nvSpPr>
        <p:spPr>
          <a:xfrm>
            <a:off x="460375" y="1828800"/>
            <a:ext cx="11274425" cy="4572000"/>
          </a:xfrm>
        </p:spPr>
        <p:txBody>
          <a:bodyPr/>
          <a:lstStyle>
            <a:lvl1pPr marL="457200" indent="-457200">
              <a:defRPr/>
            </a:lvl1pPr>
            <a:lvl2pPr marL="457200">
              <a:defRPr/>
            </a:lvl2pPr>
            <a:lvl3pPr marL="914400" indent="455613">
              <a:tabLst/>
              <a:defRPr/>
            </a:lvl3pPr>
            <a:lvl4pPr marL="1371600" indent="457200">
              <a:tabLst/>
              <a:defRPr/>
            </a:lvl4pPr>
            <a:lvl5pPr marL="18288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DC47EF27-7074-3B4C-B293-19B3D7326480}"/>
              </a:ext>
            </a:extLst>
          </p:cNvPr>
          <p:cNvSpPr>
            <a:spLocks noGrp="1"/>
          </p:cNvSpPr>
          <p:nvPr>
            <p:ph type="sldNum" sz="quarter" idx="13"/>
          </p:nvPr>
        </p:nvSpPr>
        <p:spPr/>
        <p:txBody>
          <a:bodyPr/>
          <a:lstStyle/>
          <a:p>
            <a:fld id="{9192A14D-5A09-466B-8DDF-D1E3FE9873CF}" type="slidenum">
              <a:rPr lang="en-US" smtClean="0"/>
              <a:pPr/>
              <a:t>‹#›</a:t>
            </a:fld>
            <a:endParaRPr lang="en-US"/>
          </a:p>
        </p:txBody>
      </p:sp>
      <p:pic>
        <p:nvPicPr>
          <p:cNvPr id="17" name="Picture 16">
            <a:extLst>
              <a:ext uri="{FF2B5EF4-FFF2-40B4-BE49-F238E27FC236}">
                <a16:creationId xmlns:a16="http://schemas.microsoft.com/office/drawing/2014/main" id="{44865CD0-91D5-A142-8665-7E8180B400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11136" y="6042787"/>
            <a:ext cx="2123663" cy="460262"/>
          </a:xfrm>
          <a:prstGeom prst="rect">
            <a:avLst/>
          </a:prstGeom>
        </p:spPr>
      </p:pic>
    </p:spTree>
    <p:extLst>
      <p:ext uri="{BB962C8B-B14F-4D97-AF65-F5344CB8AC3E}">
        <p14:creationId xmlns:p14="http://schemas.microsoft.com/office/powerpoint/2010/main" val="18761348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ontent 1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835A8-7151-8D47-901C-F2879C1B3B78}"/>
              </a:ext>
            </a:extLst>
          </p:cNvPr>
          <p:cNvSpPr>
            <a:spLocks noGrp="1"/>
          </p:cNvSpPr>
          <p:nvPr>
            <p:ph type="title"/>
          </p:nvPr>
        </p:nvSpPr>
        <p:spPr>
          <a:xfrm>
            <a:off x="460375" y="457199"/>
            <a:ext cx="7921625" cy="1257301"/>
          </a:xfrm>
        </p:spPr>
        <p:txBody>
          <a:bodyPr/>
          <a:lstStyle/>
          <a:p>
            <a:r>
              <a:rPr lang="en-US"/>
              <a:t>Click to edit Master title style</a:t>
            </a:r>
          </a:p>
        </p:txBody>
      </p:sp>
      <p:sp>
        <p:nvSpPr>
          <p:cNvPr id="8" name="Content Placeholder 7">
            <a:extLst>
              <a:ext uri="{FF2B5EF4-FFF2-40B4-BE49-F238E27FC236}">
                <a16:creationId xmlns:a16="http://schemas.microsoft.com/office/drawing/2014/main" id="{D37320FF-31CF-8B44-9DC1-80D88BD4AAFB}"/>
              </a:ext>
            </a:extLst>
          </p:cNvPr>
          <p:cNvSpPr>
            <a:spLocks noGrp="1"/>
          </p:cNvSpPr>
          <p:nvPr>
            <p:ph sz="quarter" idx="10"/>
          </p:nvPr>
        </p:nvSpPr>
        <p:spPr>
          <a:xfrm>
            <a:off x="460375" y="1828800"/>
            <a:ext cx="11274425" cy="4572000"/>
          </a:xfrm>
        </p:spPr>
        <p:txBody>
          <a:bodyPr/>
          <a:lstStyle>
            <a:lvl1pPr marL="457200" indent="-457200">
              <a:defRPr/>
            </a:lvl1pPr>
            <a:lvl2pPr marL="457200">
              <a:defRPr/>
            </a:lvl2pPr>
            <a:lvl3pPr marL="914400" indent="455613">
              <a:tabLst/>
              <a:defRPr/>
            </a:lvl3pPr>
            <a:lvl4pPr marL="1371600" indent="457200">
              <a:tabLst/>
              <a:defRPr/>
            </a:lvl4pPr>
            <a:lvl5pPr marL="18288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a:extLst>
              <a:ext uri="{FF2B5EF4-FFF2-40B4-BE49-F238E27FC236}">
                <a16:creationId xmlns:a16="http://schemas.microsoft.com/office/drawing/2014/main" id="{DC47EF27-7074-3B4C-B293-19B3D7326480}"/>
              </a:ext>
            </a:extLst>
          </p:cNvPr>
          <p:cNvSpPr>
            <a:spLocks noGrp="1"/>
          </p:cNvSpPr>
          <p:nvPr>
            <p:ph type="sldNum" sz="quarter" idx="13"/>
          </p:nvPr>
        </p:nvSpPr>
        <p:spPr/>
        <p:txBody>
          <a:bodyPr/>
          <a:lstStyle/>
          <a:p>
            <a:fld id="{9192A14D-5A09-466B-8DDF-D1E3FE9873CF}" type="slidenum">
              <a:rPr lang="en-US" smtClean="0"/>
              <a:pPr/>
              <a:t>‹#›</a:t>
            </a:fld>
            <a:endParaRPr lang="en-US"/>
          </a:p>
        </p:txBody>
      </p:sp>
      <p:pic>
        <p:nvPicPr>
          <p:cNvPr id="3" name="Picture 2" descr="Logo, company name&#10;&#10;Description automatically generated">
            <a:extLst>
              <a:ext uri="{FF2B5EF4-FFF2-40B4-BE49-F238E27FC236}">
                <a16:creationId xmlns:a16="http://schemas.microsoft.com/office/drawing/2014/main" id="{4FDA320C-BE0C-4B24-B9F1-504C530C68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50395" y="5173748"/>
            <a:ext cx="1515133" cy="1174452"/>
          </a:xfrm>
          <a:prstGeom prst="rect">
            <a:avLst/>
          </a:prstGeom>
        </p:spPr>
      </p:pic>
    </p:spTree>
    <p:extLst>
      <p:ext uri="{BB962C8B-B14F-4D97-AF65-F5344CB8AC3E}">
        <p14:creationId xmlns:p14="http://schemas.microsoft.com/office/powerpoint/2010/main" val="7550513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2 Column">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CE835A8-7151-8D47-901C-F2879C1B3B78}"/>
              </a:ext>
            </a:extLst>
          </p:cNvPr>
          <p:cNvSpPr>
            <a:spLocks noGrp="1"/>
          </p:cNvSpPr>
          <p:nvPr>
            <p:ph type="title"/>
          </p:nvPr>
        </p:nvSpPr>
        <p:spPr>
          <a:xfrm>
            <a:off x="460375" y="457199"/>
            <a:ext cx="7921625" cy="1257301"/>
          </a:xfrm>
        </p:spPr>
        <p:txBody>
          <a:bodyPr/>
          <a:lstStyle/>
          <a:p>
            <a:r>
              <a:rPr lang="en-US"/>
              <a:t>Click to edit Master title style</a:t>
            </a:r>
          </a:p>
        </p:txBody>
      </p:sp>
      <p:sp>
        <p:nvSpPr>
          <p:cNvPr id="8" name="Content Placeholder 7">
            <a:extLst>
              <a:ext uri="{FF2B5EF4-FFF2-40B4-BE49-F238E27FC236}">
                <a16:creationId xmlns:a16="http://schemas.microsoft.com/office/drawing/2014/main" id="{D37320FF-31CF-8B44-9DC1-80D88BD4AAFB}"/>
              </a:ext>
            </a:extLst>
          </p:cNvPr>
          <p:cNvSpPr>
            <a:spLocks noGrp="1"/>
          </p:cNvSpPr>
          <p:nvPr>
            <p:ph sz="quarter" idx="10"/>
          </p:nvPr>
        </p:nvSpPr>
        <p:spPr>
          <a:xfrm>
            <a:off x="460375" y="1828800"/>
            <a:ext cx="5407025" cy="4572000"/>
          </a:xfrm>
        </p:spPr>
        <p:txBody>
          <a:bodyPr/>
          <a:lstStyle>
            <a:lvl1pPr marL="457200" indent="-457200">
              <a:defRPr/>
            </a:lvl1pPr>
            <a:lvl2pPr marL="914400" indent="-457200">
              <a:defRPr/>
            </a:lvl2pPr>
            <a:lvl3pPr marL="1371600" indent="-457200">
              <a:defRPr/>
            </a:lvl3pPr>
            <a:lvl4pPr marL="1828800" indent="-457200">
              <a:defRPr/>
            </a:lvl4pPr>
            <a:lvl5pPr marL="2286000" indent="-4572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E33B926-86DB-394F-95B0-3BE97A8A8079}"/>
              </a:ext>
            </a:extLst>
          </p:cNvPr>
          <p:cNvSpPr>
            <a:spLocks noGrp="1"/>
          </p:cNvSpPr>
          <p:nvPr>
            <p:ph type="sldNum" sz="quarter" idx="14"/>
          </p:nvPr>
        </p:nvSpPr>
        <p:spPr/>
        <p:txBody>
          <a:bodyPr/>
          <a:lstStyle/>
          <a:p>
            <a:fld id="{9192A14D-5A09-466B-8DDF-D1E3FE9873CF}" type="slidenum">
              <a:rPr lang="en-US" smtClean="0"/>
              <a:pPr/>
              <a:t>‹#›</a:t>
            </a:fld>
            <a:endParaRPr lang="en-US"/>
          </a:p>
        </p:txBody>
      </p:sp>
      <p:sp>
        <p:nvSpPr>
          <p:cNvPr id="10" name="Content Placeholder 7">
            <a:extLst>
              <a:ext uri="{FF2B5EF4-FFF2-40B4-BE49-F238E27FC236}">
                <a16:creationId xmlns:a16="http://schemas.microsoft.com/office/drawing/2014/main" id="{11E23822-FAEC-1B4A-AB85-FA244C45B564}"/>
              </a:ext>
            </a:extLst>
          </p:cNvPr>
          <p:cNvSpPr>
            <a:spLocks noGrp="1"/>
          </p:cNvSpPr>
          <p:nvPr>
            <p:ph sz="quarter" idx="15"/>
          </p:nvPr>
        </p:nvSpPr>
        <p:spPr>
          <a:xfrm>
            <a:off x="6327775" y="1828800"/>
            <a:ext cx="5407025" cy="4572000"/>
          </a:xfrm>
        </p:spPr>
        <p:txBody>
          <a:bodyPr/>
          <a:lstStyle>
            <a:lvl1pPr marL="457200" indent="-457200">
              <a:defRPr/>
            </a:lvl1pPr>
            <a:lvl2pPr marL="914400" indent="-457200">
              <a:defRPr/>
            </a:lvl2pPr>
            <a:lvl3pPr marL="1371600" indent="-457200">
              <a:defRPr/>
            </a:lvl3pPr>
            <a:lvl4pPr marL="1828800" indent="-457200">
              <a:defRPr/>
            </a:lvl4pPr>
            <a:lvl5pPr marL="2286000" indent="-4572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F00D3321-2526-9645-A24C-1AA2BC798E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11136" y="6042787"/>
            <a:ext cx="2123663" cy="460262"/>
          </a:xfrm>
          <a:prstGeom prst="rect">
            <a:avLst/>
          </a:prstGeom>
        </p:spPr>
      </p:pic>
    </p:spTree>
    <p:extLst>
      <p:ext uri="{BB962C8B-B14F-4D97-AF65-F5344CB8AC3E}">
        <p14:creationId xmlns:p14="http://schemas.microsoft.com/office/powerpoint/2010/main" val="14707084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FA35581-A853-2646-994C-3383CB426E19}"/>
              </a:ext>
            </a:extLst>
          </p:cNvPr>
          <p:cNvSpPr/>
          <p:nvPr userDrawn="1"/>
        </p:nvSpPr>
        <p:spPr>
          <a:xfrm>
            <a:off x="0" y="457200"/>
            <a:ext cx="12192000" cy="6400800"/>
          </a:xfrm>
          <a:prstGeom prst="rect">
            <a:avLst/>
          </a:prstGeom>
          <a:solidFill>
            <a:srgbClr val="0095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17" name="Rectangle 16">
            <a:extLst>
              <a:ext uri="{FF2B5EF4-FFF2-40B4-BE49-F238E27FC236}">
                <a16:creationId xmlns:a16="http://schemas.microsoft.com/office/drawing/2014/main" id="{410B0A34-CE2C-A846-9304-BAF8F4E66AA2}"/>
              </a:ext>
            </a:extLst>
          </p:cNvPr>
          <p:cNvSpPr/>
          <p:nvPr userDrawn="1"/>
        </p:nvSpPr>
        <p:spPr>
          <a:xfrm>
            <a:off x="0" y="6146"/>
            <a:ext cx="12192000" cy="45105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pic>
        <p:nvPicPr>
          <p:cNvPr id="21" name="Picture 20">
            <a:extLst>
              <a:ext uri="{FF2B5EF4-FFF2-40B4-BE49-F238E27FC236}">
                <a16:creationId xmlns:a16="http://schemas.microsoft.com/office/drawing/2014/main" id="{FD5F0F57-9836-8640-A90D-8D6B0174AA0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61905" y="2997967"/>
            <a:ext cx="4268190" cy="1668400"/>
          </a:xfrm>
          <a:prstGeom prst="rect">
            <a:avLst/>
          </a:prstGeom>
        </p:spPr>
      </p:pic>
      <p:sp>
        <p:nvSpPr>
          <p:cNvPr id="22" name="TextBox 21">
            <a:extLst>
              <a:ext uri="{FF2B5EF4-FFF2-40B4-BE49-F238E27FC236}">
                <a16:creationId xmlns:a16="http://schemas.microsoft.com/office/drawing/2014/main" id="{19BEAB2F-C643-824F-9EFE-0208500E0666}"/>
              </a:ext>
            </a:extLst>
          </p:cNvPr>
          <p:cNvSpPr txBox="1"/>
          <p:nvPr userDrawn="1"/>
        </p:nvSpPr>
        <p:spPr>
          <a:xfrm>
            <a:off x="4989627" y="6331550"/>
            <a:ext cx="2227902" cy="692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50" b="0" i="0" kern="1200">
                <a:solidFill>
                  <a:schemeClr val="bg1"/>
                </a:solidFill>
                <a:effectLst/>
                <a:latin typeface="Arial Regular"/>
                <a:ea typeface="+mn-ea"/>
                <a:cs typeface="+mn-cs"/>
              </a:rPr>
              <a:t>©2019 BOYS &amp; GIRLS CLUBS OF AMERICA • 19-MKTG-0205</a:t>
            </a:r>
            <a:endParaRPr lang="en-US" sz="450" b="0" i="0">
              <a:solidFill>
                <a:schemeClr val="bg1"/>
              </a:solidFill>
              <a:latin typeface="Arial Regular"/>
            </a:endParaRPr>
          </a:p>
        </p:txBody>
      </p:sp>
    </p:spTree>
    <p:extLst>
      <p:ext uri="{BB962C8B-B14F-4D97-AF65-F5344CB8AC3E}">
        <p14:creationId xmlns:p14="http://schemas.microsoft.com/office/powerpoint/2010/main" val="2908741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ntent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195855-908C-8D44-B0FE-C812A7D14FCB}"/>
              </a:ext>
            </a:extLst>
          </p:cNvPr>
          <p:cNvPicPr>
            <a:picLocks noChangeAspect="1"/>
          </p:cNvPicPr>
          <p:nvPr userDrawn="1"/>
        </p:nvPicPr>
        <p:blipFill>
          <a:blip r:embed="rId2">
            <a:alphaModFix/>
          </a:blip>
          <a:srcRect/>
          <a:stretch/>
        </p:blipFill>
        <p:spPr>
          <a:xfrm>
            <a:off x="0" y="926592"/>
            <a:ext cx="12192000" cy="5931408"/>
          </a:xfrm>
          <a:prstGeom prst="rect">
            <a:avLst/>
          </a:prstGeom>
        </p:spPr>
      </p:pic>
      <p:pic>
        <p:nvPicPr>
          <p:cNvPr id="3" name="Picture 2">
            <a:extLst>
              <a:ext uri="{FF2B5EF4-FFF2-40B4-BE49-F238E27FC236}">
                <a16:creationId xmlns:a16="http://schemas.microsoft.com/office/drawing/2014/main" id="{632440B9-F9F8-2F44-AD22-AADCFA0D159F}"/>
              </a:ext>
            </a:extLst>
          </p:cNvPr>
          <p:cNvPicPr>
            <a:picLocks noChangeAspect="1"/>
          </p:cNvPicPr>
          <p:nvPr userDrawn="1"/>
        </p:nvPicPr>
        <p:blipFill>
          <a:blip r:embed="rId3"/>
          <a:stretch>
            <a:fillRect/>
          </a:stretch>
        </p:blipFill>
        <p:spPr>
          <a:xfrm>
            <a:off x="10053402" y="6049308"/>
            <a:ext cx="1947679" cy="629365"/>
          </a:xfrm>
          <a:prstGeom prst="rect">
            <a:avLst/>
          </a:prstGeom>
        </p:spPr>
      </p:pic>
    </p:spTree>
    <p:extLst>
      <p:ext uri="{BB962C8B-B14F-4D97-AF65-F5344CB8AC3E}">
        <p14:creationId xmlns:p14="http://schemas.microsoft.com/office/powerpoint/2010/main" val="26368342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rgbClr val="009DD8"/>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DCE9344-7935-9943-AE49-874320AD8619}"/>
              </a:ext>
            </a:extLst>
          </p:cNvPr>
          <p:cNvSpPr>
            <a:spLocks noGrp="1"/>
          </p:cNvSpPr>
          <p:nvPr>
            <p:ph type="body" sz="quarter" idx="10" hasCustomPrompt="1"/>
          </p:nvPr>
        </p:nvSpPr>
        <p:spPr>
          <a:xfrm>
            <a:off x="266702" y="4760915"/>
            <a:ext cx="11772900" cy="1087437"/>
          </a:xfrm>
        </p:spPr>
        <p:txBody>
          <a:bodyPr lIns="91440" rIns="91440">
            <a:noAutofit/>
          </a:bodyPr>
          <a:lstStyle>
            <a:lvl1pPr marL="5954" indent="0" algn="ctr">
              <a:lnSpc>
                <a:spcPct val="100000"/>
              </a:lnSpc>
              <a:spcBef>
                <a:spcPts val="0"/>
              </a:spcBef>
              <a:buNone/>
              <a:tabLst/>
              <a:defRPr sz="900">
                <a:solidFill>
                  <a:schemeClr val="bg1"/>
                </a:solidFill>
              </a:defRPr>
            </a:lvl1pPr>
            <a:lvl2pPr marL="5954" indent="0" algn="ctr">
              <a:buNone/>
              <a:tabLst/>
              <a:defRPr sz="900">
                <a:solidFill>
                  <a:schemeClr val="bg1"/>
                </a:solidFill>
              </a:defRPr>
            </a:lvl2pPr>
            <a:lvl3pPr marL="5954" indent="0" algn="ctr">
              <a:buNone/>
              <a:tabLst/>
              <a:defRPr sz="900">
                <a:solidFill>
                  <a:schemeClr val="bg1"/>
                </a:solidFill>
              </a:defRPr>
            </a:lvl3pPr>
            <a:lvl4pPr marL="5954" indent="0" algn="ctr">
              <a:buNone/>
              <a:tabLst/>
              <a:defRPr sz="900">
                <a:solidFill>
                  <a:schemeClr val="bg1"/>
                </a:solidFill>
              </a:defRPr>
            </a:lvl4pPr>
            <a:lvl5pPr marL="5954" indent="0" algn="ctr">
              <a:buNone/>
              <a:tabLst/>
              <a:defRPr sz="900">
                <a:solidFill>
                  <a:schemeClr val="bg1"/>
                </a:solidFill>
              </a:defRPr>
            </a:lvl5pPr>
          </a:lstStyle>
          <a:p>
            <a:pPr algn="ctr"/>
            <a:r>
              <a:rPr lang="en-US" sz="900" b="1">
                <a:solidFill>
                  <a:schemeClr val="bg1"/>
                </a:solidFill>
                <a:latin typeface="Arial" panose="020B0604020202020204" pitchFamily="34" charset="0"/>
                <a:cs typeface="Arial" panose="020B0604020202020204" pitchFamily="34" charset="0"/>
              </a:rPr>
              <a:t>National Headquarters</a:t>
            </a:r>
          </a:p>
          <a:p>
            <a:pPr algn="ctr"/>
            <a:r>
              <a:rPr lang="en-US" sz="900">
                <a:solidFill>
                  <a:schemeClr val="bg1"/>
                </a:solidFill>
                <a:latin typeface="Arial" panose="020B0604020202020204" pitchFamily="34" charset="0"/>
                <a:cs typeface="Arial" panose="020B0604020202020204" pitchFamily="34" charset="0"/>
              </a:rPr>
              <a:t>1275 Peachtree Street NE</a:t>
            </a:r>
          </a:p>
          <a:p>
            <a:pPr algn="ctr"/>
            <a:r>
              <a:rPr lang="en-US" sz="900">
                <a:solidFill>
                  <a:schemeClr val="bg1"/>
                </a:solidFill>
                <a:latin typeface="Arial" panose="020B0604020202020204" pitchFamily="34" charset="0"/>
                <a:cs typeface="Arial" panose="020B0604020202020204" pitchFamily="34" charset="0"/>
              </a:rPr>
              <a:t>Atlanta, GA 30309-3506</a:t>
            </a:r>
          </a:p>
          <a:p>
            <a:pPr algn="ctr"/>
            <a:r>
              <a:rPr lang="en-US" sz="900">
                <a:solidFill>
                  <a:schemeClr val="bg1"/>
                </a:solidFill>
                <a:latin typeface="Arial" panose="020B0604020202020204" pitchFamily="34" charset="0"/>
                <a:cs typeface="Arial" panose="020B0604020202020204" pitchFamily="34" charset="0"/>
              </a:rPr>
              <a:t>Phone: (404) 487-5700</a:t>
            </a:r>
          </a:p>
          <a:p>
            <a:pPr algn="ctr"/>
            <a:r>
              <a:rPr lang="en-US" sz="900" err="1">
                <a:solidFill>
                  <a:schemeClr val="bg1"/>
                </a:solidFill>
                <a:latin typeface="Arial" panose="020B0604020202020204" pitchFamily="34" charset="0"/>
                <a:cs typeface="Arial" panose="020B0604020202020204" pitchFamily="34" charset="0"/>
              </a:rPr>
              <a:t>BGCA.org</a:t>
            </a:r>
            <a:endParaRPr lang="en-US"/>
          </a:p>
        </p:txBody>
      </p:sp>
      <p:sp>
        <p:nvSpPr>
          <p:cNvPr id="9" name="TextBox 8">
            <a:extLst>
              <a:ext uri="{FF2B5EF4-FFF2-40B4-BE49-F238E27FC236}">
                <a16:creationId xmlns:a16="http://schemas.microsoft.com/office/drawing/2014/main" id="{E583457A-F7F4-7E45-BB70-B667C7B8D976}"/>
              </a:ext>
            </a:extLst>
          </p:cNvPr>
          <p:cNvSpPr txBox="1"/>
          <p:nvPr userDrawn="1"/>
        </p:nvSpPr>
        <p:spPr>
          <a:xfrm>
            <a:off x="0" y="6196647"/>
            <a:ext cx="12192000" cy="196208"/>
          </a:xfrm>
          <a:prstGeom prst="rect">
            <a:avLst/>
          </a:prstGeom>
          <a:noFill/>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2018 Boys &amp; Girls Clubs of America</a:t>
            </a:r>
          </a:p>
        </p:txBody>
      </p:sp>
      <p:sp>
        <p:nvSpPr>
          <p:cNvPr id="2" name="TextBox 1">
            <a:extLst>
              <a:ext uri="{FF2B5EF4-FFF2-40B4-BE49-F238E27FC236}">
                <a16:creationId xmlns:a16="http://schemas.microsoft.com/office/drawing/2014/main" id="{0F08D953-30A1-5D45-8301-7A4524ED5439}"/>
              </a:ext>
            </a:extLst>
          </p:cNvPr>
          <p:cNvSpPr txBox="1"/>
          <p:nvPr userDrawn="1"/>
        </p:nvSpPr>
        <p:spPr>
          <a:xfrm>
            <a:off x="10442449" y="6438900"/>
            <a:ext cx="1178052" cy="196208"/>
          </a:xfrm>
          <a:prstGeom prst="rect">
            <a:avLst/>
          </a:prstGeom>
          <a:noFill/>
        </p:spPr>
        <p:txBody>
          <a:bodyPr wrap="square" lIns="0" rIns="0" rtlCol="0">
            <a:spAutoFit/>
          </a:bodyPr>
          <a:lstStyle/>
          <a:p>
            <a:pPr algn="r"/>
            <a:r>
              <a:rPr lang="en-US" sz="675">
                <a:solidFill>
                  <a:schemeClr val="accent1">
                    <a:lumMod val="20000"/>
                    <a:lumOff val="80000"/>
                  </a:schemeClr>
                </a:solidFill>
              </a:rPr>
              <a:t>18-OEDS-0993</a:t>
            </a:r>
          </a:p>
        </p:txBody>
      </p:sp>
    </p:spTree>
    <p:extLst>
      <p:ext uri="{BB962C8B-B14F-4D97-AF65-F5344CB8AC3E}">
        <p14:creationId xmlns:p14="http://schemas.microsoft.com/office/powerpoint/2010/main" val="316244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3456808" y="3888476"/>
            <a:ext cx="8232091" cy="2038598"/>
          </a:xfrm>
        </p:spPr>
        <p:txBody>
          <a:bodyPr lIns="0" anchor="t">
            <a:normAutofit/>
          </a:bodyPr>
          <a:lstStyle>
            <a:lvl1pPr marL="0" indent="0" algn="l">
              <a:buNone/>
              <a:defRPr sz="2700">
                <a:solidFill>
                  <a:schemeClr val="bg1"/>
                </a:solidFill>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en-US"/>
              <a:t>Click to edit Master subtitle style</a:t>
            </a:r>
          </a:p>
        </p:txBody>
      </p:sp>
      <p:sp>
        <p:nvSpPr>
          <p:cNvPr id="24" name="Title 23">
            <a:extLst>
              <a:ext uri="{FF2B5EF4-FFF2-40B4-BE49-F238E27FC236}">
                <a16:creationId xmlns:a16="http://schemas.microsoft.com/office/drawing/2014/main" id="{01B9B9A1-3E45-C247-B51A-06D5AF5BC76D}"/>
              </a:ext>
            </a:extLst>
          </p:cNvPr>
          <p:cNvSpPr>
            <a:spLocks noGrp="1"/>
          </p:cNvSpPr>
          <p:nvPr>
            <p:ph type="title" hasCustomPrompt="1"/>
          </p:nvPr>
        </p:nvSpPr>
        <p:spPr>
          <a:xfrm>
            <a:off x="3456808" y="2181694"/>
            <a:ext cx="8232091" cy="1564040"/>
          </a:xfrm>
        </p:spPr>
        <p:txBody>
          <a:bodyPr lIns="0">
            <a:normAutofit/>
          </a:bodyPr>
          <a:lstStyle>
            <a:lvl1pPr algn="l">
              <a:defRPr sz="3600" b="1">
                <a:solidFill>
                  <a:schemeClr val="bg1"/>
                </a:solidFill>
              </a:defRPr>
            </a:lvl1pPr>
          </a:lstStyle>
          <a:p>
            <a:r>
              <a:rPr lang="en-US"/>
              <a:t>Click to edit Master </a:t>
            </a:r>
            <a:br>
              <a:rPr lang="en-US"/>
            </a:br>
            <a:r>
              <a:rPr lang="en-US"/>
              <a:t>title style</a:t>
            </a:r>
          </a:p>
        </p:txBody>
      </p:sp>
      <p:pic>
        <p:nvPicPr>
          <p:cNvPr id="5" name="Picture 4" descr="CAUSE DOOR for PPT.png">
            <a:extLst>
              <a:ext uri="{FF2B5EF4-FFF2-40B4-BE49-F238E27FC236}">
                <a16:creationId xmlns:a16="http://schemas.microsoft.com/office/drawing/2014/main" id="{EB83C529-DC68-0E48-8845-131B7517B0C0}"/>
              </a:ext>
            </a:extLst>
          </p:cNvPr>
          <p:cNvPicPr>
            <a:picLocks noChangeAspect="1"/>
          </p:cNvPicPr>
          <p:nvPr userDrawn="1"/>
        </p:nvPicPr>
        <p:blipFill>
          <a:blip r:embed="rId2" cstate="print">
            <a:alphaModFix amt="72000"/>
            <a:extLst>
              <a:ext uri="{28A0092B-C50C-407E-A947-70E740481C1C}">
                <a14:useLocalDpi xmlns:a14="http://schemas.microsoft.com/office/drawing/2010/main"/>
              </a:ext>
            </a:extLst>
          </a:blip>
          <a:stretch>
            <a:fillRect/>
          </a:stretch>
        </p:blipFill>
        <p:spPr>
          <a:xfrm>
            <a:off x="-1513859" y="0"/>
            <a:ext cx="6437833" cy="7244374"/>
          </a:xfrm>
          <a:prstGeom prst="rect">
            <a:avLst/>
          </a:prstGeom>
        </p:spPr>
      </p:pic>
    </p:spTree>
    <p:extLst>
      <p:ext uri="{BB962C8B-B14F-4D97-AF65-F5344CB8AC3E}">
        <p14:creationId xmlns:p14="http://schemas.microsoft.com/office/powerpoint/2010/main" val="12830579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46BFB-F88D-094C-901D-245CFD0E94BE}"/>
              </a:ext>
            </a:extLst>
          </p:cNvPr>
          <p:cNvSpPr>
            <a:spLocks noGrp="1"/>
          </p:cNvSpPr>
          <p:nvPr>
            <p:ph type="title"/>
          </p:nvPr>
        </p:nvSpPr>
        <p:spPr/>
        <p:txBody>
          <a:bodyPr/>
          <a:lstStyle>
            <a:lvl1pPr>
              <a:defRPr b="1" i="0">
                <a:solidFill>
                  <a:schemeClr val="tx1"/>
                </a:solidFill>
                <a:latin typeface="Franklin Gothic Heavy" panose="020B06030201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6780CA7F-D954-3547-8F59-C6C6BBF84BE1}"/>
              </a:ext>
            </a:extLst>
          </p:cNvPr>
          <p:cNvSpPr>
            <a:spLocks noGrp="1"/>
          </p:cNvSpPr>
          <p:nvPr>
            <p:ph idx="1"/>
          </p:nvPr>
        </p:nvSpPr>
        <p:spPr>
          <a:xfrm>
            <a:off x="838200" y="1825625"/>
            <a:ext cx="10515600" cy="3859624"/>
          </a:xfrm>
        </p:spPr>
        <p:txBody>
          <a:bodyPr/>
          <a:lstStyle>
            <a:lvl1pPr>
              <a:defRPr>
                <a:latin typeface="Franklin Gothic Medium" panose="020B0603020102020204" pitchFamily="34" charset="0"/>
              </a:defRPr>
            </a:lvl1pPr>
            <a:lvl2pPr>
              <a:defRPr>
                <a:latin typeface="Franklin Gothic Medium" panose="020B0603020102020204" pitchFamily="34" charset="0"/>
              </a:defRPr>
            </a:lvl2pPr>
            <a:lvl3pPr>
              <a:defRPr>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E5BCF2FF-B743-664C-9C35-0E243E5214BA}"/>
              </a:ext>
            </a:extLst>
          </p:cNvPr>
          <p:cNvSpPr/>
          <p:nvPr userDrawn="1"/>
        </p:nvSpPr>
        <p:spPr>
          <a:xfrm rot="16200000">
            <a:off x="6062041" y="-309774"/>
            <a:ext cx="67919" cy="1219200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5BF4AF52-6A27-AC48-992B-86A6DBE59BA5}"/>
              </a:ext>
            </a:extLst>
          </p:cNvPr>
          <p:cNvSpPr/>
          <p:nvPr userDrawn="1"/>
        </p:nvSpPr>
        <p:spPr>
          <a:xfrm>
            <a:off x="0" y="5820186"/>
            <a:ext cx="12192000" cy="1037814"/>
          </a:xfrm>
          <a:prstGeom prst="rect">
            <a:avLst/>
          </a:prstGeom>
          <a:solidFill>
            <a:srgbClr val="0081C6"/>
          </a:solidFill>
          <a:ln>
            <a:solidFill>
              <a:srgbClr val="0081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C04A42BD-7ACA-5045-836D-397B16E50A89}"/>
              </a:ext>
            </a:extLst>
          </p:cNvPr>
          <p:cNvPicPr>
            <a:picLocks noChangeAspect="1"/>
          </p:cNvPicPr>
          <p:nvPr userDrawn="1"/>
        </p:nvPicPr>
        <p:blipFill rotWithShape="1">
          <a:blip r:embed="rId2"/>
          <a:srcRect t="27076" r="-341" b="7312"/>
          <a:stretch/>
        </p:blipFill>
        <p:spPr>
          <a:xfrm>
            <a:off x="8110331" y="5933277"/>
            <a:ext cx="3836504" cy="811631"/>
          </a:xfrm>
          <a:prstGeom prst="rect">
            <a:avLst/>
          </a:prstGeom>
        </p:spPr>
      </p:pic>
      <p:sp>
        <p:nvSpPr>
          <p:cNvPr id="7" name="Rectangle 6">
            <a:extLst>
              <a:ext uri="{FF2B5EF4-FFF2-40B4-BE49-F238E27FC236}">
                <a16:creationId xmlns:a16="http://schemas.microsoft.com/office/drawing/2014/main" id="{5438D7FF-B2FE-5C4F-B581-DCE45B4495FA}"/>
              </a:ext>
            </a:extLst>
          </p:cNvPr>
          <p:cNvSpPr/>
          <p:nvPr userDrawn="1"/>
        </p:nvSpPr>
        <p:spPr>
          <a:xfrm rot="16200000">
            <a:off x="6062041" y="-343734"/>
            <a:ext cx="67919" cy="12192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40372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95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D779F-EE5D-47BF-8C2D-21E1D40756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B7445F8-896F-4AED-B440-3F219B91BE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B75C197-7341-4C5B-90AC-754227771B64}"/>
              </a:ext>
            </a:extLst>
          </p:cNvPr>
          <p:cNvSpPr>
            <a:spLocks noGrp="1"/>
          </p:cNvSpPr>
          <p:nvPr>
            <p:ph type="dt" sz="half" idx="10"/>
          </p:nvPr>
        </p:nvSpPr>
        <p:spPr/>
        <p:txBody>
          <a:bodyPr/>
          <a:lstStyle/>
          <a:p>
            <a:fld id="{A8C6BA21-0CF9-4F58-9027-C938C590634F}" type="datetimeFigureOut">
              <a:rPr lang="en-US" smtClean="0"/>
              <a:t>3/1/23</a:t>
            </a:fld>
            <a:endParaRPr lang="en-US"/>
          </a:p>
        </p:txBody>
      </p:sp>
      <p:sp>
        <p:nvSpPr>
          <p:cNvPr id="5" name="Footer Placeholder 4">
            <a:extLst>
              <a:ext uri="{FF2B5EF4-FFF2-40B4-BE49-F238E27FC236}">
                <a16:creationId xmlns:a16="http://schemas.microsoft.com/office/drawing/2014/main" id="{42C9E966-8478-40BB-BCE8-D292E41937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9294E6-7512-425C-94C1-D448EB76C9AF}"/>
              </a:ext>
            </a:extLst>
          </p:cNvPr>
          <p:cNvSpPr>
            <a:spLocks noGrp="1"/>
          </p:cNvSpPr>
          <p:nvPr>
            <p:ph type="sldNum" sz="quarter" idx="12"/>
          </p:nvPr>
        </p:nvSpPr>
        <p:spPr/>
        <p:txBody>
          <a:bodyPr/>
          <a:lstStyle/>
          <a:p>
            <a:fld id="{ACC38BA9-4450-4580-8FA7-7A8032D34FBE}" type="slidenum">
              <a:rPr lang="en-US" smtClean="0"/>
              <a:t>‹#›</a:t>
            </a:fld>
            <a:endParaRPr lang="en-US"/>
          </a:p>
        </p:txBody>
      </p:sp>
    </p:spTree>
    <p:extLst>
      <p:ext uri="{BB962C8B-B14F-4D97-AF65-F5344CB8AC3E}">
        <p14:creationId xmlns:p14="http://schemas.microsoft.com/office/powerpoint/2010/main" val="80025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30CAE-2D16-BD44-9CE8-9A0DCC1F0C00}"/>
              </a:ext>
            </a:extLst>
          </p:cNvPr>
          <p:cNvSpPr>
            <a:spLocks noGrp="1"/>
          </p:cNvSpPr>
          <p:nvPr>
            <p:ph type="title"/>
          </p:nvPr>
        </p:nvSpPr>
        <p:spPr>
          <a:xfrm>
            <a:off x="839788" y="365128"/>
            <a:ext cx="10515600" cy="1325563"/>
          </a:xfrm>
        </p:spPr>
        <p:txBody>
          <a:bodyPr>
            <a:normAutofit/>
          </a:bodyPr>
          <a:lstStyle>
            <a:lvl1pPr algn="l" defTabSz="685783" rtl="0" eaLnBrk="1" latinLnBrk="0" hangingPunct="1">
              <a:lnSpc>
                <a:spcPct val="90000"/>
              </a:lnSpc>
              <a:spcBef>
                <a:spcPct val="0"/>
              </a:spcBef>
              <a:buNone/>
              <a:defRPr lang="en-US" sz="3600" b="0" kern="1200">
                <a:solidFill>
                  <a:srgbClr val="009DD8"/>
                </a:solidFill>
                <a:latin typeface="Franklin Gothic Demi" panose="020B0703020102020204" pitchFamily="34" charset="0"/>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BCD0E137-22BC-F440-AB0D-87A192B29637}"/>
              </a:ext>
            </a:extLst>
          </p:cNvPr>
          <p:cNvSpPr>
            <a:spLocks noGrp="1"/>
          </p:cNvSpPr>
          <p:nvPr>
            <p:ph type="body" idx="1"/>
          </p:nvPr>
        </p:nvSpPr>
        <p:spPr>
          <a:xfrm>
            <a:off x="839789" y="1681163"/>
            <a:ext cx="5157787"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8B8710F-23D3-6444-831C-3D033738ADA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C20314-6899-3C4A-82B4-BF4F3896417F}"/>
              </a:ext>
            </a:extLst>
          </p:cNvPr>
          <p:cNvSpPr>
            <a:spLocks noGrp="1"/>
          </p:cNvSpPr>
          <p:nvPr>
            <p:ph type="body" sz="quarter" idx="3"/>
          </p:nvPr>
        </p:nvSpPr>
        <p:spPr>
          <a:xfrm>
            <a:off x="6172202" y="1681163"/>
            <a:ext cx="5183188" cy="823912"/>
          </a:xfrm>
        </p:spPr>
        <p:txBody>
          <a:bodyPr anchor="b"/>
          <a:lstStyle>
            <a:lvl1pPr marL="0" indent="0">
              <a:buNone/>
              <a:defRPr sz="1800" b="1"/>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0361D2D-F363-BC4B-A86D-EF6EE5837A86}"/>
              </a:ext>
            </a:extLst>
          </p:cNvPr>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963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0AD5C-52D9-33C4-CAF4-44DB1B07DD8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8E90FD4-1B57-AAD5-BDAE-5D5FF02B82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5AF2A7-3CB0-F7A3-D3B8-1A50BDB8FCD8}"/>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AC7155DD-8EC9-4423-F2A6-560EB3AC54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E44DB9-CB05-2FB1-D940-4F1EF274F9FE}"/>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2816775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575E9-3954-93A1-BF0E-D91997740E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774564-BA4F-95DE-964B-324B3A4B06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E02717-C11D-7BAD-F394-38983BCBC3DB}"/>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53F366DE-3B3F-F8C9-5B08-954D2C4B2D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167D1B-B49D-2A73-C39D-DF636B678B81}"/>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4290272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E3404-396C-A833-4C42-6EAD3E17DDB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0830506-0D5F-F019-5B75-90EEDC1DE42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0AF084-3E4E-176E-CA2F-2B664AA520DE}"/>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46931B7C-F673-7487-309C-5F08113630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8A29B3-B671-1B78-8E63-E425F301CC65}"/>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161449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A78FC-E936-C008-50F5-4C113EC2DA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69BCBF-3D79-B0BC-B635-6E669F2851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25F1182-4F90-BE2E-1153-B4C9D12594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7FE41B-69C0-D8DE-DD95-E7C38B750711}"/>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6" name="Footer Placeholder 5">
            <a:extLst>
              <a:ext uri="{FF2B5EF4-FFF2-40B4-BE49-F238E27FC236}">
                <a16:creationId xmlns:a16="http://schemas.microsoft.com/office/drawing/2014/main" id="{ED47F83E-24E0-0CE4-34E5-F414BF5217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32A13B-B1AA-9B74-787D-4AFA1B8A28B8}"/>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01189176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60085-29EA-1C27-D2C4-017A4A107E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1B7B3C-1651-6E2F-91B3-35EE2EC942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49FF94-39ED-F1E9-9D1D-32590456B2D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6B0AD4-959C-3238-CCBB-6B3E82B1E1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142034-8A32-AC9B-075C-504376330C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B33BC3-7744-00A3-3BA5-5611927B2FCA}"/>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8" name="Footer Placeholder 7">
            <a:extLst>
              <a:ext uri="{FF2B5EF4-FFF2-40B4-BE49-F238E27FC236}">
                <a16:creationId xmlns:a16="http://schemas.microsoft.com/office/drawing/2014/main" id="{BD1D3104-0EDA-8402-FE83-64A0EBE9E02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78BE085-30A4-3EB6-DD46-08311A7C7CA5}"/>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7084938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 SansBr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160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6648B-F58B-70C1-05B5-31EC9F4B00A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2915C3-54EC-24BD-69D4-CFF53DC75292}"/>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4" name="Footer Placeholder 3">
            <a:extLst>
              <a:ext uri="{FF2B5EF4-FFF2-40B4-BE49-F238E27FC236}">
                <a16:creationId xmlns:a16="http://schemas.microsoft.com/office/drawing/2014/main" id="{7F26AC81-D1D8-AF75-AC8B-68F5D70DA71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24C7655-D340-1A08-DCA5-0779C6852CCC}"/>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24688022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DFFFFDC-1D46-2CEA-1800-8CDC3573A914}"/>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3" name="Footer Placeholder 2">
            <a:extLst>
              <a:ext uri="{FF2B5EF4-FFF2-40B4-BE49-F238E27FC236}">
                <a16:creationId xmlns:a16="http://schemas.microsoft.com/office/drawing/2014/main" id="{753C82F9-25FE-B95D-3873-1ED8DA149EE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61CEC8-8920-216B-5BD1-4C8A76FB6DE9}"/>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403860775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69D6-3782-64E1-454E-C45CDE1E9F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6A4F56-A72B-6939-164C-3B90010161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EC0FBB-84B6-414A-ED87-B3253B6695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369E49-BC9F-A575-D171-8C44A146A93C}"/>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6" name="Footer Placeholder 5">
            <a:extLst>
              <a:ext uri="{FF2B5EF4-FFF2-40B4-BE49-F238E27FC236}">
                <a16:creationId xmlns:a16="http://schemas.microsoft.com/office/drawing/2014/main" id="{FF662E78-A05A-B9DD-0ED1-0D1F127CB4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8FB871-DE42-4B15-DC6D-3E10ECFD352D}"/>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52919932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3B74D-85E9-2F38-D9DD-A3814C3F664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6486BC-DAFB-B092-4925-D678F3FCB7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4411576-2AD0-1EFF-33A4-C9F3AD3B56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669F9C-D712-459F-FAC0-45FB7C2D54D9}"/>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6" name="Footer Placeholder 5">
            <a:extLst>
              <a:ext uri="{FF2B5EF4-FFF2-40B4-BE49-F238E27FC236}">
                <a16:creationId xmlns:a16="http://schemas.microsoft.com/office/drawing/2014/main" id="{AA14FF83-0355-C865-4997-60E75C2A35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4C4FCD-F0F9-4C91-9F8D-BBBD200BC810}"/>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68177790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A8AFF-FCA1-AA71-8EDE-34EEAE3CE57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920E588-3F24-AFA4-F241-DD628B3FB0D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6EE308-41D8-CFF4-30AC-3C37DEBCB011}"/>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4FCDE586-E117-41B1-8FDC-BB4BC034C3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62A2F3-EBBD-02A8-BCE9-47C219374EAE}"/>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19070038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48289AB-30ED-6AF0-FDC3-F81A6DFC64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43DAC2-22DA-F58B-1629-797311EA3D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455637-63CA-F13B-314C-7CE2DB91BC18}"/>
              </a:ext>
            </a:extLst>
          </p:cNvPr>
          <p:cNvSpPr>
            <a:spLocks noGrp="1"/>
          </p:cNvSpPr>
          <p:nvPr>
            <p:ph type="dt" sz="half" idx="10"/>
          </p:nvPr>
        </p:nvSpPr>
        <p:spPr/>
        <p:txBody>
          <a:body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E53ADC6A-B91E-FF50-085B-87BFE3E79C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5A82DD-2305-DF60-61ED-92A8FA48A4BE}"/>
              </a:ext>
            </a:extLst>
          </p:cNvPr>
          <p:cNvSpPr>
            <a:spLocks noGrp="1"/>
          </p:cNvSpPr>
          <p:nvPr>
            <p:ph type="sldNum" sz="quarter" idx="12"/>
          </p:nvPr>
        </p:nvSpPr>
        <p:spPr/>
        <p:txBody>
          <a:bodyPr/>
          <a:lstStyle/>
          <a:p>
            <a:fld id="{AE296181-E345-4518-94AA-E19175446303}" type="slidenum">
              <a:rPr lang="en-US" smtClean="0"/>
              <a:t>‹#›</a:t>
            </a:fld>
            <a:endParaRPr lang="en-US"/>
          </a:p>
        </p:txBody>
      </p:sp>
    </p:spTree>
    <p:extLst>
      <p:ext uri="{BB962C8B-B14F-4D97-AF65-F5344CB8AC3E}">
        <p14:creationId xmlns:p14="http://schemas.microsoft.com/office/powerpoint/2010/main" val="30285061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itle and Content">
    <p:bg>
      <p:bgPr>
        <a:gradFill>
          <a:gsLst>
            <a:gs pos="32000">
              <a:srgbClr val="009DD8"/>
            </a:gs>
            <a:gs pos="0">
              <a:srgbClr val="009DD8"/>
            </a:gs>
            <a:gs pos="32000">
              <a:schemeClr val="bg1"/>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5E0C88-A501-3D4E-A687-ACEEF3672B89}"/>
              </a:ext>
            </a:extLst>
          </p:cNvPr>
          <p:cNvPicPr>
            <a:picLocks noChangeAspect="1"/>
          </p:cNvPicPr>
          <p:nvPr userDrawn="1"/>
        </p:nvPicPr>
        <p:blipFill>
          <a:blip r:embed="rId2"/>
          <a:stretch>
            <a:fillRect/>
          </a:stretch>
        </p:blipFill>
        <p:spPr>
          <a:xfrm>
            <a:off x="0" y="0"/>
            <a:ext cx="3987800" cy="6858000"/>
          </a:xfrm>
          <a:prstGeom prst="rect">
            <a:avLst/>
          </a:prstGeom>
        </p:spPr>
      </p:pic>
      <p:pic>
        <p:nvPicPr>
          <p:cNvPr id="17" name="Picture 16">
            <a:extLst>
              <a:ext uri="{FF2B5EF4-FFF2-40B4-BE49-F238E27FC236}">
                <a16:creationId xmlns:a16="http://schemas.microsoft.com/office/drawing/2014/main" id="{D3875CB0-906A-E74F-B32A-3BE886D34778}"/>
              </a:ext>
            </a:extLst>
          </p:cNvPr>
          <p:cNvPicPr>
            <a:picLocks noChangeAspect="1"/>
          </p:cNvPicPr>
          <p:nvPr userDrawn="1"/>
        </p:nvPicPr>
        <p:blipFill>
          <a:blip r:embed="rId3"/>
          <a:stretch>
            <a:fillRect/>
          </a:stretch>
        </p:blipFill>
        <p:spPr>
          <a:xfrm>
            <a:off x="1188087" y="5635853"/>
            <a:ext cx="1737360" cy="953845"/>
          </a:xfrm>
          <a:prstGeom prst="rect">
            <a:avLst/>
          </a:prstGeom>
        </p:spPr>
      </p:pic>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a:xfrm>
            <a:off x="4267200" y="1442447"/>
            <a:ext cx="7363627" cy="43423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7931FE4B-A9BB-3948-BFD9-EE905CB944CE}"/>
              </a:ext>
            </a:extLst>
          </p:cNvPr>
          <p:cNvSpPr>
            <a:spLocks noGrp="1"/>
          </p:cNvSpPr>
          <p:nvPr>
            <p:ph type="title" hasCustomPrompt="1"/>
          </p:nvPr>
        </p:nvSpPr>
        <p:spPr>
          <a:xfrm>
            <a:off x="273051" y="236941"/>
            <a:ext cx="3567431" cy="5201335"/>
          </a:xfrm>
        </p:spPr>
        <p:txBody>
          <a:bodyPr anchor="ctr">
            <a:normAutofit/>
          </a:bodyPr>
          <a:lstStyle>
            <a:lvl1pPr algn="ctr">
              <a:defRPr sz="2100">
                <a:solidFill>
                  <a:schemeClr val="bg1"/>
                </a:solidFill>
              </a:defRPr>
            </a:lvl1pPr>
          </a:lstStyle>
          <a:p>
            <a:r>
              <a:rPr lang="en-US"/>
              <a:t>Click to edit Side title style</a:t>
            </a:r>
          </a:p>
        </p:txBody>
      </p:sp>
      <p:sp>
        <p:nvSpPr>
          <p:cNvPr id="22" name="Text Placeholder 21">
            <a:extLst>
              <a:ext uri="{FF2B5EF4-FFF2-40B4-BE49-F238E27FC236}">
                <a16:creationId xmlns:a16="http://schemas.microsoft.com/office/drawing/2014/main" id="{A8AF59CC-19D0-7748-9A54-FB1F556E5320}"/>
              </a:ext>
            </a:extLst>
          </p:cNvPr>
          <p:cNvSpPr>
            <a:spLocks noGrp="1"/>
          </p:cNvSpPr>
          <p:nvPr>
            <p:ph type="body" sz="quarter" idx="10"/>
          </p:nvPr>
        </p:nvSpPr>
        <p:spPr>
          <a:xfrm>
            <a:off x="4267200" y="228602"/>
            <a:ext cx="6400800" cy="936625"/>
          </a:xfrm>
        </p:spPr>
        <p:txBody>
          <a:bodyPr/>
          <a:lstStyle>
            <a:lvl1pPr marL="0" indent="0">
              <a:buFontTx/>
              <a:buNone/>
              <a:defRPr b="1">
                <a:solidFill>
                  <a:srgbClr val="009DD8"/>
                </a:solidFill>
                <a:latin typeface="+mj-lt"/>
              </a:defRPr>
            </a:lvl1pPr>
            <a:lvl2pPr marL="342900" indent="0">
              <a:buFontTx/>
              <a:buNone/>
              <a:defRPr b="1">
                <a:solidFill>
                  <a:srgbClr val="009DD8"/>
                </a:solidFill>
                <a:latin typeface="+mj-lt"/>
              </a:defRPr>
            </a:lvl2pPr>
            <a:lvl3pPr marL="685800" indent="0">
              <a:buFontTx/>
              <a:buNone/>
              <a:defRPr b="1">
                <a:solidFill>
                  <a:srgbClr val="009DD8"/>
                </a:solidFill>
                <a:latin typeface="+mj-lt"/>
              </a:defRPr>
            </a:lvl3pPr>
            <a:lvl4pPr marL="1028700" indent="0">
              <a:buFontTx/>
              <a:buNone/>
              <a:defRPr b="1">
                <a:solidFill>
                  <a:srgbClr val="009DD8"/>
                </a:solidFill>
                <a:latin typeface="+mj-lt"/>
              </a:defRPr>
            </a:lvl4pPr>
            <a:lvl5pPr marL="1371600" indent="0">
              <a:buFontTx/>
              <a:buNone/>
              <a:defRPr b="1">
                <a:solidFill>
                  <a:srgbClr val="009DD8"/>
                </a:solidFill>
                <a:latin typeface="+mj-lt"/>
              </a:defRPr>
            </a:lvl5pPr>
          </a:lstStyle>
          <a:p>
            <a:pPr lvl="0"/>
            <a:r>
              <a:rPr lang="en-US"/>
              <a:t>Edit Master text styles</a:t>
            </a:r>
          </a:p>
        </p:txBody>
      </p:sp>
    </p:spTree>
    <p:extLst>
      <p:ext uri="{BB962C8B-B14F-4D97-AF65-F5344CB8AC3E}">
        <p14:creationId xmlns:p14="http://schemas.microsoft.com/office/powerpoint/2010/main" val="15495533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4800600" y="4696097"/>
            <a:ext cx="6746965" cy="1594940"/>
          </a:xfrm>
        </p:spPr>
        <p:txBody>
          <a:bodyPr anchor="t"/>
          <a:lstStyle>
            <a:lvl1pPr algn="l">
              <a:defRPr sz="3200">
                <a:solidFill>
                  <a:schemeClr val="bg1"/>
                </a:solidFill>
              </a:defRPr>
            </a:lvl1pPr>
          </a:lstStyle>
          <a:p>
            <a:r>
              <a:rPr lang="en-US"/>
              <a:t>Click to edit Master title style</a:t>
            </a: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702591" y="3602038"/>
            <a:ext cx="9144000" cy="1655762"/>
          </a:xfrm>
        </p:spPr>
        <p:txBody>
          <a:bodyPr lIns="0" anchor="t">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29" name="Picture 28">
            <a:extLst>
              <a:ext uri="{FF2B5EF4-FFF2-40B4-BE49-F238E27FC236}">
                <a16:creationId xmlns:a16="http://schemas.microsoft.com/office/drawing/2014/main" id="{57BF97AA-2482-B146-BCEC-61A3E6319AD3}"/>
              </a:ext>
            </a:extLst>
          </p:cNvPr>
          <p:cNvPicPr>
            <a:picLocks noChangeAspect="1"/>
          </p:cNvPicPr>
          <p:nvPr userDrawn="1"/>
        </p:nvPicPr>
        <p:blipFill>
          <a:blip r:embed="rId3"/>
          <a:stretch>
            <a:fillRect/>
          </a:stretch>
        </p:blipFill>
        <p:spPr>
          <a:xfrm>
            <a:off x="702591" y="5778503"/>
            <a:ext cx="3008376" cy="651815"/>
          </a:xfrm>
          <a:prstGeom prst="rect">
            <a:avLst/>
          </a:prstGeom>
        </p:spPr>
      </p:pic>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702591" y="1895258"/>
            <a:ext cx="9144000" cy="1325563"/>
          </a:xfrm>
        </p:spPr>
        <p:txBody>
          <a:bodyPr lIns="0">
            <a:normAutofit/>
          </a:bodyPr>
          <a:lstStyle>
            <a:lvl1pPr algn="l">
              <a:defRPr sz="3600" b="1">
                <a:solidFill>
                  <a:schemeClr val="bg1"/>
                </a:solidFill>
              </a:defRPr>
            </a:lvl1pPr>
          </a:lstStyle>
          <a:p>
            <a:r>
              <a:rPr lang="en-US"/>
              <a:t>Click to edit Master title style</a:t>
            </a:r>
          </a:p>
        </p:txBody>
      </p:sp>
    </p:spTree>
    <p:extLst>
      <p:ext uri="{BB962C8B-B14F-4D97-AF65-F5344CB8AC3E}">
        <p14:creationId xmlns:p14="http://schemas.microsoft.com/office/powerpoint/2010/main" val="15558934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3456808" y="3888476"/>
            <a:ext cx="8232091" cy="2038598"/>
          </a:xfrm>
        </p:spPr>
        <p:txBody>
          <a:bodyPr lIns="0" anchor="t">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4" name="Title 23">
            <a:extLst>
              <a:ext uri="{FF2B5EF4-FFF2-40B4-BE49-F238E27FC236}">
                <a16:creationId xmlns:a16="http://schemas.microsoft.com/office/drawing/2014/main" id="{01B9B9A1-3E45-C247-B51A-06D5AF5BC76D}"/>
              </a:ext>
            </a:extLst>
          </p:cNvPr>
          <p:cNvSpPr>
            <a:spLocks noGrp="1"/>
          </p:cNvSpPr>
          <p:nvPr>
            <p:ph type="title" hasCustomPrompt="1"/>
          </p:nvPr>
        </p:nvSpPr>
        <p:spPr>
          <a:xfrm>
            <a:off x="3456808" y="2181694"/>
            <a:ext cx="8232091" cy="1564040"/>
          </a:xfrm>
        </p:spPr>
        <p:txBody>
          <a:bodyPr lIns="0">
            <a:normAutofit/>
          </a:bodyPr>
          <a:lstStyle>
            <a:lvl1pPr algn="l">
              <a:defRPr sz="3600" b="1">
                <a:solidFill>
                  <a:schemeClr val="bg1"/>
                </a:solidFill>
              </a:defRPr>
            </a:lvl1pPr>
          </a:lstStyle>
          <a:p>
            <a:r>
              <a:rPr lang="en-US"/>
              <a:t>Click to edit Master </a:t>
            </a:r>
            <a:br>
              <a:rPr lang="en-US"/>
            </a:br>
            <a:r>
              <a:rPr lang="en-US"/>
              <a:t>title style</a:t>
            </a:r>
          </a:p>
        </p:txBody>
      </p:sp>
      <p:pic>
        <p:nvPicPr>
          <p:cNvPr id="5" name="Picture 4">
            <a:extLst>
              <a:ext uri="{FF2B5EF4-FFF2-40B4-BE49-F238E27FC236}">
                <a16:creationId xmlns:a16="http://schemas.microsoft.com/office/drawing/2014/main" id="{EB83C529-DC68-0E48-8845-131B7517B0C0}"/>
              </a:ext>
            </a:extLst>
          </p:cNvPr>
          <p:cNvPicPr>
            <a:picLocks noChangeAspect="1"/>
          </p:cNvPicPr>
          <p:nvPr userDrawn="1"/>
        </p:nvPicPr>
        <p:blipFill>
          <a:blip r:embed="rId2"/>
          <a:stretch>
            <a:fillRect/>
          </a:stretch>
        </p:blipFill>
        <p:spPr>
          <a:xfrm>
            <a:off x="-1470997" y="403272"/>
            <a:ext cx="6437833" cy="6437833"/>
          </a:xfrm>
          <a:prstGeom prst="rect">
            <a:avLst/>
          </a:prstGeom>
        </p:spPr>
      </p:pic>
    </p:spTree>
    <p:extLst>
      <p:ext uri="{BB962C8B-B14F-4D97-AF65-F5344CB8AC3E}">
        <p14:creationId xmlns:p14="http://schemas.microsoft.com/office/powerpoint/2010/main" val="28505592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bg>
      <p:bgPr>
        <a:gradFill>
          <a:gsLst>
            <a:gs pos="32000">
              <a:srgbClr val="009DD8"/>
            </a:gs>
            <a:gs pos="0">
              <a:srgbClr val="009DD8"/>
            </a:gs>
            <a:gs pos="32000">
              <a:schemeClr val="bg1"/>
            </a:gs>
          </a:gsLst>
          <a:lin ang="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5E0C88-A501-3D4E-A687-ACEEF3672B89}"/>
              </a:ext>
            </a:extLst>
          </p:cNvPr>
          <p:cNvPicPr>
            <a:picLocks noChangeAspect="1"/>
          </p:cNvPicPr>
          <p:nvPr userDrawn="1"/>
        </p:nvPicPr>
        <p:blipFill>
          <a:blip r:embed="rId2"/>
          <a:stretch>
            <a:fillRect/>
          </a:stretch>
        </p:blipFill>
        <p:spPr>
          <a:xfrm>
            <a:off x="0" y="0"/>
            <a:ext cx="3987800" cy="6858000"/>
          </a:xfrm>
          <a:prstGeom prst="rect">
            <a:avLst/>
          </a:prstGeom>
        </p:spPr>
      </p:pic>
      <p:pic>
        <p:nvPicPr>
          <p:cNvPr id="17" name="Picture 16">
            <a:extLst>
              <a:ext uri="{FF2B5EF4-FFF2-40B4-BE49-F238E27FC236}">
                <a16:creationId xmlns:a16="http://schemas.microsoft.com/office/drawing/2014/main" id="{D3875CB0-906A-E74F-B32A-3BE886D34778}"/>
              </a:ext>
            </a:extLst>
          </p:cNvPr>
          <p:cNvPicPr>
            <a:picLocks noChangeAspect="1"/>
          </p:cNvPicPr>
          <p:nvPr userDrawn="1"/>
        </p:nvPicPr>
        <p:blipFill>
          <a:blip r:embed="rId3"/>
          <a:stretch>
            <a:fillRect/>
          </a:stretch>
        </p:blipFill>
        <p:spPr>
          <a:xfrm>
            <a:off x="1188087" y="5635853"/>
            <a:ext cx="1737360" cy="953845"/>
          </a:xfrm>
          <a:prstGeom prst="rect">
            <a:avLst/>
          </a:prstGeom>
        </p:spPr>
      </p:pic>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a:xfrm>
            <a:off x="4267200" y="1442447"/>
            <a:ext cx="7363627" cy="43423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7931FE4B-A9BB-3948-BFD9-EE905CB944CE}"/>
              </a:ext>
            </a:extLst>
          </p:cNvPr>
          <p:cNvSpPr>
            <a:spLocks noGrp="1"/>
          </p:cNvSpPr>
          <p:nvPr>
            <p:ph type="title" hasCustomPrompt="1"/>
          </p:nvPr>
        </p:nvSpPr>
        <p:spPr>
          <a:xfrm>
            <a:off x="273051" y="236941"/>
            <a:ext cx="3567431" cy="5201335"/>
          </a:xfrm>
        </p:spPr>
        <p:txBody>
          <a:bodyPr anchor="ctr">
            <a:normAutofit/>
          </a:bodyPr>
          <a:lstStyle>
            <a:lvl1pPr algn="ctr">
              <a:defRPr sz="2100">
                <a:solidFill>
                  <a:schemeClr val="bg1"/>
                </a:solidFill>
              </a:defRPr>
            </a:lvl1pPr>
          </a:lstStyle>
          <a:p>
            <a:r>
              <a:rPr lang="en-US"/>
              <a:t>Click to edit Side title style</a:t>
            </a:r>
          </a:p>
        </p:txBody>
      </p:sp>
      <p:sp>
        <p:nvSpPr>
          <p:cNvPr id="22" name="Text Placeholder 21">
            <a:extLst>
              <a:ext uri="{FF2B5EF4-FFF2-40B4-BE49-F238E27FC236}">
                <a16:creationId xmlns:a16="http://schemas.microsoft.com/office/drawing/2014/main" id="{A8AF59CC-19D0-7748-9A54-FB1F556E5320}"/>
              </a:ext>
            </a:extLst>
          </p:cNvPr>
          <p:cNvSpPr>
            <a:spLocks noGrp="1"/>
          </p:cNvSpPr>
          <p:nvPr>
            <p:ph type="body" sz="quarter" idx="10"/>
          </p:nvPr>
        </p:nvSpPr>
        <p:spPr>
          <a:xfrm>
            <a:off x="4267200" y="228602"/>
            <a:ext cx="6400800" cy="936625"/>
          </a:xfrm>
        </p:spPr>
        <p:txBody>
          <a:bodyPr/>
          <a:lstStyle>
            <a:lvl1pPr marL="0" indent="0">
              <a:buFontTx/>
              <a:buNone/>
              <a:defRPr b="1">
                <a:solidFill>
                  <a:srgbClr val="009DD8"/>
                </a:solidFill>
                <a:latin typeface="+mj-lt"/>
              </a:defRPr>
            </a:lvl1pPr>
            <a:lvl2pPr marL="342900" indent="0">
              <a:buFontTx/>
              <a:buNone/>
              <a:defRPr b="1">
                <a:solidFill>
                  <a:srgbClr val="009DD8"/>
                </a:solidFill>
                <a:latin typeface="+mj-lt"/>
              </a:defRPr>
            </a:lvl2pPr>
            <a:lvl3pPr marL="685800" indent="0">
              <a:buFontTx/>
              <a:buNone/>
              <a:defRPr b="1">
                <a:solidFill>
                  <a:srgbClr val="009DD8"/>
                </a:solidFill>
                <a:latin typeface="+mj-lt"/>
              </a:defRPr>
            </a:lvl3pPr>
            <a:lvl4pPr marL="1028700" indent="0">
              <a:buFontTx/>
              <a:buNone/>
              <a:defRPr b="1">
                <a:solidFill>
                  <a:srgbClr val="009DD8"/>
                </a:solidFill>
                <a:latin typeface="+mj-lt"/>
              </a:defRPr>
            </a:lvl4pPr>
            <a:lvl5pPr marL="1371600" indent="0">
              <a:buFontTx/>
              <a:buNone/>
              <a:defRPr b="1">
                <a:solidFill>
                  <a:srgbClr val="009DD8"/>
                </a:solidFill>
                <a:latin typeface="+mj-lt"/>
              </a:defRPr>
            </a:lvl5pPr>
          </a:lstStyle>
          <a:p>
            <a:pPr lvl="0"/>
            <a:r>
              <a:rPr lang="en-US"/>
              <a:t>Edit Master text styles</a:t>
            </a:r>
          </a:p>
        </p:txBody>
      </p:sp>
    </p:spTree>
    <p:extLst>
      <p:ext uri="{BB962C8B-B14F-4D97-AF65-F5344CB8AC3E}">
        <p14:creationId xmlns:p14="http://schemas.microsoft.com/office/powerpoint/2010/main" val="25844654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A3E3F3BA-B233-584D-8812-6E52BBD60C12}"/>
              </a:ext>
            </a:extLst>
          </p:cNvPr>
          <p:cNvSpPr>
            <a:spLocks noGrp="1"/>
          </p:cNvSpPr>
          <p:nvPr>
            <p:ph type="dt" sz="half" idx="10"/>
          </p:nvPr>
        </p:nvSpPr>
        <p:spPr/>
        <p:txBody>
          <a:bodyPr/>
          <a:lstStyle/>
          <a:p>
            <a:pPr algn="r"/>
            <a:fld id="{7AF68CEF-5115-4840-8FF2-1FDC744FED60}" type="datetime2">
              <a:rPr lang="en-US" smtClean="0"/>
              <a:t>Wednesday, March 1, 2023</a:t>
            </a:fld>
            <a:endParaRPr lang="en-US"/>
          </a:p>
        </p:txBody>
      </p:sp>
      <p:sp>
        <p:nvSpPr>
          <p:cNvPr id="9" name="Footer Placeholder 8">
            <a:extLst>
              <a:ext uri="{FF2B5EF4-FFF2-40B4-BE49-F238E27FC236}">
                <a16:creationId xmlns:a16="http://schemas.microsoft.com/office/drawing/2014/main" id="{4220829A-57BF-DB48-A047-2DDA385A0B47}"/>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E9E48F7-16E0-0146-A9CE-DD02007E8940}"/>
              </a:ext>
            </a:extLst>
          </p:cNvPr>
          <p:cNvSpPr>
            <a:spLocks noGrp="1"/>
          </p:cNvSpPr>
          <p:nvPr>
            <p:ph type="sldNum" sz="quarter" idx="12"/>
          </p:nvPr>
        </p:nvSpPr>
        <p:spPr/>
        <p:txBody>
          <a:bodyPr/>
          <a:lstStyle/>
          <a:p>
            <a:r>
              <a:rPr lang="en-US"/>
              <a:t>|   </a:t>
            </a:r>
            <a:fld id="{C2DDD5BA-F22B-BD42-8228-E4995F3E1D59}" type="slidenum">
              <a:rPr lang="en-US" smtClean="0"/>
              <a:pPr/>
              <a:t>‹#›</a:t>
            </a:fld>
            <a:endParaRPr lang="en-US"/>
          </a:p>
        </p:txBody>
      </p:sp>
      <p:sp>
        <p:nvSpPr>
          <p:cNvPr id="11" name="Title 10">
            <a:extLst>
              <a:ext uri="{FF2B5EF4-FFF2-40B4-BE49-F238E27FC236}">
                <a16:creationId xmlns:a16="http://schemas.microsoft.com/office/drawing/2014/main" id="{209588CD-2395-3443-85C0-77DAA7C729C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1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588C-E329-0443-9E19-43BE1A8E6E8B}"/>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1F72C14-AB78-6D4C-BFF8-9310382F5936}"/>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B778585-4AD2-8047-859B-0F6B84A15DC6}"/>
              </a:ext>
            </a:extLst>
          </p:cNvPr>
          <p:cNvSpPr>
            <a:spLocks noGrp="1"/>
          </p:cNvSpPr>
          <p:nvPr>
            <p:ph type="dt" sz="half" idx="10"/>
          </p:nvPr>
        </p:nvSpPr>
        <p:spPr/>
        <p:txBody>
          <a:bodyPr/>
          <a:lstStyle/>
          <a:p>
            <a:fld id="{887B55D3-BB97-5147-8530-8B6199650A69}" type="datetime2">
              <a:rPr lang="en-US" smtClean="0"/>
              <a:t>Wednesday, March 1, 2023</a:t>
            </a:fld>
            <a:endParaRPr lang="en-US"/>
          </a:p>
        </p:txBody>
      </p:sp>
      <p:sp>
        <p:nvSpPr>
          <p:cNvPr id="5" name="Footer Placeholder 4">
            <a:extLst>
              <a:ext uri="{FF2B5EF4-FFF2-40B4-BE49-F238E27FC236}">
                <a16:creationId xmlns:a16="http://schemas.microsoft.com/office/drawing/2014/main" id="{4DA0CD74-A1AA-BE40-B4EE-6306E4FA73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2B0336-3C3C-E842-B678-E2B08C263D7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86343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7CBD4-1C2B-7948-9F0F-74D47E435C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F61AD8-2CC8-934D-810E-E8E32A31F5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CA48A5-2557-8D4A-940C-494C63859B1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57129D-1FE0-254C-9146-DB016402BF52}"/>
              </a:ext>
            </a:extLst>
          </p:cNvPr>
          <p:cNvSpPr>
            <a:spLocks noGrp="1"/>
          </p:cNvSpPr>
          <p:nvPr>
            <p:ph type="dt" sz="half" idx="10"/>
          </p:nvPr>
        </p:nvSpPr>
        <p:spPr/>
        <p:txBody>
          <a:bodyPr/>
          <a:lstStyle/>
          <a:p>
            <a:fld id="{BCD4550E-EA34-3A40-9FF9-5E71F1D05B7D}" type="datetime2">
              <a:rPr lang="en-US" smtClean="0"/>
              <a:t>Wednesday, March 1, 2023</a:t>
            </a:fld>
            <a:endParaRPr lang="en-US"/>
          </a:p>
        </p:txBody>
      </p:sp>
      <p:sp>
        <p:nvSpPr>
          <p:cNvPr id="6" name="Footer Placeholder 5">
            <a:extLst>
              <a:ext uri="{FF2B5EF4-FFF2-40B4-BE49-F238E27FC236}">
                <a16:creationId xmlns:a16="http://schemas.microsoft.com/office/drawing/2014/main" id="{2359C04A-85C0-8F44-9495-AAEEF826FE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CFD53C-A8B3-3F4D-BB3D-E983705C832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5742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30CAE-2D16-BD44-9CE8-9A0DCC1F0C00}"/>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D0E137-22BC-F440-AB0D-87A192B29637}"/>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8B8710F-23D3-6444-831C-3D033738ADA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C20314-6899-3C4A-82B4-BF4F3896417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0361D2D-F363-BC4B-A86D-EF6EE5837A86}"/>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C05B1C-7CD3-B848-98B5-FD355945ECF0}"/>
              </a:ext>
            </a:extLst>
          </p:cNvPr>
          <p:cNvSpPr>
            <a:spLocks noGrp="1"/>
          </p:cNvSpPr>
          <p:nvPr>
            <p:ph type="dt" sz="half" idx="10"/>
          </p:nvPr>
        </p:nvSpPr>
        <p:spPr/>
        <p:txBody>
          <a:bodyPr/>
          <a:lstStyle/>
          <a:p>
            <a:fld id="{BC5CE0CA-4301-0149-89F2-FE7296D6851E}" type="datetime2">
              <a:rPr lang="en-US" smtClean="0"/>
              <a:t>Wednesday, March 1, 2023</a:t>
            </a:fld>
            <a:endParaRPr lang="en-US"/>
          </a:p>
        </p:txBody>
      </p:sp>
      <p:sp>
        <p:nvSpPr>
          <p:cNvPr id="8" name="Footer Placeholder 7">
            <a:extLst>
              <a:ext uri="{FF2B5EF4-FFF2-40B4-BE49-F238E27FC236}">
                <a16:creationId xmlns:a16="http://schemas.microsoft.com/office/drawing/2014/main" id="{C19BE87A-70D3-DA48-9EEA-17DE0F0248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80B42BF-1C43-944F-81B4-7312975A4D1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90307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26B23-2207-124A-B6C7-074D031E54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607770-FF57-2347-A4C4-1946A9335C20}"/>
              </a:ext>
            </a:extLst>
          </p:cNvPr>
          <p:cNvSpPr>
            <a:spLocks noGrp="1"/>
          </p:cNvSpPr>
          <p:nvPr>
            <p:ph type="dt" sz="half" idx="10"/>
          </p:nvPr>
        </p:nvSpPr>
        <p:spPr/>
        <p:txBody>
          <a:bodyPr/>
          <a:lstStyle/>
          <a:p>
            <a:fld id="{DE68A4B0-41CD-FD45-9782-1117270AB7EA}" type="datetime2">
              <a:rPr lang="en-US" smtClean="0"/>
              <a:t>Wednesday, March 1, 2023</a:t>
            </a:fld>
            <a:endParaRPr lang="en-US"/>
          </a:p>
        </p:txBody>
      </p:sp>
      <p:sp>
        <p:nvSpPr>
          <p:cNvPr id="4" name="Footer Placeholder 3">
            <a:extLst>
              <a:ext uri="{FF2B5EF4-FFF2-40B4-BE49-F238E27FC236}">
                <a16:creationId xmlns:a16="http://schemas.microsoft.com/office/drawing/2014/main" id="{36CA97F6-365E-C94B-8586-D937D75C7B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82E54C-CDAC-4C4F-8D2A-D031C53F1254}"/>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15760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8FF690-C850-954A-A475-67392D843A4D}"/>
              </a:ext>
            </a:extLst>
          </p:cNvPr>
          <p:cNvSpPr>
            <a:spLocks noGrp="1"/>
          </p:cNvSpPr>
          <p:nvPr>
            <p:ph type="dt" sz="half" idx="10"/>
          </p:nvPr>
        </p:nvSpPr>
        <p:spPr/>
        <p:txBody>
          <a:bodyPr/>
          <a:lstStyle/>
          <a:p>
            <a:fld id="{0AE2F58F-9D0C-5349-A282-4BB82A77869A}" type="datetime2">
              <a:rPr lang="en-US" smtClean="0"/>
              <a:t>Wednesday, March 1, 2023</a:t>
            </a:fld>
            <a:endParaRPr lang="en-US"/>
          </a:p>
        </p:txBody>
      </p:sp>
      <p:sp>
        <p:nvSpPr>
          <p:cNvPr id="3" name="Footer Placeholder 2">
            <a:extLst>
              <a:ext uri="{FF2B5EF4-FFF2-40B4-BE49-F238E27FC236}">
                <a16:creationId xmlns:a16="http://schemas.microsoft.com/office/drawing/2014/main" id="{6ABD29A7-6287-C748-A352-57528285DF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54E9969-E802-E14D-999D-26321175DA2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23691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BBB73-AFE0-664E-BC6B-D157828F3210}"/>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CCFDC63-1A22-4944-812C-2BFAF2A6FD3E}"/>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156A02-AF2A-9348-BC33-3D4C404C0F85}"/>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A63C6307-CEFB-304F-9F86-9A2E8DD56344}"/>
              </a:ext>
            </a:extLst>
          </p:cNvPr>
          <p:cNvSpPr>
            <a:spLocks noGrp="1"/>
          </p:cNvSpPr>
          <p:nvPr>
            <p:ph type="dt" sz="half" idx="10"/>
          </p:nvPr>
        </p:nvSpPr>
        <p:spPr/>
        <p:txBody>
          <a:bodyPr/>
          <a:lstStyle/>
          <a:p>
            <a:fld id="{60B582BE-90C3-CF49-B08B-4FCCF8767602}" type="datetime2">
              <a:rPr lang="en-US" smtClean="0"/>
              <a:t>Wednesday, March 1, 2023</a:t>
            </a:fld>
            <a:endParaRPr lang="en-US"/>
          </a:p>
        </p:txBody>
      </p:sp>
      <p:sp>
        <p:nvSpPr>
          <p:cNvPr id="6" name="Footer Placeholder 5">
            <a:extLst>
              <a:ext uri="{FF2B5EF4-FFF2-40B4-BE49-F238E27FC236}">
                <a16:creationId xmlns:a16="http://schemas.microsoft.com/office/drawing/2014/main" id="{F709C3EA-8B0B-8246-A384-D76A68DCD1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3343EB-9302-CE4E-8A39-C146FE7754D7}"/>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799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AD68F-322B-E84A-AB37-9BA62FC38CBC}"/>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355E606-1BBA-4647-A8BE-39B41E753E98}"/>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F6000861-637D-EE47-ACE5-EB0B5476562D}"/>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85046FDE-46A8-DC41-A6E1-6C7AA1DE5373}"/>
              </a:ext>
            </a:extLst>
          </p:cNvPr>
          <p:cNvSpPr>
            <a:spLocks noGrp="1"/>
          </p:cNvSpPr>
          <p:nvPr>
            <p:ph type="dt" sz="half" idx="10"/>
          </p:nvPr>
        </p:nvSpPr>
        <p:spPr/>
        <p:txBody>
          <a:bodyPr/>
          <a:lstStyle/>
          <a:p>
            <a:fld id="{BE8C888A-508A-4A4F-AFDB-6E43986D91A0}" type="datetime2">
              <a:rPr lang="en-US" smtClean="0"/>
              <a:t>Wednesday, March 1, 2023</a:t>
            </a:fld>
            <a:endParaRPr lang="en-US"/>
          </a:p>
        </p:txBody>
      </p:sp>
      <p:sp>
        <p:nvSpPr>
          <p:cNvPr id="6" name="Footer Placeholder 5">
            <a:extLst>
              <a:ext uri="{FF2B5EF4-FFF2-40B4-BE49-F238E27FC236}">
                <a16:creationId xmlns:a16="http://schemas.microsoft.com/office/drawing/2014/main" id="{9F52E055-518F-9546-99C0-C756DC11EC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F12177-F880-A842-8B07-C7E141044A7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14984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6DD90-84B9-3B42-9531-4E125EE2BD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53AEF6-CA6F-894C-804F-2B4DCE034DF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21AA79-182B-E249-A4F3-49D75A5D7628}"/>
              </a:ext>
            </a:extLst>
          </p:cNvPr>
          <p:cNvSpPr>
            <a:spLocks noGrp="1"/>
          </p:cNvSpPr>
          <p:nvPr>
            <p:ph type="dt" sz="half" idx="10"/>
          </p:nvPr>
        </p:nvSpPr>
        <p:spPr/>
        <p:txBody>
          <a:bodyPr/>
          <a:lstStyle/>
          <a:p>
            <a:fld id="{739E2A33-6D8E-D341-A79C-07C2F8D4B45C}" type="datetime2">
              <a:rPr lang="en-US" smtClean="0"/>
              <a:t>Wednesday, March 1, 2023</a:t>
            </a:fld>
            <a:endParaRPr lang="en-US"/>
          </a:p>
        </p:txBody>
      </p:sp>
      <p:sp>
        <p:nvSpPr>
          <p:cNvPr id="5" name="Footer Placeholder 4">
            <a:extLst>
              <a:ext uri="{FF2B5EF4-FFF2-40B4-BE49-F238E27FC236}">
                <a16:creationId xmlns:a16="http://schemas.microsoft.com/office/drawing/2014/main" id="{E17636D2-8C30-7443-83EA-82145886A2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9016EA-8373-1440-9AC6-49E815F1CEDC}"/>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940900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a:xfrm>
            <a:off x="4267200" y="1442447"/>
            <a:ext cx="7363627" cy="43423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7931FE4B-A9BB-3948-BFD9-EE905CB944CE}"/>
              </a:ext>
            </a:extLst>
          </p:cNvPr>
          <p:cNvSpPr>
            <a:spLocks noGrp="1"/>
          </p:cNvSpPr>
          <p:nvPr>
            <p:ph type="title" hasCustomPrompt="1"/>
          </p:nvPr>
        </p:nvSpPr>
        <p:spPr>
          <a:xfrm>
            <a:off x="273051" y="236939"/>
            <a:ext cx="3567431" cy="5547844"/>
          </a:xfrm>
        </p:spPr>
        <p:txBody>
          <a:bodyPr anchor="ctr">
            <a:normAutofit/>
          </a:bodyPr>
          <a:lstStyle>
            <a:lvl1pPr algn="ctr">
              <a:defRPr sz="2100">
                <a:solidFill>
                  <a:schemeClr val="bg1"/>
                </a:solidFill>
              </a:defRPr>
            </a:lvl1pPr>
          </a:lstStyle>
          <a:p>
            <a:r>
              <a:rPr lang="en-US"/>
              <a:t>Click to edit Side title style</a:t>
            </a:r>
          </a:p>
        </p:txBody>
      </p:sp>
      <p:sp>
        <p:nvSpPr>
          <p:cNvPr id="22" name="Text Placeholder 21">
            <a:extLst>
              <a:ext uri="{FF2B5EF4-FFF2-40B4-BE49-F238E27FC236}">
                <a16:creationId xmlns:a16="http://schemas.microsoft.com/office/drawing/2014/main" id="{A8AF59CC-19D0-7748-9A54-FB1F556E5320}"/>
              </a:ext>
            </a:extLst>
          </p:cNvPr>
          <p:cNvSpPr>
            <a:spLocks noGrp="1"/>
          </p:cNvSpPr>
          <p:nvPr>
            <p:ph type="body" sz="quarter" idx="10"/>
          </p:nvPr>
        </p:nvSpPr>
        <p:spPr>
          <a:xfrm>
            <a:off x="4267200" y="228602"/>
            <a:ext cx="6400800" cy="936625"/>
          </a:xfrm>
        </p:spPr>
        <p:txBody>
          <a:bodyPr/>
          <a:lstStyle>
            <a:lvl1pPr marL="0" indent="0">
              <a:buFontTx/>
              <a:buNone/>
              <a:defRPr b="1">
                <a:solidFill>
                  <a:srgbClr val="009DD8"/>
                </a:solidFill>
                <a:latin typeface="+mj-lt"/>
              </a:defRPr>
            </a:lvl1pPr>
            <a:lvl2pPr marL="342900" indent="0">
              <a:buFontTx/>
              <a:buNone/>
              <a:defRPr b="1">
                <a:solidFill>
                  <a:srgbClr val="009DD8"/>
                </a:solidFill>
                <a:latin typeface="+mj-lt"/>
              </a:defRPr>
            </a:lvl2pPr>
            <a:lvl3pPr marL="685800" indent="0">
              <a:buFontTx/>
              <a:buNone/>
              <a:defRPr b="1">
                <a:solidFill>
                  <a:srgbClr val="009DD8"/>
                </a:solidFill>
                <a:latin typeface="+mj-lt"/>
              </a:defRPr>
            </a:lvl3pPr>
            <a:lvl4pPr marL="1028700" indent="0">
              <a:buFontTx/>
              <a:buNone/>
              <a:defRPr b="1">
                <a:solidFill>
                  <a:srgbClr val="009DD8"/>
                </a:solidFill>
                <a:latin typeface="+mj-lt"/>
              </a:defRPr>
            </a:lvl4pPr>
            <a:lvl5pPr marL="1371600" indent="0">
              <a:buFontTx/>
              <a:buNone/>
              <a:defRPr b="1">
                <a:solidFill>
                  <a:srgbClr val="009DD8"/>
                </a:solidFill>
                <a:latin typeface="+mj-lt"/>
              </a:defRPr>
            </a:lvl5pPr>
          </a:lstStyle>
          <a:p>
            <a:pPr lvl="0"/>
            <a:r>
              <a:rPr lang="en-US"/>
              <a:t>Edit Master text styles</a:t>
            </a:r>
          </a:p>
        </p:txBody>
      </p:sp>
    </p:spTree>
    <p:extLst>
      <p:ext uri="{BB962C8B-B14F-4D97-AF65-F5344CB8AC3E}">
        <p14:creationId xmlns:p14="http://schemas.microsoft.com/office/powerpoint/2010/main" val="29645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2BF2A6-F41F-9245-B30C-4CDD4B63558E}"/>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BB88F3-9B57-1C4F-AB0B-1AE3D6E1C3A3}"/>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D4A16B-60AB-8C4E-A533-4DDA3E483685}"/>
              </a:ext>
            </a:extLst>
          </p:cNvPr>
          <p:cNvSpPr>
            <a:spLocks noGrp="1"/>
          </p:cNvSpPr>
          <p:nvPr>
            <p:ph type="dt" sz="half" idx="10"/>
          </p:nvPr>
        </p:nvSpPr>
        <p:spPr/>
        <p:txBody>
          <a:bodyPr/>
          <a:lstStyle/>
          <a:p>
            <a:fld id="{B176AF46-ED35-0A4A-BEB9-4F6C7F508A1F}" type="datetime2">
              <a:rPr lang="en-US" smtClean="0"/>
              <a:t>Wednesday, March 1, 2023</a:t>
            </a:fld>
            <a:endParaRPr lang="en-US"/>
          </a:p>
        </p:txBody>
      </p:sp>
      <p:sp>
        <p:nvSpPr>
          <p:cNvPr id="5" name="Footer Placeholder 4">
            <a:extLst>
              <a:ext uri="{FF2B5EF4-FFF2-40B4-BE49-F238E27FC236}">
                <a16:creationId xmlns:a16="http://schemas.microsoft.com/office/drawing/2014/main" id="{FB155038-B61B-1145-BF7B-35D438174D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38DEB-86B7-E448-ACF3-D4EA6F1DCCB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53199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rgbClr val="009DD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7972BD-D318-A146-A915-AC00C1F13F6F}"/>
              </a:ext>
            </a:extLst>
          </p:cNvPr>
          <p:cNvPicPr>
            <a:picLocks noChangeAspect="1"/>
          </p:cNvPicPr>
          <p:nvPr userDrawn="1"/>
        </p:nvPicPr>
        <p:blipFill>
          <a:blip r:embed="rId2"/>
          <a:stretch>
            <a:fillRect/>
          </a:stretch>
        </p:blipFill>
        <p:spPr>
          <a:xfrm>
            <a:off x="4920996" y="2487827"/>
            <a:ext cx="2350008" cy="1290200"/>
          </a:xfrm>
          <a:prstGeom prst="rect">
            <a:avLst/>
          </a:prstGeom>
        </p:spPr>
      </p:pic>
      <p:sp>
        <p:nvSpPr>
          <p:cNvPr id="8" name="Text Placeholder 7">
            <a:extLst>
              <a:ext uri="{FF2B5EF4-FFF2-40B4-BE49-F238E27FC236}">
                <a16:creationId xmlns:a16="http://schemas.microsoft.com/office/drawing/2014/main" id="{6DCE9344-7935-9943-AE49-874320AD8619}"/>
              </a:ext>
            </a:extLst>
          </p:cNvPr>
          <p:cNvSpPr>
            <a:spLocks noGrp="1"/>
          </p:cNvSpPr>
          <p:nvPr>
            <p:ph type="body" sz="quarter" idx="10" hasCustomPrompt="1"/>
          </p:nvPr>
        </p:nvSpPr>
        <p:spPr>
          <a:xfrm>
            <a:off x="266702" y="4760915"/>
            <a:ext cx="11772900" cy="1087437"/>
          </a:xfrm>
        </p:spPr>
        <p:txBody>
          <a:bodyPr lIns="91440" rIns="91440">
            <a:noAutofit/>
          </a:bodyPr>
          <a:lstStyle>
            <a:lvl1pPr marL="5954" indent="0" algn="ctr">
              <a:lnSpc>
                <a:spcPct val="100000"/>
              </a:lnSpc>
              <a:spcBef>
                <a:spcPts val="0"/>
              </a:spcBef>
              <a:buNone/>
              <a:tabLst/>
              <a:defRPr sz="900">
                <a:solidFill>
                  <a:schemeClr val="bg1"/>
                </a:solidFill>
              </a:defRPr>
            </a:lvl1pPr>
            <a:lvl2pPr marL="5954" indent="0" algn="ctr">
              <a:buNone/>
              <a:tabLst/>
              <a:defRPr sz="900">
                <a:solidFill>
                  <a:schemeClr val="bg1"/>
                </a:solidFill>
              </a:defRPr>
            </a:lvl2pPr>
            <a:lvl3pPr marL="5954" indent="0" algn="ctr">
              <a:buNone/>
              <a:tabLst/>
              <a:defRPr sz="900">
                <a:solidFill>
                  <a:schemeClr val="bg1"/>
                </a:solidFill>
              </a:defRPr>
            </a:lvl3pPr>
            <a:lvl4pPr marL="5954" indent="0" algn="ctr">
              <a:buNone/>
              <a:tabLst/>
              <a:defRPr sz="900">
                <a:solidFill>
                  <a:schemeClr val="bg1"/>
                </a:solidFill>
              </a:defRPr>
            </a:lvl4pPr>
            <a:lvl5pPr marL="5954" indent="0" algn="ctr">
              <a:buNone/>
              <a:tabLst/>
              <a:defRPr sz="900">
                <a:solidFill>
                  <a:schemeClr val="bg1"/>
                </a:solidFill>
              </a:defRPr>
            </a:lvl5pPr>
          </a:lstStyle>
          <a:p>
            <a:pPr algn="ctr"/>
            <a:r>
              <a:rPr lang="en-US" sz="900" b="1">
                <a:solidFill>
                  <a:schemeClr val="bg1"/>
                </a:solidFill>
                <a:latin typeface="Arial" panose="020B0604020202020204" pitchFamily="34" charset="0"/>
                <a:cs typeface="Arial" panose="020B0604020202020204" pitchFamily="34" charset="0"/>
              </a:rPr>
              <a:t>National Headquarters</a:t>
            </a:r>
          </a:p>
          <a:p>
            <a:pPr algn="ctr"/>
            <a:r>
              <a:rPr lang="en-US" sz="900">
                <a:solidFill>
                  <a:schemeClr val="bg1"/>
                </a:solidFill>
                <a:latin typeface="Arial" panose="020B0604020202020204" pitchFamily="34" charset="0"/>
                <a:cs typeface="Arial" panose="020B0604020202020204" pitchFamily="34" charset="0"/>
              </a:rPr>
              <a:t>1275 Peachtree Street NE</a:t>
            </a:r>
          </a:p>
          <a:p>
            <a:pPr algn="ctr"/>
            <a:r>
              <a:rPr lang="en-US" sz="900">
                <a:solidFill>
                  <a:schemeClr val="bg1"/>
                </a:solidFill>
                <a:latin typeface="Arial" panose="020B0604020202020204" pitchFamily="34" charset="0"/>
                <a:cs typeface="Arial" panose="020B0604020202020204" pitchFamily="34" charset="0"/>
              </a:rPr>
              <a:t>Atlanta, GA 30309-3506</a:t>
            </a:r>
          </a:p>
          <a:p>
            <a:pPr algn="ctr"/>
            <a:r>
              <a:rPr lang="en-US" sz="900">
                <a:solidFill>
                  <a:schemeClr val="bg1"/>
                </a:solidFill>
                <a:latin typeface="Arial" panose="020B0604020202020204" pitchFamily="34" charset="0"/>
                <a:cs typeface="Arial" panose="020B0604020202020204" pitchFamily="34" charset="0"/>
              </a:rPr>
              <a:t>Phone: (404) 487-5700</a:t>
            </a:r>
          </a:p>
          <a:p>
            <a:pPr algn="ctr"/>
            <a:r>
              <a:rPr lang="en-US" sz="900" err="1">
                <a:solidFill>
                  <a:schemeClr val="bg1"/>
                </a:solidFill>
                <a:latin typeface="Arial" panose="020B0604020202020204" pitchFamily="34" charset="0"/>
                <a:cs typeface="Arial" panose="020B0604020202020204" pitchFamily="34" charset="0"/>
              </a:rPr>
              <a:t>BGCA.org</a:t>
            </a:r>
            <a:endParaRPr lang="en-US"/>
          </a:p>
        </p:txBody>
      </p:sp>
      <p:sp>
        <p:nvSpPr>
          <p:cNvPr id="9" name="TextBox 8">
            <a:extLst>
              <a:ext uri="{FF2B5EF4-FFF2-40B4-BE49-F238E27FC236}">
                <a16:creationId xmlns:a16="http://schemas.microsoft.com/office/drawing/2014/main" id="{E583457A-F7F4-7E45-BB70-B667C7B8D976}"/>
              </a:ext>
            </a:extLst>
          </p:cNvPr>
          <p:cNvSpPr txBox="1"/>
          <p:nvPr userDrawn="1"/>
        </p:nvSpPr>
        <p:spPr>
          <a:xfrm>
            <a:off x="0" y="6196647"/>
            <a:ext cx="12192000" cy="196208"/>
          </a:xfrm>
          <a:prstGeom prst="rect">
            <a:avLst/>
          </a:prstGeom>
          <a:noFill/>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2018 Boys &amp; Girls Clubs of America</a:t>
            </a:r>
          </a:p>
        </p:txBody>
      </p:sp>
    </p:spTree>
    <p:extLst>
      <p:ext uri="{BB962C8B-B14F-4D97-AF65-F5344CB8AC3E}">
        <p14:creationId xmlns:p14="http://schemas.microsoft.com/office/powerpoint/2010/main" val="39521965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3762103" y="365127"/>
            <a:ext cx="7985760" cy="58193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430383"/>
            <a:ext cx="10515600" cy="51010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55284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702591" y="3602038"/>
            <a:ext cx="9144000" cy="1655762"/>
          </a:xfrm>
        </p:spPr>
        <p:txBody>
          <a:bodyPr lIns="0" anchor="t">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29" name="Picture 28">
            <a:extLst>
              <a:ext uri="{FF2B5EF4-FFF2-40B4-BE49-F238E27FC236}">
                <a16:creationId xmlns:a16="http://schemas.microsoft.com/office/drawing/2014/main" id="{57BF97AA-2482-B146-BCEC-61A3E6319AD3}"/>
              </a:ext>
            </a:extLst>
          </p:cNvPr>
          <p:cNvPicPr>
            <a:picLocks noChangeAspect="1"/>
          </p:cNvPicPr>
          <p:nvPr userDrawn="1"/>
        </p:nvPicPr>
        <p:blipFill>
          <a:blip r:embed="rId2"/>
          <a:stretch>
            <a:fillRect/>
          </a:stretch>
        </p:blipFill>
        <p:spPr>
          <a:xfrm>
            <a:off x="702591" y="5778503"/>
            <a:ext cx="3008376" cy="651815"/>
          </a:xfrm>
          <a:prstGeom prst="rect">
            <a:avLst/>
          </a:prstGeom>
        </p:spPr>
      </p:pic>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702591" y="1895258"/>
            <a:ext cx="9144000" cy="1325563"/>
          </a:xfrm>
        </p:spPr>
        <p:txBody>
          <a:bodyPr lIns="0">
            <a:normAutofit/>
          </a:bodyPr>
          <a:lstStyle>
            <a:lvl1pPr algn="l">
              <a:defRPr sz="3600" b="1">
                <a:solidFill>
                  <a:schemeClr val="bg1"/>
                </a:solidFill>
              </a:defRPr>
            </a:lvl1pPr>
          </a:lstStyle>
          <a:p>
            <a:r>
              <a:rPr lang="en-US"/>
              <a:t>Click to edit Master title style</a:t>
            </a:r>
          </a:p>
        </p:txBody>
      </p:sp>
    </p:spTree>
    <p:extLst>
      <p:ext uri="{BB962C8B-B14F-4D97-AF65-F5344CB8AC3E}">
        <p14:creationId xmlns:p14="http://schemas.microsoft.com/office/powerpoint/2010/main" val="20259438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702591" y="3602038"/>
            <a:ext cx="9144000" cy="1655762"/>
          </a:xfrm>
        </p:spPr>
        <p:txBody>
          <a:bodyPr lIns="0" anchor="t">
            <a:normAutofit/>
          </a:bodyPr>
          <a:lstStyle>
            <a:lvl1pPr marL="0" indent="0" algn="l">
              <a:buNone/>
              <a:defRPr sz="27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29" name="Picture 28">
            <a:extLst>
              <a:ext uri="{FF2B5EF4-FFF2-40B4-BE49-F238E27FC236}">
                <a16:creationId xmlns:a16="http://schemas.microsoft.com/office/drawing/2014/main" id="{57BF97AA-2482-B146-BCEC-61A3E6319AD3}"/>
              </a:ext>
            </a:extLst>
          </p:cNvPr>
          <p:cNvPicPr>
            <a:picLocks noChangeAspect="1"/>
          </p:cNvPicPr>
          <p:nvPr userDrawn="1"/>
        </p:nvPicPr>
        <p:blipFill>
          <a:blip r:embed="rId3"/>
          <a:stretch>
            <a:fillRect/>
          </a:stretch>
        </p:blipFill>
        <p:spPr>
          <a:xfrm>
            <a:off x="702591" y="5778503"/>
            <a:ext cx="3008376" cy="651815"/>
          </a:xfrm>
          <a:prstGeom prst="rect">
            <a:avLst/>
          </a:prstGeom>
        </p:spPr>
      </p:pic>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702591" y="1895258"/>
            <a:ext cx="9144000" cy="1325563"/>
          </a:xfrm>
        </p:spPr>
        <p:txBody>
          <a:bodyPr lIns="0">
            <a:normAutofit/>
          </a:bodyPr>
          <a:lstStyle>
            <a:lvl1pPr algn="l">
              <a:defRPr sz="3600" b="1">
                <a:solidFill>
                  <a:schemeClr val="bg1"/>
                </a:solidFill>
              </a:defRPr>
            </a:lvl1pPr>
          </a:lstStyle>
          <a:p>
            <a:r>
              <a:rPr lang="en-US"/>
              <a:t>Click to edit Master title style</a:t>
            </a:r>
          </a:p>
        </p:txBody>
      </p:sp>
    </p:spTree>
    <p:extLst>
      <p:ext uri="{BB962C8B-B14F-4D97-AF65-F5344CB8AC3E}">
        <p14:creationId xmlns:p14="http://schemas.microsoft.com/office/powerpoint/2010/main" val="9755847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gradFill>
          <a:gsLst>
            <a:gs pos="33000">
              <a:srgbClr val="009DD8"/>
            </a:gs>
            <a:gs pos="0">
              <a:srgbClr val="009DD8"/>
            </a:gs>
            <a:gs pos="33000">
              <a:schemeClr val="bg1"/>
            </a:gs>
          </a:gsLst>
          <a:lin ang="0" scaled="0"/>
        </a:gra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3875CB0-906A-E74F-B32A-3BE886D34778}"/>
              </a:ext>
            </a:extLst>
          </p:cNvPr>
          <p:cNvPicPr>
            <a:picLocks noChangeAspect="1"/>
          </p:cNvPicPr>
          <p:nvPr userDrawn="1"/>
        </p:nvPicPr>
        <p:blipFill>
          <a:blip r:embed="rId2"/>
          <a:stretch>
            <a:fillRect/>
          </a:stretch>
        </p:blipFill>
        <p:spPr>
          <a:xfrm>
            <a:off x="1188087" y="5635853"/>
            <a:ext cx="1737360" cy="953845"/>
          </a:xfrm>
          <a:prstGeom prst="rect">
            <a:avLst/>
          </a:prstGeom>
        </p:spPr>
      </p:pic>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a:xfrm>
            <a:off x="4267200" y="1442447"/>
            <a:ext cx="7363627" cy="43423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7931FE4B-A9BB-3948-BFD9-EE905CB944CE}"/>
              </a:ext>
            </a:extLst>
          </p:cNvPr>
          <p:cNvSpPr>
            <a:spLocks noGrp="1"/>
          </p:cNvSpPr>
          <p:nvPr>
            <p:ph type="title" hasCustomPrompt="1"/>
          </p:nvPr>
        </p:nvSpPr>
        <p:spPr>
          <a:xfrm>
            <a:off x="273051" y="236941"/>
            <a:ext cx="3567431" cy="5201335"/>
          </a:xfrm>
        </p:spPr>
        <p:txBody>
          <a:bodyPr anchor="ctr">
            <a:normAutofit/>
          </a:bodyPr>
          <a:lstStyle>
            <a:lvl1pPr algn="ctr">
              <a:defRPr sz="2100">
                <a:solidFill>
                  <a:schemeClr val="bg1"/>
                </a:solidFill>
              </a:defRPr>
            </a:lvl1pPr>
          </a:lstStyle>
          <a:p>
            <a:r>
              <a:rPr lang="en-US"/>
              <a:t>Click to edit Side title style</a:t>
            </a:r>
          </a:p>
        </p:txBody>
      </p:sp>
      <p:sp>
        <p:nvSpPr>
          <p:cNvPr id="22" name="Text Placeholder 21">
            <a:extLst>
              <a:ext uri="{FF2B5EF4-FFF2-40B4-BE49-F238E27FC236}">
                <a16:creationId xmlns:a16="http://schemas.microsoft.com/office/drawing/2014/main" id="{A8AF59CC-19D0-7748-9A54-FB1F556E5320}"/>
              </a:ext>
            </a:extLst>
          </p:cNvPr>
          <p:cNvSpPr>
            <a:spLocks noGrp="1"/>
          </p:cNvSpPr>
          <p:nvPr>
            <p:ph type="body" sz="quarter" idx="10"/>
          </p:nvPr>
        </p:nvSpPr>
        <p:spPr>
          <a:xfrm>
            <a:off x="4267200" y="228602"/>
            <a:ext cx="6400800" cy="936625"/>
          </a:xfrm>
        </p:spPr>
        <p:txBody>
          <a:bodyPr/>
          <a:lstStyle>
            <a:lvl1pPr marL="0" indent="0">
              <a:buFontTx/>
              <a:buNone/>
              <a:defRPr b="1">
                <a:solidFill>
                  <a:srgbClr val="009DD8"/>
                </a:solidFill>
                <a:latin typeface="+mj-lt"/>
              </a:defRPr>
            </a:lvl1pPr>
            <a:lvl2pPr marL="342900" indent="0">
              <a:buFontTx/>
              <a:buNone/>
              <a:defRPr b="1">
                <a:solidFill>
                  <a:srgbClr val="009DD8"/>
                </a:solidFill>
                <a:latin typeface="+mj-lt"/>
              </a:defRPr>
            </a:lvl2pPr>
            <a:lvl3pPr marL="685800" indent="0">
              <a:buFontTx/>
              <a:buNone/>
              <a:defRPr b="1">
                <a:solidFill>
                  <a:srgbClr val="009DD8"/>
                </a:solidFill>
                <a:latin typeface="+mj-lt"/>
              </a:defRPr>
            </a:lvl3pPr>
            <a:lvl4pPr marL="1028700" indent="0">
              <a:buFontTx/>
              <a:buNone/>
              <a:defRPr b="1">
                <a:solidFill>
                  <a:srgbClr val="009DD8"/>
                </a:solidFill>
                <a:latin typeface="+mj-lt"/>
              </a:defRPr>
            </a:lvl4pPr>
            <a:lvl5pPr marL="1371600" indent="0">
              <a:buFontTx/>
              <a:buNone/>
              <a:defRPr b="1">
                <a:solidFill>
                  <a:srgbClr val="009DD8"/>
                </a:solidFill>
                <a:latin typeface="+mj-lt"/>
              </a:defRPr>
            </a:lvl5pPr>
          </a:lstStyle>
          <a:p>
            <a:pPr lvl="0"/>
            <a:r>
              <a:rPr lang="en-US"/>
              <a:t>Edit Master text styles</a:t>
            </a:r>
          </a:p>
        </p:txBody>
      </p:sp>
    </p:spTree>
    <p:extLst>
      <p:ext uri="{BB962C8B-B14F-4D97-AF65-F5344CB8AC3E}">
        <p14:creationId xmlns:p14="http://schemas.microsoft.com/office/powerpoint/2010/main" val="31874499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A3E3F3BA-B233-584D-8812-6E52BBD60C12}"/>
              </a:ext>
            </a:extLst>
          </p:cNvPr>
          <p:cNvSpPr>
            <a:spLocks noGrp="1"/>
          </p:cNvSpPr>
          <p:nvPr>
            <p:ph type="dt" sz="half" idx="10"/>
          </p:nvPr>
        </p:nvSpPr>
        <p:spPr/>
        <p:txBody>
          <a:bodyPr/>
          <a:lstStyle/>
          <a:p>
            <a:pPr algn="r"/>
            <a:fld id="{7AF68CEF-5115-4840-8FF2-1FDC744FED60}" type="datetime2">
              <a:rPr lang="en-US" smtClean="0"/>
              <a:t>Wednesday, March 1, 2023</a:t>
            </a:fld>
            <a:endParaRPr lang="en-US"/>
          </a:p>
        </p:txBody>
      </p:sp>
      <p:sp>
        <p:nvSpPr>
          <p:cNvPr id="9" name="Footer Placeholder 8">
            <a:extLst>
              <a:ext uri="{FF2B5EF4-FFF2-40B4-BE49-F238E27FC236}">
                <a16:creationId xmlns:a16="http://schemas.microsoft.com/office/drawing/2014/main" id="{4220829A-57BF-DB48-A047-2DDA385A0B47}"/>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E9E48F7-16E0-0146-A9CE-DD02007E8940}"/>
              </a:ext>
            </a:extLst>
          </p:cNvPr>
          <p:cNvSpPr>
            <a:spLocks noGrp="1"/>
          </p:cNvSpPr>
          <p:nvPr>
            <p:ph type="sldNum" sz="quarter" idx="12"/>
          </p:nvPr>
        </p:nvSpPr>
        <p:spPr/>
        <p:txBody>
          <a:bodyPr/>
          <a:lstStyle/>
          <a:p>
            <a:r>
              <a:rPr lang="en-US"/>
              <a:t>|   </a:t>
            </a:r>
            <a:fld id="{C2DDD5BA-F22B-BD42-8228-E4995F3E1D59}" type="slidenum">
              <a:rPr lang="en-US" smtClean="0"/>
              <a:pPr/>
              <a:t>‹#›</a:t>
            </a:fld>
            <a:endParaRPr lang="en-US"/>
          </a:p>
        </p:txBody>
      </p:sp>
      <p:sp>
        <p:nvSpPr>
          <p:cNvPr id="11" name="Title 10">
            <a:extLst>
              <a:ext uri="{FF2B5EF4-FFF2-40B4-BE49-F238E27FC236}">
                <a16:creationId xmlns:a16="http://schemas.microsoft.com/office/drawing/2014/main" id="{209588CD-2395-3443-85C0-77DAA7C729C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02818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588C-E329-0443-9E19-43BE1A8E6E8B}"/>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1F72C14-AB78-6D4C-BFF8-9310382F5936}"/>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B778585-4AD2-8047-859B-0F6B84A15DC6}"/>
              </a:ext>
            </a:extLst>
          </p:cNvPr>
          <p:cNvSpPr>
            <a:spLocks noGrp="1"/>
          </p:cNvSpPr>
          <p:nvPr>
            <p:ph type="dt" sz="half" idx="10"/>
          </p:nvPr>
        </p:nvSpPr>
        <p:spPr/>
        <p:txBody>
          <a:bodyPr/>
          <a:lstStyle/>
          <a:p>
            <a:fld id="{887B55D3-BB97-5147-8530-8B6199650A69}" type="datetime2">
              <a:rPr lang="en-US" smtClean="0"/>
              <a:t>Wednesday, March 1, 2023</a:t>
            </a:fld>
            <a:endParaRPr lang="en-US"/>
          </a:p>
        </p:txBody>
      </p:sp>
      <p:sp>
        <p:nvSpPr>
          <p:cNvPr id="5" name="Footer Placeholder 4">
            <a:extLst>
              <a:ext uri="{FF2B5EF4-FFF2-40B4-BE49-F238E27FC236}">
                <a16:creationId xmlns:a16="http://schemas.microsoft.com/office/drawing/2014/main" id="{4DA0CD74-A1AA-BE40-B4EE-6306E4FA73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2B0336-3C3C-E842-B678-E2B08C263D7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60862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7CBD4-1C2B-7948-9F0F-74D47E435C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F61AD8-2CC8-934D-810E-E8E32A31F5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CA48A5-2557-8D4A-940C-494C63859B1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57129D-1FE0-254C-9146-DB016402BF52}"/>
              </a:ext>
            </a:extLst>
          </p:cNvPr>
          <p:cNvSpPr>
            <a:spLocks noGrp="1"/>
          </p:cNvSpPr>
          <p:nvPr>
            <p:ph type="dt" sz="half" idx="10"/>
          </p:nvPr>
        </p:nvSpPr>
        <p:spPr/>
        <p:txBody>
          <a:bodyPr/>
          <a:lstStyle/>
          <a:p>
            <a:fld id="{BCD4550E-EA34-3A40-9FF9-5E71F1D05B7D}" type="datetime2">
              <a:rPr lang="en-US" smtClean="0"/>
              <a:t>Wednesday, March 1, 2023</a:t>
            </a:fld>
            <a:endParaRPr lang="en-US"/>
          </a:p>
        </p:txBody>
      </p:sp>
      <p:sp>
        <p:nvSpPr>
          <p:cNvPr id="6" name="Footer Placeholder 5">
            <a:extLst>
              <a:ext uri="{FF2B5EF4-FFF2-40B4-BE49-F238E27FC236}">
                <a16:creationId xmlns:a16="http://schemas.microsoft.com/office/drawing/2014/main" id="{2359C04A-85C0-8F44-9495-AAEEF826FE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CFD53C-A8B3-3F4D-BB3D-E983705C832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44985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30CAE-2D16-BD44-9CE8-9A0DCC1F0C00}"/>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D0E137-22BC-F440-AB0D-87A192B29637}"/>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8B8710F-23D3-6444-831C-3D033738ADA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C20314-6899-3C4A-82B4-BF4F3896417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0361D2D-F363-BC4B-A86D-EF6EE5837A86}"/>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FC05B1C-7CD3-B848-98B5-FD355945ECF0}"/>
              </a:ext>
            </a:extLst>
          </p:cNvPr>
          <p:cNvSpPr>
            <a:spLocks noGrp="1"/>
          </p:cNvSpPr>
          <p:nvPr>
            <p:ph type="dt" sz="half" idx="10"/>
          </p:nvPr>
        </p:nvSpPr>
        <p:spPr/>
        <p:txBody>
          <a:bodyPr/>
          <a:lstStyle/>
          <a:p>
            <a:fld id="{BC5CE0CA-4301-0149-89F2-FE7296D6851E}" type="datetime2">
              <a:rPr lang="en-US" smtClean="0"/>
              <a:t>Wednesday, March 1, 2023</a:t>
            </a:fld>
            <a:endParaRPr lang="en-US"/>
          </a:p>
        </p:txBody>
      </p:sp>
      <p:sp>
        <p:nvSpPr>
          <p:cNvPr id="8" name="Footer Placeholder 7">
            <a:extLst>
              <a:ext uri="{FF2B5EF4-FFF2-40B4-BE49-F238E27FC236}">
                <a16:creationId xmlns:a16="http://schemas.microsoft.com/office/drawing/2014/main" id="{C19BE87A-70D3-DA48-9EEA-17DE0F0248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80B42BF-1C43-944F-81B4-7312975A4D1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0503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209588CD-2395-3443-85C0-77DAA7C729C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628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26B23-2207-124A-B6C7-074D031E54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607770-FF57-2347-A4C4-1946A9335C20}"/>
              </a:ext>
            </a:extLst>
          </p:cNvPr>
          <p:cNvSpPr>
            <a:spLocks noGrp="1"/>
          </p:cNvSpPr>
          <p:nvPr>
            <p:ph type="dt" sz="half" idx="10"/>
          </p:nvPr>
        </p:nvSpPr>
        <p:spPr/>
        <p:txBody>
          <a:bodyPr/>
          <a:lstStyle/>
          <a:p>
            <a:fld id="{DE68A4B0-41CD-FD45-9782-1117270AB7EA}" type="datetime2">
              <a:rPr lang="en-US" smtClean="0"/>
              <a:t>Wednesday, March 1, 2023</a:t>
            </a:fld>
            <a:endParaRPr lang="en-US"/>
          </a:p>
        </p:txBody>
      </p:sp>
      <p:sp>
        <p:nvSpPr>
          <p:cNvPr id="4" name="Footer Placeholder 3">
            <a:extLst>
              <a:ext uri="{FF2B5EF4-FFF2-40B4-BE49-F238E27FC236}">
                <a16:creationId xmlns:a16="http://schemas.microsoft.com/office/drawing/2014/main" id="{36CA97F6-365E-C94B-8586-D937D75C7B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82E54C-CDAC-4C4F-8D2A-D031C53F1254}"/>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12066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8FF690-C850-954A-A475-67392D843A4D}"/>
              </a:ext>
            </a:extLst>
          </p:cNvPr>
          <p:cNvSpPr>
            <a:spLocks noGrp="1"/>
          </p:cNvSpPr>
          <p:nvPr>
            <p:ph type="dt" sz="half" idx="10"/>
          </p:nvPr>
        </p:nvSpPr>
        <p:spPr/>
        <p:txBody>
          <a:bodyPr/>
          <a:lstStyle/>
          <a:p>
            <a:fld id="{0AE2F58F-9D0C-5349-A282-4BB82A77869A}" type="datetime2">
              <a:rPr lang="en-US" smtClean="0"/>
              <a:t>Wednesday, March 1, 2023</a:t>
            </a:fld>
            <a:endParaRPr lang="en-US"/>
          </a:p>
        </p:txBody>
      </p:sp>
      <p:sp>
        <p:nvSpPr>
          <p:cNvPr id="3" name="Footer Placeholder 2">
            <a:extLst>
              <a:ext uri="{FF2B5EF4-FFF2-40B4-BE49-F238E27FC236}">
                <a16:creationId xmlns:a16="http://schemas.microsoft.com/office/drawing/2014/main" id="{6ABD29A7-6287-C748-A352-57528285DF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54E9969-E802-E14D-999D-26321175DA2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65465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BBB73-AFE0-664E-BC6B-D157828F3210}"/>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CCFDC63-1A22-4944-812C-2BFAF2A6FD3E}"/>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156A02-AF2A-9348-BC33-3D4C404C0F85}"/>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A63C6307-CEFB-304F-9F86-9A2E8DD56344}"/>
              </a:ext>
            </a:extLst>
          </p:cNvPr>
          <p:cNvSpPr>
            <a:spLocks noGrp="1"/>
          </p:cNvSpPr>
          <p:nvPr>
            <p:ph type="dt" sz="half" idx="10"/>
          </p:nvPr>
        </p:nvSpPr>
        <p:spPr/>
        <p:txBody>
          <a:bodyPr/>
          <a:lstStyle/>
          <a:p>
            <a:fld id="{60B582BE-90C3-CF49-B08B-4FCCF8767602}" type="datetime2">
              <a:rPr lang="en-US" smtClean="0"/>
              <a:t>Wednesday, March 1, 2023</a:t>
            </a:fld>
            <a:endParaRPr lang="en-US"/>
          </a:p>
        </p:txBody>
      </p:sp>
      <p:sp>
        <p:nvSpPr>
          <p:cNvPr id="6" name="Footer Placeholder 5">
            <a:extLst>
              <a:ext uri="{FF2B5EF4-FFF2-40B4-BE49-F238E27FC236}">
                <a16:creationId xmlns:a16="http://schemas.microsoft.com/office/drawing/2014/main" id="{F709C3EA-8B0B-8246-A384-D76A68DCD1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3343EB-9302-CE4E-8A39-C146FE7754D7}"/>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7565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AD68F-322B-E84A-AB37-9BA62FC38CBC}"/>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2355E606-1BBA-4647-A8BE-39B41E753E98}"/>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F6000861-637D-EE47-ACE5-EB0B5476562D}"/>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85046FDE-46A8-DC41-A6E1-6C7AA1DE5373}"/>
              </a:ext>
            </a:extLst>
          </p:cNvPr>
          <p:cNvSpPr>
            <a:spLocks noGrp="1"/>
          </p:cNvSpPr>
          <p:nvPr>
            <p:ph type="dt" sz="half" idx="10"/>
          </p:nvPr>
        </p:nvSpPr>
        <p:spPr/>
        <p:txBody>
          <a:bodyPr/>
          <a:lstStyle/>
          <a:p>
            <a:fld id="{BE8C888A-508A-4A4F-AFDB-6E43986D91A0}" type="datetime2">
              <a:rPr lang="en-US" smtClean="0"/>
              <a:t>Wednesday, March 1, 2023</a:t>
            </a:fld>
            <a:endParaRPr lang="en-US"/>
          </a:p>
        </p:txBody>
      </p:sp>
      <p:sp>
        <p:nvSpPr>
          <p:cNvPr id="6" name="Footer Placeholder 5">
            <a:extLst>
              <a:ext uri="{FF2B5EF4-FFF2-40B4-BE49-F238E27FC236}">
                <a16:creationId xmlns:a16="http://schemas.microsoft.com/office/drawing/2014/main" id="{9F52E055-518F-9546-99C0-C756DC11EC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F12177-F880-A842-8B07-C7E141044A71}"/>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60701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6DD90-84B9-3B42-9531-4E125EE2BD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53AEF6-CA6F-894C-804F-2B4DCE034DF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21AA79-182B-E249-A4F3-49D75A5D7628}"/>
              </a:ext>
            </a:extLst>
          </p:cNvPr>
          <p:cNvSpPr>
            <a:spLocks noGrp="1"/>
          </p:cNvSpPr>
          <p:nvPr>
            <p:ph type="dt" sz="half" idx="10"/>
          </p:nvPr>
        </p:nvSpPr>
        <p:spPr/>
        <p:txBody>
          <a:bodyPr/>
          <a:lstStyle/>
          <a:p>
            <a:fld id="{739E2A33-6D8E-D341-A79C-07C2F8D4B45C}" type="datetime2">
              <a:rPr lang="en-US" smtClean="0"/>
              <a:t>Wednesday, March 1, 2023</a:t>
            </a:fld>
            <a:endParaRPr lang="en-US"/>
          </a:p>
        </p:txBody>
      </p:sp>
      <p:sp>
        <p:nvSpPr>
          <p:cNvPr id="5" name="Footer Placeholder 4">
            <a:extLst>
              <a:ext uri="{FF2B5EF4-FFF2-40B4-BE49-F238E27FC236}">
                <a16:creationId xmlns:a16="http://schemas.microsoft.com/office/drawing/2014/main" id="{E17636D2-8C30-7443-83EA-82145886A2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9016EA-8373-1440-9AC6-49E815F1CEDC}"/>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53839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2BF2A6-F41F-9245-B30C-4CDD4B63558E}"/>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BB88F3-9B57-1C4F-AB0B-1AE3D6E1C3A3}"/>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D4A16B-60AB-8C4E-A533-4DDA3E483685}"/>
              </a:ext>
            </a:extLst>
          </p:cNvPr>
          <p:cNvSpPr>
            <a:spLocks noGrp="1"/>
          </p:cNvSpPr>
          <p:nvPr>
            <p:ph type="dt" sz="half" idx="10"/>
          </p:nvPr>
        </p:nvSpPr>
        <p:spPr/>
        <p:txBody>
          <a:bodyPr/>
          <a:lstStyle/>
          <a:p>
            <a:fld id="{B176AF46-ED35-0A4A-BEB9-4F6C7F508A1F}" type="datetime2">
              <a:rPr lang="en-US" smtClean="0"/>
              <a:t>Wednesday, March 1, 2023</a:t>
            </a:fld>
            <a:endParaRPr lang="en-US"/>
          </a:p>
        </p:txBody>
      </p:sp>
      <p:sp>
        <p:nvSpPr>
          <p:cNvPr id="5" name="Footer Placeholder 4">
            <a:extLst>
              <a:ext uri="{FF2B5EF4-FFF2-40B4-BE49-F238E27FC236}">
                <a16:creationId xmlns:a16="http://schemas.microsoft.com/office/drawing/2014/main" id="{FB155038-B61B-1145-BF7B-35D438174D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C38DEB-86B7-E448-ACF3-D4EA6F1DCCB3}"/>
              </a:ext>
            </a:extLst>
          </p:cNvPr>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44529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rgbClr val="009DD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7972BD-D318-A146-A915-AC00C1F13F6F}"/>
              </a:ext>
            </a:extLst>
          </p:cNvPr>
          <p:cNvPicPr>
            <a:picLocks noChangeAspect="1"/>
          </p:cNvPicPr>
          <p:nvPr userDrawn="1"/>
        </p:nvPicPr>
        <p:blipFill>
          <a:blip r:embed="rId2"/>
          <a:stretch>
            <a:fillRect/>
          </a:stretch>
        </p:blipFill>
        <p:spPr>
          <a:xfrm>
            <a:off x="4920996" y="2487827"/>
            <a:ext cx="2350008" cy="1290200"/>
          </a:xfrm>
          <a:prstGeom prst="rect">
            <a:avLst/>
          </a:prstGeom>
        </p:spPr>
      </p:pic>
      <p:sp>
        <p:nvSpPr>
          <p:cNvPr id="8" name="Text Placeholder 7">
            <a:extLst>
              <a:ext uri="{FF2B5EF4-FFF2-40B4-BE49-F238E27FC236}">
                <a16:creationId xmlns:a16="http://schemas.microsoft.com/office/drawing/2014/main" id="{6DCE9344-7935-9943-AE49-874320AD8619}"/>
              </a:ext>
            </a:extLst>
          </p:cNvPr>
          <p:cNvSpPr>
            <a:spLocks noGrp="1"/>
          </p:cNvSpPr>
          <p:nvPr>
            <p:ph type="body" sz="quarter" idx="10" hasCustomPrompt="1"/>
          </p:nvPr>
        </p:nvSpPr>
        <p:spPr>
          <a:xfrm>
            <a:off x="266702" y="4760915"/>
            <a:ext cx="11772900" cy="1087437"/>
          </a:xfrm>
        </p:spPr>
        <p:txBody>
          <a:bodyPr lIns="91440" rIns="91440">
            <a:noAutofit/>
          </a:bodyPr>
          <a:lstStyle>
            <a:lvl1pPr marL="5954" indent="0" algn="ctr">
              <a:lnSpc>
                <a:spcPct val="100000"/>
              </a:lnSpc>
              <a:spcBef>
                <a:spcPts val="0"/>
              </a:spcBef>
              <a:buNone/>
              <a:tabLst/>
              <a:defRPr sz="900">
                <a:solidFill>
                  <a:schemeClr val="bg1"/>
                </a:solidFill>
              </a:defRPr>
            </a:lvl1pPr>
            <a:lvl2pPr marL="5954" indent="0" algn="ctr">
              <a:buNone/>
              <a:tabLst/>
              <a:defRPr sz="900">
                <a:solidFill>
                  <a:schemeClr val="bg1"/>
                </a:solidFill>
              </a:defRPr>
            </a:lvl2pPr>
            <a:lvl3pPr marL="5954" indent="0" algn="ctr">
              <a:buNone/>
              <a:tabLst/>
              <a:defRPr sz="900">
                <a:solidFill>
                  <a:schemeClr val="bg1"/>
                </a:solidFill>
              </a:defRPr>
            </a:lvl3pPr>
            <a:lvl4pPr marL="5954" indent="0" algn="ctr">
              <a:buNone/>
              <a:tabLst/>
              <a:defRPr sz="900">
                <a:solidFill>
                  <a:schemeClr val="bg1"/>
                </a:solidFill>
              </a:defRPr>
            </a:lvl4pPr>
            <a:lvl5pPr marL="5954" indent="0" algn="ctr">
              <a:buNone/>
              <a:tabLst/>
              <a:defRPr sz="900">
                <a:solidFill>
                  <a:schemeClr val="bg1"/>
                </a:solidFill>
              </a:defRPr>
            </a:lvl5pPr>
          </a:lstStyle>
          <a:p>
            <a:pPr algn="ctr"/>
            <a:r>
              <a:rPr lang="en-US" sz="900" b="1">
                <a:solidFill>
                  <a:schemeClr val="bg1"/>
                </a:solidFill>
                <a:latin typeface="Arial" panose="020B0604020202020204" pitchFamily="34" charset="0"/>
                <a:cs typeface="Arial" panose="020B0604020202020204" pitchFamily="34" charset="0"/>
              </a:rPr>
              <a:t>National Headquarters</a:t>
            </a:r>
          </a:p>
          <a:p>
            <a:pPr algn="ctr"/>
            <a:r>
              <a:rPr lang="en-US" sz="900">
                <a:solidFill>
                  <a:schemeClr val="bg1"/>
                </a:solidFill>
                <a:latin typeface="Arial" panose="020B0604020202020204" pitchFamily="34" charset="0"/>
                <a:cs typeface="Arial" panose="020B0604020202020204" pitchFamily="34" charset="0"/>
              </a:rPr>
              <a:t>1275 Peachtree Street NE</a:t>
            </a:r>
          </a:p>
          <a:p>
            <a:pPr algn="ctr"/>
            <a:r>
              <a:rPr lang="en-US" sz="900">
                <a:solidFill>
                  <a:schemeClr val="bg1"/>
                </a:solidFill>
                <a:latin typeface="Arial" panose="020B0604020202020204" pitchFamily="34" charset="0"/>
                <a:cs typeface="Arial" panose="020B0604020202020204" pitchFamily="34" charset="0"/>
              </a:rPr>
              <a:t>Atlanta, GA 30309-3506</a:t>
            </a:r>
          </a:p>
          <a:p>
            <a:pPr algn="ctr"/>
            <a:r>
              <a:rPr lang="en-US" sz="900">
                <a:solidFill>
                  <a:schemeClr val="bg1"/>
                </a:solidFill>
                <a:latin typeface="Arial" panose="020B0604020202020204" pitchFamily="34" charset="0"/>
                <a:cs typeface="Arial" panose="020B0604020202020204" pitchFamily="34" charset="0"/>
              </a:rPr>
              <a:t>Phone: (404) 487-5700</a:t>
            </a:r>
          </a:p>
          <a:p>
            <a:pPr algn="ctr"/>
            <a:r>
              <a:rPr lang="en-US" sz="900" err="1">
                <a:solidFill>
                  <a:schemeClr val="bg1"/>
                </a:solidFill>
                <a:latin typeface="Arial" panose="020B0604020202020204" pitchFamily="34" charset="0"/>
                <a:cs typeface="Arial" panose="020B0604020202020204" pitchFamily="34" charset="0"/>
              </a:rPr>
              <a:t>BGCA.org</a:t>
            </a:r>
            <a:endParaRPr lang="en-US"/>
          </a:p>
        </p:txBody>
      </p:sp>
      <p:sp>
        <p:nvSpPr>
          <p:cNvPr id="9" name="TextBox 8">
            <a:extLst>
              <a:ext uri="{FF2B5EF4-FFF2-40B4-BE49-F238E27FC236}">
                <a16:creationId xmlns:a16="http://schemas.microsoft.com/office/drawing/2014/main" id="{E583457A-F7F4-7E45-BB70-B667C7B8D976}"/>
              </a:ext>
            </a:extLst>
          </p:cNvPr>
          <p:cNvSpPr txBox="1"/>
          <p:nvPr userDrawn="1"/>
        </p:nvSpPr>
        <p:spPr>
          <a:xfrm>
            <a:off x="0" y="6196647"/>
            <a:ext cx="12192000" cy="196208"/>
          </a:xfrm>
          <a:prstGeom prst="rect">
            <a:avLst/>
          </a:prstGeom>
          <a:noFill/>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2018 Boys &amp; Girls Clubs of America</a:t>
            </a:r>
          </a:p>
        </p:txBody>
      </p:sp>
    </p:spTree>
    <p:extLst>
      <p:ext uri="{BB962C8B-B14F-4D97-AF65-F5344CB8AC3E}">
        <p14:creationId xmlns:p14="http://schemas.microsoft.com/office/powerpoint/2010/main" val="29904234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F89203F-46EF-44A2-956A-7FF6AF93BE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
          <a:stretch/>
        </p:blipFill>
        <p:spPr>
          <a:xfrm>
            <a:off x="269032" y="4801396"/>
            <a:ext cx="11653936" cy="1786228"/>
          </a:xfrm>
          <a:prstGeom prst="rect">
            <a:avLst/>
          </a:prstGeom>
        </p:spPr>
      </p:pic>
      <p:sp>
        <p:nvSpPr>
          <p:cNvPr id="8" name="Content Placeholder 2">
            <a:extLst>
              <a:ext uri="{FF2B5EF4-FFF2-40B4-BE49-F238E27FC236}">
                <a16:creationId xmlns:a16="http://schemas.microsoft.com/office/drawing/2014/main" id="{D1D47175-944E-463B-ABBB-06669A473913}"/>
              </a:ext>
            </a:extLst>
          </p:cNvPr>
          <p:cNvSpPr>
            <a:spLocks noGrp="1"/>
          </p:cNvSpPr>
          <p:nvPr>
            <p:ph idx="1"/>
          </p:nvPr>
        </p:nvSpPr>
        <p:spPr>
          <a:xfrm>
            <a:off x="1090863" y="1507068"/>
            <a:ext cx="3192379" cy="4669896"/>
          </a:xfrm>
        </p:spPr>
        <p:txBody>
          <a:bodyPr anchor="ctr"/>
          <a:lstStyle>
            <a:lvl1pPr marL="0" indent="0" algn="l">
              <a:lnSpc>
                <a:spcPct val="150000"/>
              </a:lnSpc>
              <a:spcAft>
                <a:spcPts val="900"/>
              </a:spcAft>
              <a:buSzPct val="25000"/>
              <a:buFont typeface="Segoe UI" panose="020B0502040204020203" pitchFamily="34" charset="0"/>
              <a:buChar char=" "/>
              <a:defRPr sz="900"/>
            </a:lvl1pPr>
            <a:lvl2pPr marL="301229" indent="5954" algn="l">
              <a:spcBef>
                <a:spcPts val="450"/>
              </a:spcBef>
              <a:spcAft>
                <a:spcPts val="900"/>
              </a:spcAft>
              <a:buFont typeface="Segoe UI" panose="020B0502040204020203" pitchFamily="34" charset="0"/>
              <a:buChar char=" "/>
              <a:defRPr sz="900"/>
            </a:lvl2pPr>
            <a:lvl3pPr marL="857250" indent="-171450">
              <a:buFont typeface="Segoe UI" panose="020B0502040204020203" pitchFamily="34" charset="0"/>
              <a:buChar char=" "/>
              <a:defRPr/>
            </a:lvl3pPr>
            <a:lvl4pPr marL="1200150" indent="-171450">
              <a:buFont typeface="Segoe UI" panose="020B0502040204020203" pitchFamily="34" charset="0"/>
              <a:buChar char=" "/>
              <a:defRPr/>
            </a:lvl4pPr>
            <a:lvl5pPr marL="1543050" indent="-171450">
              <a:buFont typeface="Segoe UI" panose="020B0502040204020203" pitchFamily="34" charset="0"/>
              <a:buChar char=" "/>
              <a:defRPr/>
            </a:lvl5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A40725B0-0DB7-41CE-9C4C-39E8D0F6325E}"/>
              </a:ext>
            </a:extLst>
          </p:cNvPr>
          <p:cNvSpPr>
            <a:spLocks noGrp="1"/>
          </p:cNvSpPr>
          <p:nvPr>
            <p:ph idx="13"/>
          </p:nvPr>
        </p:nvSpPr>
        <p:spPr>
          <a:xfrm>
            <a:off x="4395538" y="1507068"/>
            <a:ext cx="7143905" cy="4669896"/>
          </a:xfrm>
        </p:spPr>
        <p:txBody>
          <a:bodyPr anchor="ctr"/>
          <a:lstStyle>
            <a:lvl1pPr marL="0" indent="0">
              <a:spcAft>
                <a:spcPts val="900"/>
              </a:spcAft>
              <a:buSzPct val="25000"/>
              <a:buFont typeface="Segoe UI" panose="020B0502040204020203" pitchFamily="34" charset="0"/>
              <a:buChar char=" "/>
              <a:defRPr sz="900"/>
            </a:lvl1pPr>
            <a:lvl2pPr marL="301229" indent="5954">
              <a:spcBef>
                <a:spcPts val="450"/>
              </a:spcBef>
              <a:spcAft>
                <a:spcPts val="900"/>
              </a:spcAft>
              <a:buFont typeface="Segoe UI" panose="020B0502040204020203" pitchFamily="34" charset="0"/>
              <a:buChar char=" "/>
              <a:defRPr sz="900"/>
            </a:lvl2pPr>
            <a:lvl3pPr marL="857250" indent="-171450">
              <a:buFont typeface="Segoe UI" panose="020B0502040204020203" pitchFamily="34" charset="0"/>
              <a:buChar char=" "/>
              <a:defRPr/>
            </a:lvl3pPr>
            <a:lvl4pPr marL="1200150" indent="-171450">
              <a:buFont typeface="Segoe UI" panose="020B0502040204020203" pitchFamily="34" charset="0"/>
              <a:buChar char=" "/>
              <a:defRPr/>
            </a:lvl4pPr>
            <a:lvl5pPr marL="1543050" indent="-171450">
              <a:buFont typeface="Segoe UI" panose="020B0502040204020203" pitchFamily="34" charset="0"/>
              <a:buChar char=" "/>
              <a:defRPr/>
            </a:lvl5pPr>
          </a:lstStyle>
          <a:p>
            <a:pPr lvl="0"/>
            <a:r>
              <a:rPr lang="en-US"/>
              <a:t>Click to edit Master text styles</a:t>
            </a:r>
          </a:p>
          <a:p>
            <a:pPr lvl="1"/>
            <a:r>
              <a:rPr lang="en-US"/>
              <a:t>Second level</a:t>
            </a:r>
          </a:p>
        </p:txBody>
      </p:sp>
      <p:sp>
        <p:nvSpPr>
          <p:cNvPr id="11" name="Title 10">
            <a:extLst>
              <a:ext uri="{FF2B5EF4-FFF2-40B4-BE49-F238E27FC236}">
                <a16:creationId xmlns:a16="http://schemas.microsoft.com/office/drawing/2014/main" id="{F9E63483-559C-4A6F-B04F-D6C56A3CC09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8936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 SansBr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524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9DD8"/>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545513-68D8-2041-82B8-00596B8445D8}"/>
              </a:ext>
            </a:extLst>
          </p:cNvPr>
          <p:cNvSpPr>
            <a:spLocks noGrp="1"/>
          </p:cNvSpPr>
          <p:nvPr>
            <p:ph type="subTitle" idx="1"/>
          </p:nvPr>
        </p:nvSpPr>
        <p:spPr>
          <a:xfrm>
            <a:off x="3456808" y="3888476"/>
            <a:ext cx="8232091" cy="1124958"/>
          </a:xfrm>
          <a:prstGeom prst="rect">
            <a:avLst/>
          </a:prstGeom>
        </p:spPr>
        <p:txBody>
          <a:bodyPr lIns="0" anchor="t">
            <a:normAutofit/>
          </a:bodyPr>
          <a:lstStyle>
            <a:lvl1pPr marL="0" indent="0" algn="l">
              <a:buNone/>
              <a:defRPr sz="24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4" name="Title 23">
            <a:extLst>
              <a:ext uri="{FF2B5EF4-FFF2-40B4-BE49-F238E27FC236}">
                <a16:creationId xmlns:a16="http://schemas.microsoft.com/office/drawing/2014/main" id="{01B9B9A1-3E45-C247-B51A-06D5AF5BC76D}"/>
              </a:ext>
            </a:extLst>
          </p:cNvPr>
          <p:cNvSpPr>
            <a:spLocks noGrp="1"/>
          </p:cNvSpPr>
          <p:nvPr>
            <p:ph type="title"/>
          </p:nvPr>
        </p:nvSpPr>
        <p:spPr>
          <a:xfrm>
            <a:off x="3456808" y="2530368"/>
            <a:ext cx="8232091" cy="1219551"/>
          </a:xfrm>
          <a:prstGeom prst="rect">
            <a:avLst/>
          </a:prstGeom>
        </p:spPr>
        <p:txBody>
          <a:bodyPr lIns="0" anchor="b">
            <a:normAutofit/>
          </a:bodyPr>
          <a:lstStyle>
            <a:lvl1pPr algn="l">
              <a:defRPr sz="3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pic>
        <p:nvPicPr>
          <p:cNvPr id="5" name="Picture 4" descr="CAUSE DOOR for PPT.png">
            <a:extLst>
              <a:ext uri="{FF2B5EF4-FFF2-40B4-BE49-F238E27FC236}">
                <a16:creationId xmlns:a16="http://schemas.microsoft.com/office/drawing/2014/main" id="{EB83C529-DC68-0E48-8845-131B7517B0C0}"/>
              </a:ext>
            </a:extLst>
          </p:cNvPr>
          <p:cNvPicPr>
            <a:picLocks noChangeAspect="1"/>
          </p:cNvPicPr>
          <p:nvPr userDrawn="1"/>
        </p:nvPicPr>
        <p:blipFill>
          <a:blip r:embed="rId2" cstate="print">
            <a:alphaModFix amt="72000"/>
            <a:extLst>
              <a:ext uri="{28A0092B-C50C-407E-A947-70E740481C1C}">
                <a14:useLocalDpi xmlns:a14="http://schemas.microsoft.com/office/drawing/2010/main"/>
              </a:ext>
            </a:extLst>
          </a:blip>
          <a:stretch>
            <a:fillRect/>
          </a:stretch>
        </p:blipFill>
        <p:spPr>
          <a:xfrm>
            <a:off x="-1513859" y="0"/>
            <a:ext cx="6437833" cy="7244374"/>
          </a:xfrm>
          <a:prstGeom prst="rect">
            <a:avLst/>
          </a:prstGeom>
        </p:spPr>
      </p:pic>
    </p:spTree>
    <p:extLst>
      <p:ext uri="{BB962C8B-B14F-4D97-AF65-F5344CB8AC3E}">
        <p14:creationId xmlns:p14="http://schemas.microsoft.com/office/powerpoint/2010/main" val="32358714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wDoor and Content">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F9AA650-5CE5-684B-91E4-06FF5E994C31}"/>
              </a:ext>
            </a:extLst>
          </p:cNvPr>
          <p:cNvSpPr/>
          <p:nvPr userDrawn="1"/>
        </p:nvSpPr>
        <p:spPr>
          <a:xfrm>
            <a:off x="0" y="6063916"/>
            <a:ext cx="12192000" cy="794084"/>
          </a:xfrm>
          <a:prstGeom prst="rect">
            <a:avLst/>
          </a:prstGeom>
          <a:solidFill>
            <a:srgbClr val="009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Content Placeholder 2">
            <a:extLst>
              <a:ext uri="{FF2B5EF4-FFF2-40B4-BE49-F238E27FC236}">
                <a16:creationId xmlns:a16="http://schemas.microsoft.com/office/drawing/2014/main" id="{CAFFDCCB-A73D-BE4F-AE76-7C3BB4CFFD9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209588CD-2395-3443-85C0-77DAA7C729C1}"/>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00262296-4438-6F41-9B95-15980A66B72E}"/>
              </a:ext>
            </a:extLst>
          </p:cNvPr>
          <p:cNvPicPr>
            <a:picLocks noChangeAspect="1"/>
          </p:cNvPicPr>
          <p:nvPr userDrawn="1"/>
        </p:nvPicPr>
        <p:blipFill>
          <a:blip r:embed="rId2"/>
          <a:stretch>
            <a:fillRect/>
          </a:stretch>
        </p:blipFill>
        <p:spPr>
          <a:xfrm>
            <a:off x="10363200" y="5029200"/>
            <a:ext cx="1828800" cy="1828800"/>
          </a:xfrm>
          <a:prstGeom prst="rect">
            <a:avLst/>
          </a:prstGeom>
        </p:spPr>
      </p:pic>
      <p:pic>
        <p:nvPicPr>
          <p:cNvPr id="8" name="Picture 7">
            <a:extLst>
              <a:ext uri="{FF2B5EF4-FFF2-40B4-BE49-F238E27FC236}">
                <a16:creationId xmlns:a16="http://schemas.microsoft.com/office/drawing/2014/main" id="{E6485083-5E8D-7B40-B549-77A9AA0D21F8}"/>
              </a:ext>
            </a:extLst>
          </p:cNvPr>
          <p:cNvPicPr>
            <a:picLocks noChangeAspect="1"/>
          </p:cNvPicPr>
          <p:nvPr userDrawn="1"/>
        </p:nvPicPr>
        <p:blipFill>
          <a:blip r:embed="rId3"/>
          <a:stretch>
            <a:fillRect/>
          </a:stretch>
        </p:blipFill>
        <p:spPr>
          <a:xfrm>
            <a:off x="533400" y="6329588"/>
            <a:ext cx="4114800" cy="218624"/>
          </a:xfrm>
          <a:prstGeom prst="rect">
            <a:avLst/>
          </a:prstGeom>
        </p:spPr>
      </p:pic>
    </p:spTree>
    <p:extLst>
      <p:ext uri="{BB962C8B-B14F-4D97-AF65-F5344CB8AC3E}">
        <p14:creationId xmlns:p14="http://schemas.microsoft.com/office/powerpoint/2010/main" val="9703212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6F3FB-C1C5-447D-ABA5-9C9AB69D0849}"/>
              </a:ext>
            </a:extLst>
          </p:cNvPr>
          <p:cNvSpPr>
            <a:spLocks noGrp="1"/>
          </p:cNvSpPr>
          <p:nvPr>
            <p:ph type="title"/>
          </p:nvPr>
        </p:nvSpPr>
        <p:spPr>
          <a:xfrm>
            <a:off x="5867400" y="1524016"/>
            <a:ext cx="5943600" cy="2880712"/>
          </a:xfrm>
          <a:prstGeom prst="rect">
            <a:avLst/>
          </a:prstGeom>
        </p:spPr>
        <p:txBody>
          <a:bodyPr anchor="b">
            <a:normAutofit/>
          </a:bodyPr>
          <a:lstStyle>
            <a:lvl1pPr>
              <a:defRPr sz="4050" b="1" i="0">
                <a:solidFill>
                  <a:schemeClr val="tx1"/>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id="{B76E73D8-8A72-49BC-A454-F7A0C51B18DF}"/>
              </a:ext>
            </a:extLst>
          </p:cNvPr>
          <p:cNvCxnSpPr/>
          <p:nvPr/>
        </p:nvCxnSpPr>
        <p:spPr>
          <a:xfrm>
            <a:off x="5923157" y="4525323"/>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D39F3435-1C21-4998-8E85-FFEF4BE2EC50}"/>
              </a:ext>
            </a:extLst>
          </p:cNvPr>
          <p:cNvSpPr>
            <a:spLocks noGrp="1"/>
          </p:cNvSpPr>
          <p:nvPr>
            <p:ph type="pic" sz="quarter" idx="10"/>
          </p:nvPr>
        </p:nvSpPr>
        <p:spPr>
          <a:xfrm>
            <a:off x="2" y="-1"/>
            <a:ext cx="5402263" cy="5943593"/>
          </a:xfrm>
          <a:prstGeom prst="rect">
            <a:avLst/>
          </a:prstGeom>
        </p:spPr>
        <p:txBody>
          <a:bodyPr anchor="ctr"/>
          <a:lstStyle>
            <a:lvl1pPr marL="0" indent="0" algn="ctr">
              <a:buNone/>
              <a:defRPr/>
            </a:lvl1pPr>
          </a:lstStyle>
          <a:p>
            <a:r>
              <a:rPr lang="en-US"/>
              <a:t>Click icon to add picture</a:t>
            </a:r>
          </a:p>
        </p:txBody>
      </p:sp>
      <p:sp>
        <p:nvSpPr>
          <p:cNvPr id="12" name="Text Placeholder 11">
            <a:extLst>
              <a:ext uri="{FF2B5EF4-FFF2-40B4-BE49-F238E27FC236}">
                <a16:creationId xmlns:a16="http://schemas.microsoft.com/office/drawing/2014/main" id="{754DB52F-7FB3-4CB7-8A16-F1EE7DFCB9D7}"/>
              </a:ext>
            </a:extLst>
          </p:cNvPr>
          <p:cNvSpPr>
            <a:spLocks noGrp="1"/>
          </p:cNvSpPr>
          <p:nvPr>
            <p:ph type="body" sz="quarter" idx="11" hasCustomPrompt="1"/>
          </p:nvPr>
        </p:nvSpPr>
        <p:spPr>
          <a:xfrm>
            <a:off x="5867400" y="4759752"/>
            <a:ext cx="5943600" cy="955249"/>
          </a:xfrm>
          <a:prstGeom prst="rect">
            <a:avLst/>
          </a:prstGeom>
        </p:spPr>
        <p:txBody>
          <a:bodyPr>
            <a:noAutofit/>
          </a:bodyPr>
          <a:lstStyle>
            <a:lvl1pPr marL="0" indent="0">
              <a:buNone/>
              <a:defRPr sz="1050" b="1">
                <a:solidFill>
                  <a:srgbClr val="9F9F9F"/>
                </a:solidFill>
                <a:latin typeface="Arial" panose="020B0604020202020204" pitchFamily="34" charset="0"/>
                <a:cs typeface="Arial" panose="020B0604020202020204" pitchFamily="34" charset="0"/>
              </a:defRPr>
            </a:lvl1pPr>
          </a:lstStyle>
          <a:p>
            <a:pPr lvl="0"/>
            <a:r>
              <a:rPr lang="en-US"/>
              <a:t>BOYS &amp; GIRLS CLUBS OF AMERICA AND [PARTNER]</a:t>
            </a:r>
          </a:p>
        </p:txBody>
      </p:sp>
    </p:spTree>
    <p:extLst>
      <p:ext uri="{BB962C8B-B14F-4D97-AF65-F5344CB8AC3E}">
        <p14:creationId xmlns:p14="http://schemas.microsoft.com/office/powerpoint/2010/main" val="87520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377DAD3-3C26-41FB-8C76-602A1DF3D3D7}"/>
              </a:ext>
            </a:extLst>
          </p:cNvPr>
          <p:cNvSpPr>
            <a:spLocks noGrp="1"/>
          </p:cNvSpPr>
          <p:nvPr>
            <p:ph idx="1"/>
          </p:nvPr>
        </p:nvSpPr>
        <p:spPr>
          <a:xfrm>
            <a:off x="381000" y="1828802"/>
            <a:ext cx="11430000" cy="3886201"/>
          </a:xfrm>
          <a:prstGeom prst="rect">
            <a:avLst/>
          </a:prstGeo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35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a:extLst>
              <a:ext uri="{FF2B5EF4-FFF2-40B4-BE49-F238E27FC236}">
                <a16:creationId xmlns:a16="http://schemas.microsoft.com/office/drawing/2014/main" id="{5101050C-0E32-564F-8FEB-5F00ACAC5396}"/>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7B9A5C27-65CB-1B43-BB3B-4B6CCADD5EFC}"/>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1" name="Straight Connector 10">
            <a:extLst>
              <a:ext uri="{FF2B5EF4-FFF2-40B4-BE49-F238E27FC236}">
                <a16:creationId xmlns:a16="http://schemas.microsoft.com/office/drawing/2014/main" id="{11520688-497E-D549-8EDC-3EFAC9BF302F}"/>
              </a:ext>
            </a:extLst>
          </p:cNvPr>
          <p:cNvCxnSpPr>
            <a:cxnSpLocks/>
          </p:cNvCxnSpPr>
          <p:nvPr userDrawn="1"/>
        </p:nvCxnSpPr>
        <p:spPr>
          <a:xfrm>
            <a:off x="445654"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980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 No Lin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377DAD3-3C26-41FB-8C76-602A1DF3D3D7}"/>
              </a:ext>
            </a:extLst>
          </p:cNvPr>
          <p:cNvSpPr>
            <a:spLocks noGrp="1"/>
          </p:cNvSpPr>
          <p:nvPr>
            <p:ph idx="1"/>
          </p:nvPr>
        </p:nvSpPr>
        <p:spPr>
          <a:xfrm>
            <a:off x="381000" y="1828801"/>
            <a:ext cx="11430000" cy="3886200"/>
          </a:xfrm>
          <a:prstGeom prst="rect">
            <a:avLst/>
          </a:prstGeo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35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F2D3DB79-CEAC-0A4B-83E0-37A6C21369FF}"/>
              </a:ext>
            </a:extLst>
          </p:cNvPr>
          <p:cNvSpPr>
            <a:spLocks noGrp="1"/>
          </p:cNvSpPr>
          <p:nvPr>
            <p:ph type="title"/>
          </p:nvPr>
        </p:nvSpPr>
        <p:spPr/>
        <p:txBody>
          <a:bodyPr tIns="91440" anchor="t"/>
          <a:lstStyle/>
          <a:p>
            <a:r>
              <a:rPr lang="en-US"/>
              <a:t>Click to edit Master title style</a:t>
            </a:r>
          </a:p>
        </p:txBody>
      </p:sp>
      <p:sp>
        <p:nvSpPr>
          <p:cNvPr id="8" name="Text Placeholder 2">
            <a:extLst>
              <a:ext uri="{FF2B5EF4-FFF2-40B4-BE49-F238E27FC236}">
                <a16:creationId xmlns:a16="http://schemas.microsoft.com/office/drawing/2014/main" id="{626FC926-5E23-D345-BDB8-932E4020A28E}"/>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Tree>
    <p:extLst>
      <p:ext uri="{BB962C8B-B14F-4D97-AF65-F5344CB8AC3E}">
        <p14:creationId xmlns:p14="http://schemas.microsoft.com/office/powerpoint/2010/main" val="102701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4" y="1828801"/>
            <a:ext cx="5486397" cy="3886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3" name="Straight Connector 12">
            <a:extLst>
              <a:ext uri="{FF2B5EF4-FFF2-40B4-BE49-F238E27FC236}">
                <a16:creationId xmlns:a16="http://schemas.microsoft.com/office/drawing/2014/main" id="{74CA209F-B9AC-DA40-8C43-FEF5411B48BF}"/>
              </a:ext>
            </a:extLst>
          </p:cNvPr>
          <p:cNvCxnSpPr>
            <a:cxnSpLocks/>
          </p:cNvCxnSpPr>
          <p:nvPr userDrawn="1"/>
        </p:nvCxnSpPr>
        <p:spPr>
          <a:xfrm>
            <a:off x="445654"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7F2517DD-E122-1A43-9D1E-4903AAD302FC}"/>
              </a:ext>
            </a:extLst>
          </p:cNvPr>
          <p:cNvSpPr>
            <a:spLocks noGrp="1"/>
          </p:cNvSpPr>
          <p:nvPr>
            <p:ph sz="quarter" idx="10"/>
          </p:nvPr>
        </p:nvSpPr>
        <p:spPr>
          <a:xfrm>
            <a:off x="381000" y="1828800"/>
            <a:ext cx="5486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443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 No Lin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4" y="1828801"/>
            <a:ext cx="5486397" cy="3886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tIns="91440" anchor="t"/>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
        <p:nvSpPr>
          <p:cNvPr id="6" name="Content Placeholder 5">
            <a:extLst>
              <a:ext uri="{FF2B5EF4-FFF2-40B4-BE49-F238E27FC236}">
                <a16:creationId xmlns:a16="http://schemas.microsoft.com/office/drawing/2014/main" id="{DD8C4243-E78F-4546-A5C8-1340185A4495}"/>
              </a:ext>
            </a:extLst>
          </p:cNvPr>
          <p:cNvSpPr>
            <a:spLocks noGrp="1"/>
          </p:cNvSpPr>
          <p:nvPr>
            <p:ph sz="quarter" idx="10"/>
          </p:nvPr>
        </p:nvSpPr>
        <p:spPr>
          <a:xfrm>
            <a:off x="381000" y="1828800"/>
            <a:ext cx="5486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491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 Compa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381002" y="2564781"/>
            <a:ext cx="5486399" cy="3150221"/>
          </a:xfrm>
          <a:prstGeom prst="rect">
            <a:avLst/>
          </a:prstGeom>
        </p:spPr>
        <p:txBody>
          <a:bodyPr/>
          <a:lstStyle>
            <a:lvl1pPr marL="257175" marR="0" indent="-257175" algn="l" defTabSz="685800" rtl="0" eaLnBrk="1" fontAlgn="auto" latinLnBrk="0" hangingPunct="1">
              <a:lnSpc>
                <a:spcPct val="90000"/>
              </a:lnSpc>
              <a:spcBef>
                <a:spcPts val="0"/>
              </a:spcBef>
              <a:spcAft>
                <a:spcPts val="450"/>
              </a:spcAft>
              <a:buClr>
                <a:srgbClr val="009DDC"/>
              </a:buClr>
              <a:buSzTx/>
              <a:buFont typeface="Arial" panose="020B0604020202020204" pitchFamily="34" charset="0"/>
              <a:buChar char="•"/>
              <a:tabLst/>
              <a:defRPr sz="1800"/>
            </a:lvl1pPr>
            <a:lvl2pPr marL="514350" marR="0" indent="-171450" algn="l" defTabSz="685800" rtl="0" eaLnBrk="1" fontAlgn="auto" latinLnBrk="0" hangingPunct="1">
              <a:lnSpc>
                <a:spcPct val="90000"/>
              </a:lnSpc>
              <a:spcBef>
                <a:spcPts val="0"/>
              </a:spcBef>
              <a:spcAft>
                <a:spcPts val="450"/>
              </a:spcAft>
              <a:buClr>
                <a:srgbClr val="009DDC"/>
              </a:buClr>
              <a:buSzTx/>
              <a:buFont typeface="Arial" panose="020B0604020202020204" pitchFamily="34" charset="0"/>
              <a:buChar char="•"/>
              <a:tabLst/>
              <a:defRPr/>
            </a:lvl2pPr>
            <a:lvl3pPr marL="857250" marR="0" indent="-171450" algn="l" defTabSz="685800" rtl="0" eaLnBrk="1" fontAlgn="auto" latinLnBrk="0" hangingPunct="1">
              <a:lnSpc>
                <a:spcPct val="90000"/>
              </a:lnSpc>
              <a:spcBef>
                <a:spcPts val="0"/>
              </a:spcBef>
              <a:spcAft>
                <a:spcPts val="450"/>
              </a:spcAft>
              <a:buClr>
                <a:srgbClr val="009DDC"/>
              </a:buClr>
              <a:buSzTx/>
              <a:buFont typeface="Arial" panose="020B0604020202020204" pitchFamily="34" charset="0"/>
              <a:buChar char="•"/>
              <a:tabLst/>
              <a:defRPr/>
            </a:lvl3pPr>
            <a:lvl4pPr marL="1200150" marR="0" indent="-171450" algn="l" defTabSz="685800" rtl="0" eaLnBrk="1" fontAlgn="auto" latinLnBrk="0" hangingPunct="1">
              <a:lnSpc>
                <a:spcPct val="90000"/>
              </a:lnSpc>
              <a:spcBef>
                <a:spcPts val="0"/>
              </a:spcBef>
              <a:spcAft>
                <a:spcPts val="450"/>
              </a:spcAft>
              <a:buClr>
                <a:srgbClr val="009DDC"/>
              </a:buClr>
              <a:buSzTx/>
              <a:buFont typeface="Arial" panose="020B0604020202020204" pitchFamily="34" charset="0"/>
              <a:buChar char="•"/>
              <a:tabLst/>
              <a:defRPr/>
            </a:lvl4pPr>
            <a:lvl5pPr marL="1628775" indent="-257175">
              <a:spcBef>
                <a:spcPts val="0"/>
              </a:spcBef>
              <a:spcAft>
                <a:spcPts val="450"/>
              </a:spcAft>
              <a:buClr>
                <a:srgbClr val="009DD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6324604" y="2564781"/>
            <a:ext cx="5486397" cy="3150221"/>
          </a:xfrm>
          <a:prstGeom prst="rect">
            <a:avLst/>
          </a:prstGeom>
        </p:spPr>
        <p:txBody>
          <a:bodyPr/>
          <a:lstStyle>
            <a:lvl1pPr marL="342900" indent="-342900">
              <a:spcAft>
                <a:spcPts val="450"/>
              </a:spcAft>
              <a:buClr>
                <a:srgbClr val="009DDC"/>
              </a:buClr>
              <a:buFont typeface="Arial" panose="020B0604020202020204" pitchFamily="34" charset="0"/>
              <a:buChar char="•"/>
              <a:defRPr/>
            </a:lvl1pPr>
            <a:lvl2pPr marL="685800" indent="-342900">
              <a:spcAft>
                <a:spcPts val="450"/>
              </a:spcAft>
              <a:buClr>
                <a:srgbClr val="009DDC"/>
              </a:buClr>
              <a:buFont typeface="Arial" panose="020B0604020202020204" pitchFamily="34" charset="0"/>
              <a:buChar char="•"/>
              <a:defRPr/>
            </a:lvl2pPr>
            <a:lvl3pPr marL="942975" indent="-257175">
              <a:spcAft>
                <a:spcPts val="450"/>
              </a:spcAft>
              <a:buClr>
                <a:srgbClr val="009DDC"/>
              </a:buClr>
              <a:buFont typeface="Arial" panose="020B0604020202020204" pitchFamily="34" charset="0"/>
              <a:buChar char="•"/>
              <a:defRPr/>
            </a:lvl3pPr>
            <a:lvl4pPr marL="1285875" indent="-257175">
              <a:spcAft>
                <a:spcPts val="450"/>
              </a:spcAft>
              <a:buClr>
                <a:srgbClr val="009DDC"/>
              </a:buClr>
              <a:buFont typeface="Arial" panose="020B0604020202020204" pitchFamily="34" charset="0"/>
              <a:buChar char="•"/>
              <a:defRPr/>
            </a:lvl4pPr>
            <a:lvl5pPr marL="1628775" indent="-257175">
              <a:spcAft>
                <a:spcPts val="450"/>
              </a:spcAft>
              <a:buClr>
                <a:srgbClr val="009DDC"/>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AD483169-FD80-D245-A373-A7311B6E0D49}"/>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DA56584-F59E-8043-9D77-BA0B754F69F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3" name="Straight Connector 12">
            <a:extLst>
              <a:ext uri="{FF2B5EF4-FFF2-40B4-BE49-F238E27FC236}">
                <a16:creationId xmlns:a16="http://schemas.microsoft.com/office/drawing/2014/main" id="{74CA209F-B9AC-DA40-8C43-FEF5411B48BF}"/>
              </a:ext>
            </a:extLst>
          </p:cNvPr>
          <p:cNvCxnSpPr>
            <a:cxnSpLocks/>
          </p:cNvCxnSpPr>
          <p:nvPr userDrawn="1"/>
        </p:nvCxnSpPr>
        <p:spPr>
          <a:xfrm>
            <a:off x="445654"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99E43BE2-9F07-674F-BA4E-8DB131D47FEF}"/>
              </a:ext>
            </a:extLst>
          </p:cNvPr>
          <p:cNvSpPr>
            <a:spLocks noGrp="1"/>
          </p:cNvSpPr>
          <p:nvPr>
            <p:ph type="body" sz="quarter" idx="12"/>
          </p:nvPr>
        </p:nvSpPr>
        <p:spPr>
          <a:xfrm>
            <a:off x="381000" y="1828183"/>
            <a:ext cx="5486400" cy="635618"/>
          </a:xfrm>
        </p:spPr>
        <p:txBody>
          <a:bodyPr anchor="b"/>
          <a:lstStyle>
            <a:lvl1pPr marL="0" indent="0">
              <a:buNone/>
              <a:defRPr b="1">
                <a:solidFill>
                  <a:srgbClr val="009DDC"/>
                </a:solidFill>
              </a:defRPr>
            </a:lvl1pPr>
            <a:lvl2pPr marL="342900" indent="0">
              <a:buNone/>
              <a:defRPr/>
            </a:lvl2pPr>
            <a:lvl3pPr marL="685800" indent="0">
              <a:buNone/>
              <a:defRPr/>
            </a:lvl3pPr>
            <a:lvl4pPr marL="1028700" indent="0">
              <a:buNone/>
              <a:defRPr/>
            </a:lvl4pPr>
            <a:lvl5pPr marL="1371600" indent="0">
              <a:buNone/>
              <a:defRPr/>
            </a:lvl5pPr>
          </a:lstStyle>
          <a:p>
            <a:pPr lvl="0"/>
            <a:endParaRPr lang="en-US"/>
          </a:p>
        </p:txBody>
      </p:sp>
      <p:sp>
        <p:nvSpPr>
          <p:cNvPr id="11" name="Text Placeholder 5">
            <a:extLst>
              <a:ext uri="{FF2B5EF4-FFF2-40B4-BE49-F238E27FC236}">
                <a16:creationId xmlns:a16="http://schemas.microsoft.com/office/drawing/2014/main" id="{345EF32B-3255-D948-904C-91C807E4E418}"/>
              </a:ext>
            </a:extLst>
          </p:cNvPr>
          <p:cNvSpPr>
            <a:spLocks noGrp="1"/>
          </p:cNvSpPr>
          <p:nvPr>
            <p:ph type="body" sz="quarter" idx="13"/>
          </p:nvPr>
        </p:nvSpPr>
        <p:spPr>
          <a:xfrm>
            <a:off x="6324603" y="1828183"/>
            <a:ext cx="5486400" cy="635618"/>
          </a:xfrm>
        </p:spPr>
        <p:txBody>
          <a:bodyPr anchor="b"/>
          <a:lstStyle>
            <a:lvl1pPr marL="0" indent="0">
              <a:buNone/>
              <a:defRPr b="1">
                <a:solidFill>
                  <a:srgbClr val="009DDC"/>
                </a:solidFill>
              </a:defRPr>
            </a:lvl1pPr>
            <a:lvl2pPr marL="342900" indent="0">
              <a:buNone/>
              <a:defRPr/>
            </a:lvl2pPr>
            <a:lvl3pPr marL="685800" indent="0">
              <a:buNone/>
              <a:defRPr/>
            </a:lvl3pPr>
            <a:lvl4pPr marL="1028700" indent="0">
              <a:buNone/>
              <a:defRPr/>
            </a:lvl4pPr>
            <a:lvl5pPr marL="1371600" indent="0">
              <a:buNone/>
              <a:defRPr/>
            </a:lvl5pPr>
          </a:lstStyle>
          <a:p>
            <a:pPr lvl="0"/>
            <a:endParaRPr lang="en-US"/>
          </a:p>
        </p:txBody>
      </p:sp>
    </p:spTree>
    <p:extLst>
      <p:ext uri="{BB962C8B-B14F-4D97-AF65-F5344CB8AC3E}">
        <p14:creationId xmlns:p14="http://schemas.microsoft.com/office/powerpoint/2010/main" val="268665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ntent Only">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C0996F7-7777-2543-888F-28DFAEE5C3FA}"/>
              </a:ext>
            </a:extLst>
          </p:cNvPr>
          <p:cNvSpPr>
            <a:spLocks noGrp="1"/>
          </p:cNvSpPr>
          <p:nvPr>
            <p:ph sz="quarter" idx="10"/>
          </p:nvPr>
        </p:nvSpPr>
        <p:spPr>
          <a:xfrm>
            <a:off x="3810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8">
            <a:extLst>
              <a:ext uri="{FF2B5EF4-FFF2-40B4-BE49-F238E27FC236}">
                <a16:creationId xmlns:a16="http://schemas.microsoft.com/office/drawing/2014/main" id="{8551022F-9F66-4245-B91B-0B52A374ADBF}"/>
              </a:ext>
            </a:extLst>
          </p:cNvPr>
          <p:cNvSpPr>
            <a:spLocks noGrp="1"/>
          </p:cNvSpPr>
          <p:nvPr>
            <p:ph sz="quarter" idx="11"/>
          </p:nvPr>
        </p:nvSpPr>
        <p:spPr>
          <a:xfrm>
            <a:off x="42672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8">
            <a:extLst>
              <a:ext uri="{FF2B5EF4-FFF2-40B4-BE49-F238E27FC236}">
                <a16:creationId xmlns:a16="http://schemas.microsoft.com/office/drawing/2014/main" id="{5F5131D7-B12B-4F4B-9DE0-01650C8DEB4A}"/>
              </a:ext>
            </a:extLst>
          </p:cNvPr>
          <p:cNvSpPr>
            <a:spLocks noGrp="1"/>
          </p:cNvSpPr>
          <p:nvPr>
            <p:ph sz="quarter" idx="12"/>
          </p:nvPr>
        </p:nvSpPr>
        <p:spPr>
          <a:xfrm>
            <a:off x="8153400" y="381000"/>
            <a:ext cx="3657600" cy="533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602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84" userDrawn="1">
          <p15:clr>
            <a:srgbClr val="FBAE40"/>
          </p15:clr>
        </p15:guide>
        <p15:guide id="2" pos="3392" userDrawn="1">
          <p15:clr>
            <a:srgbClr val="FBAE40"/>
          </p15:clr>
        </p15:guide>
        <p15:guide id="3" pos="6656" userDrawn="1">
          <p15:clr>
            <a:srgbClr val="FBAE40"/>
          </p15:clr>
        </p15:guide>
        <p15:guide id="4" pos="6848"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lank ">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658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0E903F-7A34-4041-9E4B-E79423094970}"/>
              </a:ext>
            </a:extLst>
          </p:cNvPr>
          <p:cNvSpPr>
            <a:spLocks noGrp="1"/>
          </p:cNvSpPr>
          <p:nvPr>
            <p:ph type="title"/>
          </p:nvPr>
        </p:nvSpPr>
        <p:spPr/>
        <p:txBody>
          <a:bodyPr tIns="91440" anchor="t"/>
          <a:lstStyle/>
          <a:p>
            <a:r>
              <a:rPr lang="en-US"/>
              <a:t>Click to edit Master title style</a:t>
            </a:r>
          </a:p>
        </p:txBody>
      </p:sp>
      <p:sp>
        <p:nvSpPr>
          <p:cNvPr id="7" name="Text Placeholder 2">
            <a:extLst>
              <a:ext uri="{FF2B5EF4-FFF2-40B4-BE49-F238E27FC236}">
                <a16:creationId xmlns:a16="http://schemas.microsoft.com/office/drawing/2014/main" id="{0F0004B8-1EC7-7F49-B74B-6F4739C635F0}"/>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Tree>
    <p:extLst>
      <p:ext uri="{BB962C8B-B14F-4D97-AF65-F5344CB8AC3E}">
        <p14:creationId xmlns:p14="http://schemas.microsoft.com/office/powerpoint/2010/main" val="336287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 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699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588C-E329-0443-9E19-43BE1A8E6E8B}"/>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1F72C14-AB78-6D4C-BFF8-9310382F5936}"/>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563694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Footer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3B5B9A-3CAA-C74B-A70E-A03755CF2C81}"/>
              </a:ext>
            </a:extLst>
          </p:cNvPr>
          <p:cNvSpPr>
            <a:spLocks noGrp="1"/>
          </p:cNvSpPr>
          <p:nvPr>
            <p:ph type="title"/>
          </p:nvPr>
        </p:nvSpPr>
        <p:spPr/>
        <p:txBody>
          <a:bodyPr/>
          <a:lstStyle/>
          <a:p>
            <a:r>
              <a:rPr lang="en-US"/>
              <a:t>Click to edit Master title style</a:t>
            </a:r>
          </a:p>
        </p:txBody>
      </p:sp>
      <p:sp>
        <p:nvSpPr>
          <p:cNvPr id="12" name="Text Placeholder 2">
            <a:extLst>
              <a:ext uri="{FF2B5EF4-FFF2-40B4-BE49-F238E27FC236}">
                <a16:creationId xmlns:a16="http://schemas.microsoft.com/office/drawing/2014/main" id="{D66248B3-323C-204C-BC99-6455E90F20E3}"/>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3" name="Straight Connector 12">
            <a:extLst>
              <a:ext uri="{FF2B5EF4-FFF2-40B4-BE49-F238E27FC236}">
                <a16:creationId xmlns:a16="http://schemas.microsoft.com/office/drawing/2014/main" id="{458445D0-8BD7-9543-A0AC-119E5F350621}"/>
              </a:ext>
            </a:extLst>
          </p:cNvPr>
          <p:cNvCxnSpPr>
            <a:cxnSpLocks/>
          </p:cNvCxnSpPr>
          <p:nvPr userDrawn="1"/>
        </p:nvCxnSpPr>
        <p:spPr>
          <a:xfrm>
            <a:off x="445654" y="1579757"/>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455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Footer Only - No Lin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0E903F-7A34-4041-9E4B-E79423094970}"/>
              </a:ext>
            </a:extLst>
          </p:cNvPr>
          <p:cNvSpPr>
            <a:spLocks noGrp="1"/>
          </p:cNvSpPr>
          <p:nvPr>
            <p:ph type="title"/>
          </p:nvPr>
        </p:nvSpPr>
        <p:spPr/>
        <p:txBody>
          <a:bodyPr tIns="91440" anchor="t"/>
          <a:lstStyle/>
          <a:p>
            <a:r>
              <a:rPr lang="en-US"/>
              <a:t>Click to edit Master title style</a:t>
            </a:r>
          </a:p>
        </p:txBody>
      </p:sp>
      <p:sp>
        <p:nvSpPr>
          <p:cNvPr id="7" name="Text Placeholder 2">
            <a:extLst>
              <a:ext uri="{FF2B5EF4-FFF2-40B4-BE49-F238E27FC236}">
                <a16:creationId xmlns:a16="http://schemas.microsoft.com/office/drawing/2014/main" id="{0F0004B8-1EC7-7F49-B74B-6F4739C635F0}"/>
              </a:ext>
            </a:extLst>
          </p:cNvPr>
          <p:cNvSpPr txBox="1">
            <a:spLocks/>
          </p:cNvSpPr>
          <p:nvPr userDrawn="1"/>
        </p:nvSpPr>
        <p:spPr>
          <a:xfrm>
            <a:off x="381000" y="393386"/>
            <a:ext cx="114300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Tree>
    <p:extLst>
      <p:ext uri="{BB962C8B-B14F-4D97-AF65-F5344CB8AC3E}">
        <p14:creationId xmlns:p14="http://schemas.microsoft.com/office/powerpoint/2010/main" val="3113931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eft Side Content Only">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DD802CAD-3E6B-47C8-8653-5FFEA4A51DEC}"/>
              </a:ext>
            </a:extLst>
          </p:cNvPr>
          <p:cNvSpPr>
            <a:spLocks noGrp="1"/>
          </p:cNvSpPr>
          <p:nvPr>
            <p:ph type="pic" sz="quarter" idx="11"/>
          </p:nvPr>
        </p:nvSpPr>
        <p:spPr>
          <a:xfrm>
            <a:off x="6646128" y="0"/>
            <a:ext cx="5545873" cy="5943600"/>
          </a:xfrm>
          <a:prstGeom prst="rect">
            <a:avLst/>
          </a:prstGeom>
        </p:spPr>
        <p:txBody>
          <a:bodyPr anchor="ctr"/>
          <a:lstStyle>
            <a:lvl1pPr marL="0" indent="0" algn="ctr">
              <a:buNone/>
              <a:defRPr/>
            </a:lvl1pPr>
          </a:lstStyle>
          <a:p>
            <a:r>
              <a:rPr lang="en-US"/>
              <a:t>Click icon to add picture</a:t>
            </a:r>
          </a:p>
        </p:txBody>
      </p:sp>
      <p:sp>
        <p:nvSpPr>
          <p:cNvPr id="3" name="Title 2">
            <a:extLst>
              <a:ext uri="{FF2B5EF4-FFF2-40B4-BE49-F238E27FC236}">
                <a16:creationId xmlns:a16="http://schemas.microsoft.com/office/drawing/2014/main" id="{4FDF02DC-48A7-9341-83EA-32115C659100}"/>
              </a:ext>
            </a:extLst>
          </p:cNvPr>
          <p:cNvSpPr>
            <a:spLocks noGrp="1"/>
          </p:cNvSpPr>
          <p:nvPr>
            <p:ph type="title"/>
          </p:nvPr>
        </p:nvSpPr>
        <p:spPr>
          <a:xfrm>
            <a:off x="381000" y="532302"/>
            <a:ext cx="5486400" cy="991698"/>
          </a:xfrm>
        </p:spPr>
        <p:txBody>
          <a:bodyPr tIns="182880"/>
          <a:lstStyle/>
          <a:p>
            <a:r>
              <a:rPr lang="en-US"/>
              <a:t>Click to edit Master title style</a:t>
            </a:r>
          </a:p>
        </p:txBody>
      </p:sp>
      <p:sp>
        <p:nvSpPr>
          <p:cNvPr id="10" name="Text Placeholder 2">
            <a:extLst>
              <a:ext uri="{FF2B5EF4-FFF2-40B4-BE49-F238E27FC236}">
                <a16:creationId xmlns:a16="http://schemas.microsoft.com/office/drawing/2014/main" id="{DBF48651-229C-FA40-9D3F-56220D035821}"/>
              </a:ext>
            </a:extLst>
          </p:cNvPr>
          <p:cNvSpPr txBox="1">
            <a:spLocks/>
          </p:cNvSpPr>
          <p:nvPr userDrawn="1"/>
        </p:nvSpPr>
        <p:spPr>
          <a:xfrm>
            <a:off x="381001" y="393386"/>
            <a:ext cx="54864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1" name="Straight Connector 10">
            <a:extLst>
              <a:ext uri="{FF2B5EF4-FFF2-40B4-BE49-F238E27FC236}">
                <a16:creationId xmlns:a16="http://schemas.microsoft.com/office/drawing/2014/main" id="{98555469-AEB0-724E-BCC4-723E5F14382C}"/>
              </a:ext>
            </a:extLst>
          </p:cNvPr>
          <p:cNvCxnSpPr>
            <a:cxnSpLocks/>
          </p:cNvCxnSpPr>
          <p:nvPr userDrawn="1"/>
        </p:nvCxnSpPr>
        <p:spPr>
          <a:xfrm>
            <a:off x="445654" y="1657814"/>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8F0A40A0-FEAF-1B49-A50E-EC69AAC261B7}"/>
              </a:ext>
            </a:extLst>
          </p:cNvPr>
          <p:cNvSpPr>
            <a:spLocks noGrp="1"/>
          </p:cNvSpPr>
          <p:nvPr>
            <p:ph sz="quarter" idx="12"/>
          </p:nvPr>
        </p:nvSpPr>
        <p:spPr>
          <a:xfrm>
            <a:off x="381000" y="1828801"/>
            <a:ext cx="5486400" cy="38861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5594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eft Side 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DF02DC-48A7-9341-83EA-32115C659100}"/>
              </a:ext>
            </a:extLst>
          </p:cNvPr>
          <p:cNvSpPr>
            <a:spLocks noGrp="1"/>
          </p:cNvSpPr>
          <p:nvPr>
            <p:ph type="title"/>
          </p:nvPr>
        </p:nvSpPr>
        <p:spPr>
          <a:xfrm>
            <a:off x="381000" y="624468"/>
            <a:ext cx="5486400" cy="2804532"/>
          </a:xfrm>
        </p:spPr>
        <p:txBody>
          <a:bodyPr tIns="91440" anchor="t"/>
          <a:lstStyle/>
          <a:p>
            <a:r>
              <a:rPr lang="en-US"/>
              <a:t>Click to edit Master title style</a:t>
            </a:r>
          </a:p>
        </p:txBody>
      </p:sp>
      <p:sp>
        <p:nvSpPr>
          <p:cNvPr id="10" name="Text Placeholder 2">
            <a:extLst>
              <a:ext uri="{FF2B5EF4-FFF2-40B4-BE49-F238E27FC236}">
                <a16:creationId xmlns:a16="http://schemas.microsoft.com/office/drawing/2014/main" id="{DBF48651-229C-FA40-9D3F-56220D035821}"/>
              </a:ext>
            </a:extLst>
          </p:cNvPr>
          <p:cNvSpPr txBox="1">
            <a:spLocks/>
          </p:cNvSpPr>
          <p:nvPr userDrawn="1"/>
        </p:nvSpPr>
        <p:spPr>
          <a:xfrm>
            <a:off x="381001" y="393386"/>
            <a:ext cx="5486400"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Tree>
    <p:extLst>
      <p:ext uri="{BB962C8B-B14F-4D97-AF65-F5344CB8AC3E}">
        <p14:creationId xmlns:p14="http://schemas.microsoft.com/office/powerpoint/2010/main" val="404833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Side Content Onl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6324600" y="1828802"/>
            <a:ext cx="5486400" cy="3886199"/>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2">
            <a:extLst>
              <a:ext uri="{FF2B5EF4-FFF2-40B4-BE49-F238E27FC236}">
                <a16:creationId xmlns:a16="http://schemas.microsoft.com/office/drawing/2014/main" id="{F830454F-E51E-49B9-9116-0727B40F16F2}"/>
              </a:ext>
            </a:extLst>
          </p:cNvPr>
          <p:cNvSpPr>
            <a:spLocks noGrp="1"/>
          </p:cNvSpPr>
          <p:nvPr>
            <p:ph type="pic" sz="quarter" idx="11"/>
          </p:nvPr>
        </p:nvSpPr>
        <p:spPr>
          <a:xfrm>
            <a:off x="-1" y="-1"/>
            <a:ext cx="5867401" cy="5923275"/>
          </a:xfrm>
          <a:prstGeom prst="rect">
            <a:avLst/>
          </a:prstGeom>
        </p:spPr>
        <p:txBody>
          <a:bodyPr anchor="ct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B528180D-BD56-E34E-B6ED-BBB0663E738D}"/>
              </a:ext>
            </a:extLst>
          </p:cNvPr>
          <p:cNvSpPr>
            <a:spLocks noGrp="1"/>
          </p:cNvSpPr>
          <p:nvPr>
            <p:ph type="title"/>
          </p:nvPr>
        </p:nvSpPr>
        <p:spPr>
          <a:xfrm>
            <a:off x="6324600" y="532302"/>
            <a:ext cx="5486401" cy="991698"/>
          </a:xfrm>
        </p:spPr>
        <p:txBody>
          <a:bodyPr tIns="91440"/>
          <a:lstStyle/>
          <a:p>
            <a:r>
              <a:rPr lang="en-US"/>
              <a:t>Click to edit Master title style</a:t>
            </a:r>
          </a:p>
        </p:txBody>
      </p:sp>
      <p:sp>
        <p:nvSpPr>
          <p:cNvPr id="12" name="Text Placeholder 2">
            <a:extLst>
              <a:ext uri="{FF2B5EF4-FFF2-40B4-BE49-F238E27FC236}">
                <a16:creationId xmlns:a16="http://schemas.microsoft.com/office/drawing/2014/main" id="{DB0D7BCC-CBB1-C740-8F44-6A3C4C626B38}"/>
              </a:ext>
            </a:extLst>
          </p:cNvPr>
          <p:cNvSpPr txBox="1">
            <a:spLocks/>
          </p:cNvSpPr>
          <p:nvPr userDrawn="1"/>
        </p:nvSpPr>
        <p:spPr>
          <a:xfrm>
            <a:off x="6324602" y="393386"/>
            <a:ext cx="5486399" cy="138916"/>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cxnSp>
        <p:nvCxnSpPr>
          <p:cNvPr id="13" name="Straight Connector 12">
            <a:extLst>
              <a:ext uri="{FF2B5EF4-FFF2-40B4-BE49-F238E27FC236}">
                <a16:creationId xmlns:a16="http://schemas.microsoft.com/office/drawing/2014/main" id="{AF917942-1DE3-BA46-BBAC-E1AB2DCE4C49}"/>
              </a:ext>
            </a:extLst>
          </p:cNvPr>
          <p:cNvCxnSpPr>
            <a:cxnSpLocks/>
          </p:cNvCxnSpPr>
          <p:nvPr userDrawn="1"/>
        </p:nvCxnSpPr>
        <p:spPr>
          <a:xfrm>
            <a:off x="6389254" y="1602059"/>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60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512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3" y="6018756"/>
            <a:ext cx="1353327" cy="743771"/>
          </a:xfrm>
          <a:prstGeom prst="rect">
            <a:avLst/>
          </a:prstGeom>
        </p:spPr>
      </p:pic>
      <p:sp>
        <p:nvSpPr>
          <p:cNvPr id="5" name="Picture Placeholder 4">
            <a:extLst>
              <a:ext uri="{FF2B5EF4-FFF2-40B4-BE49-F238E27FC236}">
                <a16:creationId xmlns:a16="http://schemas.microsoft.com/office/drawing/2014/main" id="{D39F3435-1C21-4998-8E85-FFEF4BE2EC50}"/>
              </a:ext>
            </a:extLst>
          </p:cNvPr>
          <p:cNvSpPr>
            <a:spLocks noGrp="1"/>
          </p:cNvSpPr>
          <p:nvPr>
            <p:ph type="pic" sz="quarter" idx="10"/>
          </p:nvPr>
        </p:nvSpPr>
        <p:spPr>
          <a:xfrm>
            <a:off x="2" y="2"/>
            <a:ext cx="5402263" cy="5931395"/>
          </a:xfrm>
          <a:prstGeom prst="rect">
            <a:avLst/>
          </a:prstGeom>
        </p:spPr>
        <p:txBody>
          <a:bodyPr anchor="ctr"/>
          <a:lstStyle>
            <a:lvl1pPr marL="0" indent="0" algn="ctr">
              <a:buNone/>
              <a:defRPr/>
            </a:lvl1pPr>
          </a:lstStyle>
          <a:p>
            <a:r>
              <a:rPr lang="en-US"/>
              <a:t>Click icon to add picture</a:t>
            </a:r>
          </a:p>
        </p:txBody>
      </p:sp>
      <p:sp>
        <p:nvSpPr>
          <p:cNvPr id="13" name="Rectangle 12">
            <a:extLst>
              <a:ext uri="{FF2B5EF4-FFF2-40B4-BE49-F238E27FC236}">
                <a16:creationId xmlns:a16="http://schemas.microsoft.com/office/drawing/2014/main" id="{FE2DC956-3414-4FD3-8366-E1D33BDBB69B}"/>
              </a:ext>
            </a:extLst>
          </p:cNvPr>
          <p:cNvSpPr/>
          <p:nvPr/>
        </p:nvSpPr>
        <p:spPr>
          <a:xfrm>
            <a:off x="0" y="5931397"/>
            <a:ext cx="12192000" cy="9347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4" name="Picture 13">
            <a:extLst>
              <a:ext uri="{FF2B5EF4-FFF2-40B4-BE49-F238E27FC236}">
                <a16:creationId xmlns:a16="http://schemas.microsoft.com/office/drawing/2014/main" id="{8D11F645-D4BE-4CCA-838B-693165B665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3" y="6026873"/>
            <a:ext cx="1353327" cy="743771"/>
          </a:xfrm>
          <a:prstGeom prst="rect">
            <a:avLst/>
          </a:prstGeom>
        </p:spPr>
      </p:pic>
      <p:sp>
        <p:nvSpPr>
          <p:cNvPr id="4" name="Text Placeholder 3">
            <a:extLst>
              <a:ext uri="{FF2B5EF4-FFF2-40B4-BE49-F238E27FC236}">
                <a16:creationId xmlns:a16="http://schemas.microsoft.com/office/drawing/2014/main" id="{1D8E8A7F-7297-4DB2-BA63-CE01697D1CDC}"/>
              </a:ext>
            </a:extLst>
          </p:cNvPr>
          <p:cNvSpPr>
            <a:spLocks noGrp="1"/>
          </p:cNvSpPr>
          <p:nvPr>
            <p:ph type="body" sz="quarter" idx="12" hasCustomPrompt="1"/>
          </p:nvPr>
        </p:nvSpPr>
        <p:spPr>
          <a:xfrm>
            <a:off x="5867399" y="3632200"/>
            <a:ext cx="5943600" cy="2082796"/>
          </a:xfrm>
          <a:prstGeom prst="rect">
            <a:avLst/>
          </a:prstGeom>
        </p:spPr>
        <p:txBody>
          <a:bodyPr/>
          <a:lstStyle>
            <a:lvl1pPr marL="0" indent="0">
              <a:buNone/>
              <a:defRPr/>
            </a:lvl1pPr>
            <a:lvl5pPr>
              <a:defRPr/>
            </a:lvl5pPr>
          </a:lstStyle>
          <a:p>
            <a:pPr lvl="0"/>
            <a:r>
              <a:rPr lang="en-US"/>
              <a:t>[Name]</a:t>
            </a:r>
          </a:p>
          <a:p>
            <a:pPr lvl="0"/>
            <a:r>
              <a:rPr lang="en-US"/>
              <a:t>[Title]</a:t>
            </a:r>
          </a:p>
          <a:p>
            <a:pPr lvl="0"/>
            <a:r>
              <a:rPr lang="en-US"/>
              <a:t>[Contact information]</a:t>
            </a:r>
          </a:p>
        </p:txBody>
      </p:sp>
      <p:sp>
        <p:nvSpPr>
          <p:cNvPr id="11" name="Title 1">
            <a:extLst>
              <a:ext uri="{FF2B5EF4-FFF2-40B4-BE49-F238E27FC236}">
                <a16:creationId xmlns:a16="http://schemas.microsoft.com/office/drawing/2014/main" id="{BE9B1A66-1E9D-D347-ABAF-C6FBE7A6F234}"/>
              </a:ext>
            </a:extLst>
          </p:cNvPr>
          <p:cNvSpPr>
            <a:spLocks noGrp="1"/>
          </p:cNvSpPr>
          <p:nvPr>
            <p:ph type="title" hasCustomPrompt="1"/>
          </p:nvPr>
        </p:nvSpPr>
        <p:spPr>
          <a:xfrm>
            <a:off x="5867400" y="2286000"/>
            <a:ext cx="5943600" cy="1151118"/>
          </a:xfrm>
          <a:prstGeom prst="rect">
            <a:avLst/>
          </a:prstGeom>
        </p:spPr>
        <p:txBody>
          <a:bodyPr anchor="b">
            <a:normAutofit/>
          </a:bodyPr>
          <a:lstStyle>
            <a:lvl1pPr>
              <a:defRPr sz="4050" b="1" i="0">
                <a:solidFill>
                  <a:schemeClr val="tx1"/>
                </a:solidFill>
                <a:latin typeface="Arial" panose="020B0604020202020204" pitchFamily="34" charset="0"/>
                <a:cs typeface="Arial" panose="020B0604020202020204" pitchFamily="34" charset="0"/>
              </a:defRPr>
            </a:lvl1pPr>
          </a:lstStyle>
          <a:p>
            <a:r>
              <a:rPr lang="en-US"/>
              <a:t>Thank You!</a:t>
            </a:r>
          </a:p>
        </p:txBody>
      </p:sp>
      <p:cxnSp>
        <p:nvCxnSpPr>
          <p:cNvPr id="12" name="Straight Connector 11">
            <a:extLst>
              <a:ext uri="{FF2B5EF4-FFF2-40B4-BE49-F238E27FC236}">
                <a16:creationId xmlns:a16="http://schemas.microsoft.com/office/drawing/2014/main" id="{6E9CF33E-7998-9D42-835F-6601AABAAE53}"/>
              </a:ext>
            </a:extLst>
          </p:cNvPr>
          <p:cNvCxnSpPr/>
          <p:nvPr userDrawn="1"/>
        </p:nvCxnSpPr>
        <p:spPr>
          <a:xfrm>
            <a:off x="5923157" y="3488260"/>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124E84AA-CB13-CC41-9D81-5C6997C89395}"/>
              </a:ext>
            </a:extLst>
          </p:cNvPr>
          <p:cNvSpPr txBox="1">
            <a:spLocks/>
          </p:cNvSpPr>
          <p:nvPr userDrawn="1"/>
        </p:nvSpPr>
        <p:spPr>
          <a:xfrm>
            <a:off x="5867400" y="2195533"/>
            <a:ext cx="5943600" cy="154903"/>
          </a:xfrm>
          <a:prstGeom prst="rect">
            <a:avLst/>
          </a:prstGeom>
        </p:spPr>
        <p:txBody>
          <a:bodyPr lIns="0" tIns="0" rIns="0" bIns="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1" i="0" kern="1200" cap="all" baseline="0">
                <a:solidFill>
                  <a:srgbClr val="9F9F9F"/>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spcAft>
                <a:spcPts val="600"/>
              </a:spcAft>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spcAft>
                <a:spcPts val="600"/>
              </a:spcAft>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spcAft>
                <a:spcPts val="600"/>
              </a:spcAft>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1050"/>
              <a:t>BOYS &amp; GIRLS CLUBS OF AMERICA</a:t>
            </a:r>
          </a:p>
        </p:txBody>
      </p:sp>
    </p:spTree>
    <p:extLst>
      <p:ext uri="{BB962C8B-B14F-4D97-AF65-F5344CB8AC3E}">
        <p14:creationId xmlns:p14="http://schemas.microsoft.com/office/powerpoint/2010/main" val="11124570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Photo - Option 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3994E4E-6243-4B81-92C9-1E8215CA91EE}"/>
              </a:ext>
            </a:extLst>
          </p:cNvPr>
          <p:cNvSpPr>
            <a:spLocks noGrp="1"/>
          </p:cNvSpPr>
          <p:nvPr>
            <p:ph type="subTitle" idx="1"/>
          </p:nvPr>
        </p:nvSpPr>
        <p:spPr>
          <a:xfrm>
            <a:off x="3581400" y="4938540"/>
            <a:ext cx="7772400" cy="876748"/>
          </a:xfrm>
          <a:prstGeom prst="rect">
            <a:avLst/>
          </a:prstGeo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9F65B65-77DB-4B76-9052-FB4DE1651D47}"/>
              </a:ext>
            </a:extLst>
          </p:cNvPr>
          <p:cNvSpPr>
            <a:spLocks noGrp="1"/>
          </p:cNvSpPr>
          <p:nvPr>
            <p:ph type="dt" sz="half" idx="10"/>
          </p:nvPr>
        </p:nvSpPr>
        <p:spPr>
          <a:xfrm>
            <a:off x="838200" y="6356352"/>
            <a:ext cx="2743200" cy="365125"/>
          </a:xfrm>
          <a:prstGeom prst="rect">
            <a:avLst/>
          </a:prstGeom>
        </p:spPr>
        <p:txBody>
          <a:bodyPr/>
          <a:lstStyle/>
          <a:p>
            <a:fld id="{98463734-6F52-461C-A2B2-300503EE808A}" type="datetimeFigureOut">
              <a:rPr lang="en-US" smtClean="0"/>
              <a:t>3/1/23</a:t>
            </a:fld>
            <a:endParaRPr lang="en-US"/>
          </a:p>
        </p:txBody>
      </p:sp>
      <p:sp>
        <p:nvSpPr>
          <p:cNvPr id="5" name="Footer Placeholder 4">
            <a:extLst>
              <a:ext uri="{FF2B5EF4-FFF2-40B4-BE49-F238E27FC236}">
                <a16:creationId xmlns:a16="http://schemas.microsoft.com/office/drawing/2014/main" id="{2B056837-0E8E-4D57-9516-22895320862F}"/>
              </a:ext>
            </a:extLst>
          </p:cNvPr>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E4FB576-254B-45AD-99E6-31D0DDDC589F}"/>
              </a:ext>
            </a:extLst>
          </p:cNvPr>
          <p:cNvSpPr>
            <a:spLocks noGrp="1"/>
          </p:cNvSpPr>
          <p:nvPr>
            <p:ph type="sldNum" sz="quarter" idx="12"/>
          </p:nvPr>
        </p:nvSpPr>
        <p:spPr>
          <a:xfrm>
            <a:off x="8610600" y="6356352"/>
            <a:ext cx="2743200" cy="365125"/>
          </a:xfrm>
          <a:prstGeom prst="rect">
            <a:avLst/>
          </a:prstGeom>
        </p:spPr>
        <p:txBody>
          <a:bodyPr/>
          <a:lstStyle/>
          <a:p>
            <a:fld id="{3E7C50CF-3954-4162-8DB4-E527195877A7}" type="slidenum">
              <a:rPr lang="en-US" smtClean="0"/>
              <a:t>‹#›</a:t>
            </a:fld>
            <a:endParaRPr lang="en-US"/>
          </a:p>
        </p:txBody>
      </p:sp>
      <p:sp>
        <p:nvSpPr>
          <p:cNvPr id="2" name="Title 1">
            <a:extLst>
              <a:ext uri="{FF2B5EF4-FFF2-40B4-BE49-F238E27FC236}">
                <a16:creationId xmlns:a16="http://schemas.microsoft.com/office/drawing/2014/main" id="{D35CC3CD-4E92-4A59-926A-DDE007EDE2C5}"/>
              </a:ext>
            </a:extLst>
          </p:cNvPr>
          <p:cNvSpPr>
            <a:spLocks noGrp="1"/>
          </p:cNvSpPr>
          <p:nvPr>
            <p:ph type="ctrTitle"/>
          </p:nvPr>
        </p:nvSpPr>
        <p:spPr>
          <a:xfrm>
            <a:off x="2" y="2550940"/>
            <a:ext cx="6294783" cy="2387600"/>
          </a:xfrm>
          <a:prstGeom prst="rect">
            <a:avLst/>
          </a:prstGeom>
        </p:spPr>
        <p:txBody>
          <a:bodyPr anchor="b"/>
          <a:lstStyle>
            <a:lvl1pPr algn="r">
              <a:defRPr sz="4500">
                <a:solidFill>
                  <a:schemeClr val="bg1"/>
                </a:solidFill>
              </a:defRPr>
            </a:lvl1pPr>
          </a:lstStyle>
          <a:p>
            <a:r>
              <a:rPr lang="en-US"/>
              <a:t>Click to edit Master title style</a:t>
            </a:r>
          </a:p>
        </p:txBody>
      </p:sp>
      <p:sp>
        <p:nvSpPr>
          <p:cNvPr id="8" name="Rectangle 7">
            <a:extLst>
              <a:ext uri="{FF2B5EF4-FFF2-40B4-BE49-F238E27FC236}">
                <a16:creationId xmlns:a16="http://schemas.microsoft.com/office/drawing/2014/main" id="{1419DAF6-F9C8-4F53-ACD6-179EBBDE330F}"/>
              </a:ext>
            </a:extLst>
          </p:cNvPr>
          <p:cNvSpPr/>
          <p:nvPr/>
        </p:nvSpPr>
        <p:spPr>
          <a:xfrm>
            <a:off x="5974813" y="3244334"/>
            <a:ext cx="227948" cy="300082"/>
          </a:xfrm>
          <a:prstGeom prst="rect">
            <a:avLst/>
          </a:prstGeom>
        </p:spPr>
        <p:txBody>
          <a:bodyPr wrap="none">
            <a:spAutoFit/>
          </a:bodyPr>
          <a:lstStyle/>
          <a:p>
            <a:r>
              <a:rPr lang="en-US" sz="1350" b="0" i="0">
                <a:solidFill>
                  <a:srgbClr val="000000"/>
                </a:solidFill>
                <a:effectLst/>
                <a:latin typeface="Times New Roman" panose="02020603050405020304" pitchFamily="18" charset="0"/>
              </a:rPr>
              <a:t> </a:t>
            </a:r>
            <a:endParaRPr lang="en-US" sz="1350"/>
          </a:p>
        </p:txBody>
      </p:sp>
      <p:pic>
        <p:nvPicPr>
          <p:cNvPr id="10" name="Picture 9">
            <a:extLst>
              <a:ext uri="{FF2B5EF4-FFF2-40B4-BE49-F238E27FC236}">
                <a16:creationId xmlns:a16="http://schemas.microsoft.com/office/drawing/2014/main" id="{C9A2F68F-DD77-46C5-9085-618DED525AE7}"/>
              </a:ext>
            </a:extLst>
          </p:cNvPr>
          <p:cNvPicPr>
            <a:picLocks noChangeAspect="1"/>
          </p:cNvPicPr>
          <p:nvPr/>
        </p:nvPicPr>
        <p:blipFill rotWithShape="1">
          <a:blip r:embed="rId2"/>
          <a:srcRect t="13603" b="13603"/>
          <a:stretch/>
        </p:blipFill>
        <p:spPr>
          <a:xfrm>
            <a:off x="0" y="0"/>
            <a:ext cx="12192000" cy="6858000"/>
          </a:xfrm>
          <a:prstGeom prst="rect">
            <a:avLst/>
          </a:prstGeom>
        </p:spPr>
      </p:pic>
    </p:spTree>
    <p:extLst>
      <p:ext uri="{BB962C8B-B14F-4D97-AF65-F5344CB8AC3E}">
        <p14:creationId xmlns:p14="http://schemas.microsoft.com/office/powerpoint/2010/main" val="899366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hoto - Option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B5F29A1-53BD-476B-B4AD-188D0F4B7832}"/>
              </a:ext>
            </a:extLst>
          </p:cNvPr>
          <p:cNvPicPr>
            <a:picLocks noChangeAspect="1"/>
          </p:cNvPicPr>
          <p:nvPr/>
        </p:nvPicPr>
        <p:blipFill rotWithShape="1">
          <a:blip r:embed="rId2">
            <a:extLst>
              <a:ext uri="{28A0092B-C50C-407E-A947-70E740481C1C}">
                <a14:useLocalDpi xmlns:a14="http://schemas.microsoft.com/office/drawing/2010/main" val="0"/>
              </a:ext>
            </a:extLst>
          </a:blip>
          <a:srcRect t="2014" b="13609"/>
          <a:stretch/>
        </p:blipFill>
        <p:spPr>
          <a:xfrm>
            <a:off x="0" y="0"/>
            <a:ext cx="12192000" cy="6858000"/>
          </a:xfrm>
          <a:prstGeom prst="rect">
            <a:avLst/>
          </a:prstGeom>
        </p:spPr>
      </p:pic>
    </p:spTree>
    <p:extLst>
      <p:ext uri="{BB962C8B-B14F-4D97-AF65-F5344CB8AC3E}">
        <p14:creationId xmlns:p14="http://schemas.microsoft.com/office/powerpoint/2010/main" val="1716758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hoto - Option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24CB2DD-D6A6-44BA-B940-60D870B6D1EE}"/>
              </a:ext>
            </a:extLst>
          </p:cNvPr>
          <p:cNvPicPr>
            <a:picLocks noChangeAspect="1"/>
          </p:cNvPicPr>
          <p:nvPr/>
        </p:nvPicPr>
        <p:blipFill rotWithShape="1">
          <a:blip r:embed="rId2">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Tree>
    <p:extLst>
      <p:ext uri="{BB962C8B-B14F-4D97-AF65-F5344CB8AC3E}">
        <p14:creationId xmlns:p14="http://schemas.microsoft.com/office/powerpoint/2010/main" val="3421249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hoto - Option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D4885E5-C209-427F-BDE1-CC3AC853758A}"/>
              </a:ext>
            </a:extLst>
          </p:cNvPr>
          <p:cNvPicPr>
            <a:picLocks noChangeAspect="1"/>
          </p:cNvPicPr>
          <p:nvPr/>
        </p:nvPicPr>
        <p:blipFill rotWithShape="1">
          <a:blip r:embed="rId2">
            <a:extLst>
              <a:ext uri="{28A0092B-C50C-407E-A947-70E740481C1C}">
                <a14:useLocalDpi xmlns:a14="http://schemas.microsoft.com/office/drawing/2010/main" val="0"/>
              </a:ext>
            </a:extLst>
          </a:blip>
          <a:srcRect t="7813" b="7813"/>
          <a:stretch/>
        </p:blipFill>
        <p:spPr>
          <a:xfrm>
            <a:off x="1" y="-1"/>
            <a:ext cx="12192000" cy="6858001"/>
          </a:xfrm>
          <a:prstGeom prst="rect">
            <a:avLst/>
          </a:prstGeom>
        </p:spPr>
      </p:pic>
    </p:spTree>
    <p:extLst>
      <p:ext uri="{BB962C8B-B14F-4D97-AF65-F5344CB8AC3E}">
        <p14:creationId xmlns:p14="http://schemas.microsoft.com/office/powerpoint/2010/main" val="26756041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7CBD4-1C2B-7948-9F0F-74D47E435C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F61AD8-2CC8-934D-810E-E8E32A31F5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CA48A5-2557-8D4A-940C-494C63859B1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A1CFD53C-A8B3-3F4D-BB3D-E983705C8323}"/>
              </a:ext>
            </a:extLst>
          </p:cNvPr>
          <p:cNvSpPr>
            <a:spLocks noGrp="1"/>
          </p:cNvSpPr>
          <p:nvPr>
            <p:ph type="sldNum" sz="quarter" idx="12"/>
          </p:nvPr>
        </p:nvSpPr>
        <p:spPr>
          <a:xfrm>
            <a:off x="10668001" y="6457208"/>
            <a:ext cx="952499" cy="286492"/>
          </a:xfrm>
          <a:prstGeom prst="rect">
            <a:avLst/>
          </a:prstGeom>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3260461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hoto - Option 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761D65-C8B6-473C-8929-991703246D27}"/>
              </a:ext>
            </a:extLst>
          </p:cNvPr>
          <p:cNvPicPr>
            <a:picLocks noChangeAspect="1"/>
          </p:cNvPicPr>
          <p:nvPr/>
        </p:nvPicPr>
        <p:blipFill rotWithShape="1">
          <a:blip r:embed="rId2">
            <a:extLst>
              <a:ext uri="{28A0092B-C50C-407E-A947-70E740481C1C}">
                <a14:useLocalDpi xmlns:a14="http://schemas.microsoft.com/office/drawing/2010/main" val="0"/>
              </a:ext>
            </a:extLst>
          </a:blip>
          <a:srcRect b="15624"/>
          <a:stretch/>
        </p:blipFill>
        <p:spPr>
          <a:xfrm>
            <a:off x="0" y="0"/>
            <a:ext cx="12192000" cy="6858000"/>
          </a:xfrm>
          <a:prstGeom prst="rect">
            <a:avLst/>
          </a:prstGeom>
        </p:spPr>
      </p:pic>
    </p:spTree>
    <p:extLst>
      <p:ext uri="{BB962C8B-B14F-4D97-AF65-F5344CB8AC3E}">
        <p14:creationId xmlns:p14="http://schemas.microsoft.com/office/powerpoint/2010/main" val="24976883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hoto - Option 6">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14E39D-10A8-40AE-80CA-F6C20AB12AD7}"/>
              </a:ext>
            </a:extLst>
          </p:cNvPr>
          <p:cNvPicPr>
            <a:picLocks noChangeAspect="1"/>
          </p:cNvPicPr>
          <p:nvPr/>
        </p:nvPicPr>
        <p:blipFill rotWithShape="1">
          <a:blip r:embed="rId2">
            <a:extLst>
              <a:ext uri="{28A0092B-C50C-407E-A947-70E740481C1C}">
                <a14:useLocalDpi xmlns:a14="http://schemas.microsoft.com/office/drawing/2010/main" val="0"/>
              </a:ext>
            </a:extLst>
          </a:blip>
          <a:srcRect t="8059" b="7791"/>
          <a:stretch/>
        </p:blipFill>
        <p:spPr>
          <a:xfrm>
            <a:off x="-32734" y="0"/>
            <a:ext cx="12224735" cy="6858000"/>
          </a:xfrm>
          <a:prstGeom prst="rect">
            <a:avLst/>
          </a:prstGeom>
        </p:spPr>
      </p:pic>
    </p:spTree>
    <p:extLst>
      <p:ext uri="{BB962C8B-B14F-4D97-AF65-F5344CB8AC3E}">
        <p14:creationId xmlns:p14="http://schemas.microsoft.com/office/powerpoint/2010/main" val="10825639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lank">
    <p:bg>
      <p:bgPr>
        <a:solidFill>
          <a:srgbClr val="009DD8"/>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DCE9344-7935-9943-AE49-874320AD8619}"/>
              </a:ext>
            </a:extLst>
          </p:cNvPr>
          <p:cNvSpPr>
            <a:spLocks noGrp="1"/>
          </p:cNvSpPr>
          <p:nvPr>
            <p:ph type="body" sz="quarter" idx="10" hasCustomPrompt="1"/>
          </p:nvPr>
        </p:nvSpPr>
        <p:spPr>
          <a:xfrm>
            <a:off x="266702" y="4760915"/>
            <a:ext cx="11772900" cy="1087437"/>
          </a:xfrm>
          <a:prstGeom prst="rect">
            <a:avLst/>
          </a:prstGeom>
        </p:spPr>
        <p:txBody>
          <a:bodyPr lIns="91440" rIns="91440">
            <a:noAutofit/>
          </a:bodyPr>
          <a:lstStyle>
            <a:lvl1pPr marL="5954" indent="0" algn="ctr">
              <a:lnSpc>
                <a:spcPct val="100000"/>
              </a:lnSpc>
              <a:spcBef>
                <a:spcPts val="0"/>
              </a:spcBef>
              <a:buNone/>
              <a:tabLst/>
              <a:defRPr sz="900">
                <a:solidFill>
                  <a:schemeClr val="bg1"/>
                </a:solidFill>
              </a:defRPr>
            </a:lvl1pPr>
            <a:lvl2pPr marL="5954" indent="0" algn="ctr">
              <a:buNone/>
              <a:tabLst/>
              <a:defRPr sz="900">
                <a:solidFill>
                  <a:schemeClr val="bg1"/>
                </a:solidFill>
              </a:defRPr>
            </a:lvl2pPr>
            <a:lvl3pPr marL="5954" indent="0" algn="ctr">
              <a:buNone/>
              <a:tabLst/>
              <a:defRPr sz="900">
                <a:solidFill>
                  <a:schemeClr val="bg1"/>
                </a:solidFill>
              </a:defRPr>
            </a:lvl3pPr>
            <a:lvl4pPr marL="5954" indent="0" algn="ctr">
              <a:buNone/>
              <a:tabLst/>
              <a:defRPr sz="900">
                <a:solidFill>
                  <a:schemeClr val="bg1"/>
                </a:solidFill>
              </a:defRPr>
            </a:lvl4pPr>
            <a:lvl5pPr marL="5954" indent="0" algn="ctr">
              <a:buNone/>
              <a:tabLst/>
              <a:defRPr sz="900">
                <a:solidFill>
                  <a:schemeClr val="bg1"/>
                </a:solidFill>
              </a:defRPr>
            </a:lvl5pPr>
          </a:lstStyle>
          <a:p>
            <a:pPr algn="ctr"/>
            <a:r>
              <a:rPr lang="en-US" sz="900" b="1">
                <a:solidFill>
                  <a:schemeClr val="bg1"/>
                </a:solidFill>
                <a:latin typeface="Arial" panose="020B0604020202020204" pitchFamily="34" charset="0"/>
                <a:cs typeface="Arial" panose="020B0604020202020204" pitchFamily="34" charset="0"/>
              </a:rPr>
              <a:t>National Headquarters</a:t>
            </a:r>
          </a:p>
          <a:p>
            <a:pPr algn="ctr"/>
            <a:r>
              <a:rPr lang="en-US" sz="900">
                <a:solidFill>
                  <a:schemeClr val="bg1"/>
                </a:solidFill>
                <a:latin typeface="Arial" panose="020B0604020202020204" pitchFamily="34" charset="0"/>
                <a:cs typeface="Arial" panose="020B0604020202020204" pitchFamily="34" charset="0"/>
              </a:rPr>
              <a:t>1275 Peachtree Street NE</a:t>
            </a:r>
          </a:p>
          <a:p>
            <a:pPr algn="ctr"/>
            <a:r>
              <a:rPr lang="en-US" sz="900">
                <a:solidFill>
                  <a:schemeClr val="bg1"/>
                </a:solidFill>
                <a:latin typeface="Arial" panose="020B0604020202020204" pitchFamily="34" charset="0"/>
                <a:cs typeface="Arial" panose="020B0604020202020204" pitchFamily="34" charset="0"/>
              </a:rPr>
              <a:t>Atlanta, GA 30309-3506</a:t>
            </a:r>
          </a:p>
          <a:p>
            <a:pPr algn="ctr"/>
            <a:r>
              <a:rPr lang="en-US" sz="900">
                <a:solidFill>
                  <a:schemeClr val="bg1"/>
                </a:solidFill>
                <a:latin typeface="Arial" panose="020B0604020202020204" pitchFamily="34" charset="0"/>
                <a:cs typeface="Arial" panose="020B0604020202020204" pitchFamily="34" charset="0"/>
              </a:rPr>
              <a:t>Phone: (404) 487-5700</a:t>
            </a:r>
          </a:p>
          <a:p>
            <a:pPr algn="ctr"/>
            <a:r>
              <a:rPr lang="en-US" sz="900" err="1">
                <a:solidFill>
                  <a:schemeClr val="bg1"/>
                </a:solidFill>
                <a:latin typeface="Arial" panose="020B0604020202020204" pitchFamily="34" charset="0"/>
                <a:cs typeface="Arial" panose="020B0604020202020204" pitchFamily="34" charset="0"/>
              </a:rPr>
              <a:t>BGCA.org</a:t>
            </a:r>
            <a:endParaRPr lang="en-US"/>
          </a:p>
        </p:txBody>
      </p:sp>
      <p:sp>
        <p:nvSpPr>
          <p:cNvPr id="9" name="TextBox 8">
            <a:extLst>
              <a:ext uri="{FF2B5EF4-FFF2-40B4-BE49-F238E27FC236}">
                <a16:creationId xmlns:a16="http://schemas.microsoft.com/office/drawing/2014/main" id="{E583457A-F7F4-7E45-BB70-B667C7B8D976}"/>
              </a:ext>
            </a:extLst>
          </p:cNvPr>
          <p:cNvSpPr txBox="1"/>
          <p:nvPr userDrawn="1"/>
        </p:nvSpPr>
        <p:spPr>
          <a:xfrm>
            <a:off x="0" y="6196647"/>
            <a:ext cx="12192000" cy="196208"/>
          </a:xfrm>
          <a:prstGeom prst="rect">
            <a:avLst/>
          </a:prstGeom>
          <a:noFill/>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2020 Boys &amp; Girls Clubs of America</a:t>
            </a:r>
          </a:p>
        </p:txBody>
      </p:sp>
    </p:spTree>
    <p:extLst>
      <p:ext uri="{BB962C8B-B14F-4D97-AF65-F5344CB8AC3E}">
        <p14:creationId xmlns:p14="http://schemas.microsoft.com/office/powerpoint/2010/main" val="425106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rgbClr val="009DD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8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377DAD3-3C26-41FB-8C76-602A1DF3D3D7}"/>
              </a:ext>
            </a:extLst>
          </p:cNvPr>
          <p:cNvSpPr>
            <a:spLocks noGrp="1"/>
          </p:cNvSpPr>
          <p:nvPr>
            <p:ph idx="1"/>
          </p:nvPr>
        </p:nvSpPr>
        <p:spPr>
          <a:xfrm>
            <a:off x="450760" y="1880318"/>
            <a:ext cx="11101160" cy="3870245"/>
          </a:xfr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35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Rectangle 8">
            <a:extLst>
              <a:ext uri="{FF2B5EF4-FFF2-40B4-BE49-F238E27FC236}">
                <a16:creationId xmlns:a16="http://schemas.microsoft.com/office/drawing/2014/main" id="{238F529A-87BF-464D-BF7C-7453CEE842E3}"/>
              </a:ext>
            </a:extLst>
          </p:cNvPr>
          <p:cNvSpPr/>
          <p:nvPr/>
        </p:nvSpPr>
        <p:spPr>
          <a:xfrm>
            <a:off x="0" y="5923280"/>
            <a:ext cx="12192000" cy="9347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CB21C1B9-885E-4E93-8E9B-A6B0874537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3" y="6018756"/>
            <a:ext cx="1353327" cy="743771"/>
          </a:xfrm>
          <a:prstGeom prst="rect">
            <a:avLst/>
          </a:prstGeom>
        </p:spPr>
      </p:pic>
      <p:sp>
        <p:nvSpPr>
          <p:cNvPr id="13" name="Title 1">
            <a:extLst>
              <a:ext uri="{FF2B5EF4-FFF2-40B4-BE49-F238E27FC236}">
                <a16:creationId xmlns:a16="http://schemas.microsoft.com/office/drawing/2014/main" id="{F71B28A8-0B66-477F-9933-63DBB9A0E95A}"/>
              </a:ext>
            </a:extLst>
          </p:cNvPr>
          <p:cNvSpPr>
            <a:spLocks noGrp="1"/>
          </p:cNvSpPr>
          <p:nvPr>
            <p:ph type="title" hasCustomPrompt="1"/>
          </p:nvPr>
        </p:nvSpPr>
        <p:spPr>
          <a:xfrm>
            <a:off x="450762" y="812022"/>
            <a:ext cx="11101159" cy="647115"/>
          </a:xfrm>
        </p:spPr>
        <p:txBody>
          <a:bodyPr>
            <a:noAutofit/>
          </a:bodyPr>
          <a:lstStyle>
            <a:lvl1pPr>
              <a:defRPr sz="3000" baseline="0">
                <a:solidFill>
                  <a:schemeClr val="tx1"/>
                </a:solidFill>
              </a:defRPr>
            </a:lvl1pPr>
          </a:lstStyle>
          <a:p>
            <a:r>
              <a:rPr lang="en-US"/>
              <a:t>Slide Title</a:t>
            </a:r>
          </a:p>
        </p:txBody>
      </p:sp>
      <p:cxnSp>
        <p:nvCxnSpPr>
          <p:cNvPr id="14" name="Straight Connector 13">
            <a:extLst>
              <a:ext uri="{FF2B5EF4-FFF2-40B4-BE49-F238E27FC236}">
                <a16:creationId xmlns:a16="http://schemas.microsoft.com/office/drawing/2014/main" id="{9BBC493A-3452-4A11-94D8-084F15E60406}"/>
              </a:ext>
            </a:extLst>
          </p:cNvPr>
          <p:cNvCxnSpPr>
            <a:cxnSpLocks/>
          </p:cNvCxnSpPr>
          <p:nvPr/>
        </p:nvCxnSpPr>
        <p:spPr>
          <a:xfrm>
            <a:off x="570915" y="1600596"/>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9A254ED8-D5C5-4FBB-BA29-53FAA31A3AD7}"/>
              </a:ext>
            </a:extLst>
          </p:cNvPr>
          <p:cNvSpPr>
            <a:spLocks noGrp="1"/>
          </p:cNvSpPr>
          <p:nvPr>
            <p:ph type="body" idx="10" hasCustomPrompt="1"/>
          </p:nvPr>
        </p:nvSpPr>
        <p:spPr>
          <a:xfrm>
            <a:off x="450762" y="529289"/>
            <a:ext cx="11101159" cy="418635"/>
          </a:xfrm>
        </p:spPr>
        <p:txBody>
          <a:bodyPr>
            <a:normAutofit/>
          </a:bodyPr>
          <a:lstStyle>
            <a:lvl1pPr marL="0" indent="0">
              <a:buNone/>
              <a:defRPr sz="1050" b="1" cap="all" baseline="0">
                <a:solidFill>
                  <a:srgbClr val="9F9F9F"/>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BOYS &amp; GIRLS CLUBS OF AMERICA</a:t>
            </a:r>
          </a:p>
        </p:txBody>
      </p:sp>
    </p:spTree>
    <p:extLst>
      <p:ext uri="{BB962C8B-B14F-4D97-AF65-F5344CB8AC3E}">
        <p14:creationId xmlns:p14="http://schemas.microsoft.com/office/powerpoint/2010/main" val="20978377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_Left Side Content Only">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450762" y="1741870"/>
            <a:ext cx="5834129" cy="4181411"/>
          </a:xfr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4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Click to edit Master text styles</a:t>
            </a:r>
          </a:p>
          <a:p>
            <a:pPr marL="171450" marR="0" lvl="1"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Second level</a:t>
            </a:r>
          </a:p>
          <a:p>
            <a:pPr marL="171450" marR="0" lvl="2"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Third level</a:t>
            </a:r>
          </a:p>
          <a:p>
            <a:pPr marL="171450" marR="0" lvl="3"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Fourth level</a:t>
            </a:r>
          </a:p>
          <a:p>
            <a:pPr marL="171450" marR="0" lvl="4"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Fifth level</a:t>
            </a:r>
            <a:endParaRPr lang="en-US"/>
          </a:p>
        </p:txBody>
      </p:sp>
      <p:sp>
        <p:nvSpPr>
          <p:cNvPr id="7" name="Title 1">
            <a:extLst>
              <a:ext uri="{FF2B5EF4-FFF2-40B4-BE49-F238E27FC236}">
                <a16:creationId xmlns:a16="http://schemas.microsoft.com/office/drawing/2014/main" id="{AE6433EA-21AF-4FBE-80EE-10E3534A1A4F}"/>
              </a:ext>
            </a:extLst>
          </p:cNvPr>
          <p:cNvSpPr>
            <a:spLocks noGrp="1"/>
          </p:cNvSpPr>
          <p:nvPr>
            <p:ph type="title" hasCustomPrompt="1"/>
          </p:nvPr>
        </p:nvSpPr>
        <p:spPr>
          <a:xfrm>
            <a:off x="449037" y="812022"/>
            <a:ext cx="5834129" cy="647115"/>
          </a:xfrm>
        </p:spPr>
        <p:txBody>
          <a:bodyPr>
            <a:noAutofit/>
          </a:bodyPr>
          <a:lstStyle>
            <a:lvl1pPr>
              <a:defRPr sz="3000" baseline="0">
                <a:solidFill>
                  <a:schemeClr val="tx1"/>
                </a:solidFill>
              </a:defRPr>
            </a:lvl1pPr>
          </a:lstStyle>
          <a:p>
            <a:r>
              <a:rPr lang="en-US"/>
              <a:t>Slide Title</a:t>
            </a:r>
          </a:p>
        </p:txBody>
      </p:sp>
      <p:cxnSp>
        <p:nvCxnSpPr>
          <p:cNvPr id="8" name="Straight Connector 7">
            <a:extLst>
              <a:ext uri="{FF2B5EF4-FFF2-40B4-BE49-F238E27FC236}">
                <a16:creationId xmlns:a16="http://schemas.microsoft.com/office/drawing/2014/main" id="{D57313F3-EAA5-4DE0-A4F1-8A727140E1DE}"/>
              </a:ext>
            </a:extLst>
          </p:cNvPr>
          <p:cNvCxnSpPr/>
          <p:nvPr/>
        </p:nvCxnSpPr>
        <p:spPr>
          <a:xfrm>
            <a:off x="570915" y="1600596"/>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C7DA63F3-CB77-49FD-B4B4-FD7AC3472988}"/>
              </a:ext>
            </a:extLst>
          </p:cNvPr>
          <p:cNvSpPr>
            <a:spLocks noGrp="1"/>
          </p:cNvSpPr>
          <p:nvPr>
            <p:ph type="body" idx="10" hasCustomPrompt="1"/>
          </p:nvPr>
        </p:nvSpPr>
        <p:spPr>
          <a:xfrm>
            <a:off x="449037" y="529289"/>
            <a:ext cx="5834129" cy="418635"/>
          </a:xfrm>
        </p:spPr>
        <p:txBody>
          <a:bodyPr>
            <a:normAutofit/>
          </a:bodyPr>
          <a:lstStyle>
            <a:lvl1pPr marL="0" indent="0">
              <a:buNone/>
              <a:defRPr sz="1050" b="1" cap="all" baseline="0">
                <a:solidFill>
                  <a:srgbClr val="9F9F9F"/>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BOYS &amp; GIRLS CLUBS OF AMERICA</a:t>
            </a:r>
          </a:p>
        </p:txBody>
      </p:sp>
      <p:sp>
        <p:nvSpPr>
          <p:cNvPr id="12" name="Picture Placeholder 2">
            <a:extLst>
              <a:ext uri="{FF2B5EF4-FFF2-40B4-BE49-F238E27FC236}">
                <a16:creationId xmlns:a16="http://schemas.microsoft.com/office/drawing/2014/main" id="{DD802CAD-3E6B-47C8-8653-5FFEA4A51DEC}"/>
              </a:ext>
            </a:extLst>
          </p:cNvPr>
          <p:cNvSpPr>
            <a:spLocks noGrp="1"/>
          </p:cNvSpPr>
          <p:nvPr>
            <p:ph type="pic" sz="quarter" idx="11"/>
          </p:nvPr>
        </p:nvSpPr>
        <p:spPr>
          <a:xfrm>
            <a:off x="6576812" y="2"/>
            <a:ext cx="5615189" cy="5923275"/>
          </a:xfrm>
        </p:spPr>
        <p:txBody>
          <a:bodyPr/>
          <a:lstStyle/>
          <a:p>
            <a:r>
              <a:rPr lang="en-US"/>
              <a:t>Click icon to add picture</a:t>
            </a:r>
          </a:p>
        </p:txBody>
      </p:sp>
      <p:sp>
        <p:nvSpPr>
          <p:cNvPr id="15" name="Rectangle 14">
            <a:extLst>
              <a:ext uri="{FF2B5EF4-FFF2-40B4-BE49-F238E27FC236}">
                <a16:creationId xmlns:a16="http://schemas.microsoft.com/office/drawing/2014/main" id="{5E484AF4-E852-4572-A42F-F034B41C0AAF}"/>
              </a:ext>
            </a:extLst>
          </p:cNvPr>
          <p:cNvSpPr/>
          <p:nvPr/>
        </p:nvSpPr>
        <p:spPr>
          <a:xfrm>
            <a:off x="2" y="5923280"/>
            <a:ext cx="12191999" cy="9347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 name="Picture 15">
            <a:extLst>
              <a:ext uri="{FF2B5EF4-FFF2-40B4-BE49-F238E27FC236}">
                <a16:creationId xmlns:a16="http://schemas.microsoft.com/office/drawing/2014/main" id="{50721DD4-5655-4372-8905-C25EFA4CB0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3" y="6018756"/>
            <a:ext cx="1353327" cy="743771"/>
          </a:xfrm>
          <a:prstGeom prst="rect">
            <a:avLst/>
          </a:prstGeom>
        </p:spPr>
      </p:pic>
    </p:spTree>
    <p:extLst>
      <p:ext uri="{BB962C8B-B14F-4D97-AF65-F5344CB8AC3E}">
        <p14:creationId xmlns:p14="http://schemas.microsoft.com/office/powerpoint/2010/main" val="28361630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2D4940-AD8C-4689-875B-53270DF7EB2D}"/>
              </a:ext>
            </a:extLst>
          </p:cNvPr>
          <p:cNvSpPr>
            <a:spLocks noGrp="1"/>
          </p:cNvSpPr>
          <p:nvPr>
            <p:ph sz="half" idx="1"/>
          </p:nvPr>
        </p:nvSpPr>
        <p:spPr>
          <a:xfrm>
            <a:off x="450762" y="1741870"/>
            <a:ext cx="5279479" cy="4181411"/>
          </a:xfr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1800"/>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vl4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Click to edit Master text styles</a:t>
            </a:r>
          </a:p>
          <a:p>
            <a:pPr marL="171450" marR="0" lvl="1"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Second level</a:t>
            </a:r>
          </a:p>
          <a:p>
            <a:pPr marL="171450" marR="0" lvl="2"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Third level</a:t>
            </a:r>
          </a:p>
          <a:p>
            <a:pPr marL="171450" marR="0" lvl="3"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Fourth level</a:t>
            </a:r>
          </a:p>
          <a:p>
            <a:pPr marL="171450" marR="0" lvl="4"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Fifth level</a:t>
            </a:r>
            <a:endParaRPr lang="en-US"/>
          </a:p>
        </p:txBody>
      </p:sp>
      <p:sp>
        <p:nvSpPr>
          <p:cNvPr id="4" name="Content Placeholder 3">
            <a:extLst>
              <a:ext uri="{FF2B5EF4-FFF2-40B4-BE49-F238E27FC236}">
                <a16:creationId xmlns:a16="http://schemas.microsoft.com/office/drawing/2014/main" id="{FC28FCAD-5D8E-4E34-AF8C-C5B02852DF3F}"/>
              </a:ext>
            </a:extLst>
          </p:cNvPr>
          <p:cNvSpPr>
            <a:spLocks noGrp="1"/>
          </p:cNvSpPr>
          <p:nvPr>
            <p:ph sz="half" idx="2"/>
          </p:nvPr>
        </p:nvSpPr>
        <p:spPr>
          <a:xfrm>
            <a:off x="5882641" y="1741870"/>
            <a:ext cx="5279479" cy="4181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AE6433EA-21AF-4FBE-80EE-10E3534A1A4F}"/>
              </a:ext>
            </a:extLst>
          </p:cNvPr>
          <p:cNvSpPr>
            <a:spLocks noGrp="1"/>
          </p:cNvSpPr>
          <p:nvPr>
            <p:ph type="title" hasCustomPrompt="1"/>
          </p:nvPr>
        </p:nvSpPr>
        <p:spPr>
          <a:xfrm>
            <a:off x="450762" y="812022"/>
            <a:ext cx="11101159" cy="647115"/>
          </a:xfrm>
        </p:spPr>
        <p:txBody>
          <a:bodyPr>
            <a:noAutofit/>
          </a:bodyPr>
          <a:lstStyle>
            <a:lvl1pPr>
              <a:defRPr sz="3000" baseline="0">
                <a:solidFill>
                  <a:schemeClr val="tx1"/>
                </a:solidFill>
              </a:defRPr>
            </a:lvl1pPr>
          </a:lstStyle>
          <a:p>
            <a:r>
              <a:rPr lang="en-US"/>
              <a:t>Slide Title</a:t>
            </a:r>
          </a:p>
        </p:txBody>
      </p:sp>
      <p:cxnSp>
        <p:nvCxnSpPr>
          <p:cNvPr id="7" name="Straight Connector 6">
            <a:extLst>
              <a:ext uri="{FF2B5EF4-FFF2-40B4-BE49-F238E27FC236}">
                <a16:creationId xmlns:a16="http://schemas.microsoft.com/office/drawing/2014/main" id="{D57313F3-EAA5-4DE0-A4F1-8A727140E1DE}"/>
              </a:ext>
            </a:extLst>
          </p:cNvPr>
          <p:cNvCxnSpPr>
            <a:cxnSpLocks/>
          </p:cNvCxnSpPr>
          <p:nvPr/>
        </p:nvCxnSpPr>
        <p:spPr>
          <a:xfrm>
            <a:off x="570915" y="1600596"/>
            <a:ext cx="1229751" cy="0"/>
          </a:xfrm>
          <a:prstGeom prst="line">
            <a:avLst/>
          </a:prstGeom>
          <a:ln w="111125" cap="rnd">
            <a:solidFill>
              <a:srgbClr val="009DDC"/>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C7DA63F3-CB77-49FD-B4B4-FD7AC3472988}"/>
              </a:ext>
            </a:extLst>
          </p:cNvPr>
          <p:cNvSpPr>
            <a:spLocks noGrp="1"/>
          </p:cNvSpPr>
          <p:nvPr>
            <p:ph type="body" idx="10" hasCustomPrompt="1"/>
          </p:nvPr>
        </p:nvSpPr>
        <p:spPr>
          <a:xfrm>
            <a:off x="450762" y="529289"/>
            <a:ext cx="11101159" cy="418635"/>
          </a:xfrm>
        </p:spPr>
        <p:txBody>
          <a:bodyPr>
            <a:normAutofit/>
          </a:bodyPr>
          <a:lstStyle>
            <a:lvl1pPr marL="0" indent="0">
              <a:buNone/>
              <a:defRPr sz="1050" b="1" cap="all" baseline="0">
                <a:solidFill>
                  <a:srgbClr val="9F9F9F"/>
                </a:solidFill>
                <a:latin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BOYS &amp; GIRLS CLUBS OF AMERICA</a:t>
            </a:r>
          </a:p>
        </p:txBody>
      </p:sp>
      <p:sp>
        <p:nvSpPr>
          <p:cNvPr id="10" name="Rectangle 9"/>
          <p:cNvSpPr/>
          <p:nvPr/>
        </p:nvSpPr>
        <p:spPr>
          <a:xfrm>
            <a:off x="0" y="5923280"/>
            <a:ext cx="12192000" cy="9347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35873" y="6018756"/>
            <a:ext cx="1353327" cy="743771"/>
          </a:xfrm>
          <a:prstGeom prst="rect">
            <a:avLst/>
          </a:prstGeom>
        </p:spPr>
      </p:pic>
    </p:spTree>
    <p:extLst>
      <p:ext uri="{BB962C8B-B14F-4D97-AF65-F5344CB8AC3E}">
        <p14:creationId xmlns:p14="http://schemas.microsoft.com/office/powerpoint/2010/main" val="323711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pPr algn="r"/>
            <a:fld id="{7AF68CEF-5115-4840-8FF2-1FDC744FED60}" type="datetime2">
              <a:rPr lang="en-US" smtClean="0"/>
              <a:pPr algn="r"/>
              <a:t>Wednesday, March 1,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r>
              <a:rPr lang="en-US"/>
              <a:t>|   </a:t>
            </a:r>
            <a:fld id="{C2DDD5BA-F22B-BD42-8228-E4995F3E1D59}" type="slidenum">
              <a:rPr lang="en-US" smtClean="0"/>
              <a:pPr/>
              <a:t>‹#›</a:t>
            </a:fld>
            <a:endParaRPr lang="en-US"/>
          </a:p>
        </p:txBody>
      </p:sp>
    </p:spTree>
    <p:extLst>
      <p:ext uri="{BB962C8B-B14F-4D97-AF65-F5344CB8AC3E}">
        <p14:creationId xmlns:p14="http://schemas.microsoft.com/office/powerpoint/2010/main" val="230054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lgn="r"/>
            <a:fld id="{7AF68CEF-5115-4840-8FF2-1FDC744FED60}" type="datetime2">
              <a:rPr lang="en-US" smtClean="0"/>
              <a:pPr algn="r"/>
              <a:t>Wednesday, March 1,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r>
              <a:rPr lang="en-US"/>
              <a:t>|   </a:t>
            </a:r>
            <a:fld id="{C2DDD5BA-F22B-BD42-8228-E4995F3E1D59}" type="slidenum">
              <a:rPr lang="en-US" smtClean="0"/>
              <a:pPr/>
              <a:t>‹#›</a:t>
            </a:fld>
            <a:endParaRPr lang="en-US"/>
          </a:p>
        </p:txBody>
      </p:sp>
    </p:spTree>
    <p:extLst>
      <p:ext uri="{BB962C8B-B14F-4D97-AF65-F5344CB8AC3E}">
        <p14:creationId xmlns:p14="http://schemas.microsoft.com/office/powerpoint/2010/main" val="393140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87B55D3-BB97-5147-8530-8B6199650A69}" type="datetime2">
              <a:rPr lang="en-US" smtClean="0"/>
              <a:t>Wednesday, March 1,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48141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30CAE-2D16-BD44-9CE8-9A0DCC1F0C00}"/>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CD0E137-22BC-F440-AB0D-87A192B29637}"/>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8B8710F-23D3-6444-831C-3D033738ADA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C20314-6899-3C4A-82B4-BF4F3896417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30361D2D-F363-BC4B-A86D-EF6EE5837A86}"/>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37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CD4550E-EA34-3A40-9FF9-5E71F1D05B7D}" type="datetime2">
              <a:rPr lang="en-US" smtClean="0"/>
              <a:t>Wednesday, March 1,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40919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C5CE0CA-4301-0149-89F2-FE7296D6851E}" type="datetime2">
              <a:rPr lang="en-US" smtClean="0"/>
              <a:t>Wednesday, March 1, 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595780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68A4B0-41CD-FD45-9782-1117270AB7EA}" type="datetime2">
              <a:rPr lang="en-US" smtClean="0"/>
              <a:t>Wednesday, March 1, 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80811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E2F58F-9D0C-5349-A282-4BB82A77869A}" type="datetime2">
              <a:rPr lang="en-US" smtClean="0"/>
              <a:t>Wednesday, March 1, 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02524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0B582BE-90C3-CF49-B08B-4FCCF8767602}" type="datetime2">
              <a:rPr lang="en-US" smtClean="0"/>
              <a:t>Wednesday, March 1,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09002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E8C888A-508A-4A4F-AFDB-6E43986D91A0}" type="datetime2">
              <a:rPr lang="en-US" smtClean="0"/>
              <a:t>Wednesday, March 1,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43100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9E2A33-6D8E-D341-A79C-07C2F8D4B45C}" type="datetime2">
              <a:rPr lang="en-US" smtClean="0"/>
              <a:t>Wednesday, March 1,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172841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76AF46-ED35-0A4A-BEB9-4F6C7F508A1F}" type="datetime2">
              <a:rPr lang="en-US" smtClean="0"/>
              <a:t>Wednesday, March 1,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2DDD5BA-F22B-BD42-8228-E4995F3E1D59}" type="slidenum">
              <a:rPr lang="en-US" smtClean="0"/>
              <a:t>‹#›</a:t>
            </a:fld>
            <a:endParaRPr lang="en-US"/>
          </a:p>
        </p:txBody>
      </p:sp>
    </p:spTree>
    <p:extLst>
      <p:ext uri="{BB962C8B-B14F-4D97-AF65-F5344CB8AC3E}">
        <p14:creationId xmlns:p14="http://schemas.microsoft.com/office/powerpoint/2010/main" val="254935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9372600" y="381000"/>
            <a:ext cx="2822980"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grpSp>
        <p:nvGrpSpPr>
          <p:cNvPr id="82" name="Group 81">
            <a:extLst>
              <a:ext uri="{FF2B5EF4-FFF2-40B4-BE49-F238E27FC236}">
                <a16:creationId xmlns:a16="http://schemas.microsoft.com/office/drawing/2014/main" id="{659DB873-DCCB-E442-ADE5-F09C8CA6D90C}"/>
              </a:ext>
            </a:extLst>
          </p:cNvPr>
          <p:cNvGrpSpPr/>
          <p:nvPr userDrawn="1"/>
        </p:nvGrpSpPr>
        <p:grpSpPr>
          <a:xfrm>
            <a:off x="9642937" y="4709334"/>
            <a:ext cx="1939463" cy="1234966"/>
            <a:chOff x="7801377" y="7580618"/>
            <a:chExt cx="3525369" cy="2244802"/>
          </a:xfrm>
          <a:solidFill>
            <a:srgbClr val="FFFFFF"/>
          </a:solidFill>
        </p:grpSpPr>
        <p:grpSp>
          <p:nvGrpSpPr>
            <p:cNvPr id="80" name="Group 79">
              <a:extLst>
                <a:ext uri="{FF2B5EF4-FFF2-40B4-BE49-F238E27FC236}">
                  <a16:creationId xmlns:a16="http://schemas.microsoft.com/office/drawing/2014/main" id="{2106839E-1E9C-8742-BAA4-6FE1FF6A422E}"/>
                </a:ext>
              </a:extLst>
            </p:cNvPr>
            <p:cNvGrpSpPr/>
            <p:nvPr userDrawn="1"/>
          </p:nvGrpSpPr>
          <p:grpSpPr>
            <a:xfrm>
              <a:off x="7801377" y="7580618"/>
              <a:ext cx="3250241" cy="1049396"/>
              <a:chOff x="7801377" y="7580618"/>
              <a:chExt cx="3250241" cy="1049396"/>
            </a:xfrm>
            <a:grpFill/>
          </p:grpSpPr>
          <p:sp>
            <p:nvSpPr>
              <p:cNvPr id="45" name="Freeform 44">
                <a:extLst>
                  <a:ext uri="{FF2B5EF4-FFF2-40B4-BE49-F238E27FC236}">
                    <a16:creationId xmlns:a16="http://schemas.microsoft.com/office/drawing/2014/main" id="{946B1168-D83B-0E42-A565-73172EAC73BD}"/>
                  </a:ext>
                </a:extLst>
              </p:cNvPr>
              <p:cNvSpPr/>
              <p:nvPr/>
            </p:nvSpPr>
            <p:spPr>
              <a:xfrm>
                <a:off x="7801377" y="7580618"/>
                <a:ext cx="600885" cy="443059"/>
              </a:xfrm>
              <a:custGeom>
                <a:avLst/>
                <a:gdLst>
                  <a:gd name="connsiteX0" fmla="*/ 120577 w 600885"/>
                  <a:gd name="connsiteY0" fmla="*/ 443059 h 443059"/>
                  <a:gd name="connsiteX1" fmla="*/ 0 w 600885"/>
                  <a:gd name="connsiteY1" fmla="*/ 0 h 443059"/>
                  <a:gd name="connsiteX2" fmla="*/ 135899 w 600885"/>
                  <a:gd name="connsiteY2" fmla="*/ 0 h 443059"/>
                  <a:gd name="connsiteX3" fmla="*/ 178533 w 600885"/>
                  <a:gd name="connsiteY3" fmla="*/ 207204 h 443059"/>
                  <a:gd name="connsiteX4" fmla="*/ 188526 w 600885"/>
                  <a:gd name="connsiteY4" fmla="*/ 271623 h 443059"/>
                  <a:gd name="connsiteX5" fmla="*/ 198519 w 600885"/>
                  <a:gd name="connsiteY5" fmla="*/ 207204 h 443059"/>
                  <a:gd name="connsiteX6" fmla="*/ 241153 w 600885"/>
                  <a:gd name="connsiteY6" fmla="*/ 0 h 443059"/>
                  <a:gd name="connsiteX7" fmla="*/ 361064 w 600885"/>
                  <a:gd name="connsiteY7" fmla="*/ 0 h 443059"/>
                  <a:gd name="connsiteX8" fmla="*/ 404365 w 600885"/>
                  <a:gd name="connsiteY8" fmla="*/ 205211 h 443059"/>
                  <a:gd name="connsiteX9" fmla="*/ 407696 w 600885"/>
                  <a:gd name="connsiteY9" fmla="*/ 223807 h 443059"/>
                  <a:gd name="connsiteX10" fmla="*/ 410361 w 600885"/>
                  <a:gd name="connsiteY10" fmla="*/ 239745 h 443059"/>
                  <a:gd name="connsiteX11" fmla="*/ 414358 w 600885"/>
                  <a:gd name="connsiteY11" fmla="*/ 271623 h 443059"/>
                  <a:gd name="connsiteX12" fmla="*/ 419021 w 600885"/>
                  <a:gd name="connsiteY12" fmla="*/ 239745 h 443059"/>
                  <a:gd name="connsiteX13" fmla="*/ 421685 w 600885"/>
                  <a:gd name="connsiteY13" fmla="*/ 223807 h 443059"/>
                  <a:gd name="connsiteX14" fmla="*/ 425016 w 600885"/>
                  <a:gd name="connsiteY14" fmla="*/ 205211 h 443059"/>
                  <a:gd name="connsiteX15" fmla="*/ 466319 w 600885"/>
                  <a:gd name="connsiteY15" fmla="*/ 0 h 443059"/>
                  <a:gd name="connsiteX16" fmla="*/ 600885 w 600885"/>
                  <a:gd name="connsiteY16" fmla="*/ 0 h 443059"/>
                  <a:gd name="connsiteX17" fmla="*/ 486399 w 600885"/>
                  <a:gd name="connsiteY17" fmla="*/ 443059 h 443059"/>
                  <a:gd name="connsiteX18" fmla="*/ 351833 w 600885"/>
                  <a:gd name="connsiteY18" fmla="*/ 443059 h 443059"/>
                  <a:gd name="connsiteX19" fmla="*/ 314527 w 600885"/>
                  <a:gd name="connsiteY19" fmla="*/ 251794 h 443059"/>
                  <a:gd name="connsiteX20" fmla="*/ 302536 w 600885"/>
                  <a:gd name="connsiteY20" fmla="*/ 166788 h 443059"/>
                  <a:gd name="connsiteX21" fmla="*/ 289213 w 600885"/>
                  <a:gd name="connsiteY21" fmla="*/ 251794 h 443059"/>
                  <a:gd name="connsiteX22" fmla="*/ 251907 w 600885"/>
                  <a:gd name="connsiteY22" fmla="*/ 443059 h 443059"/>
                  <a:gd name="connsiteX23" fmla="*/ 120577 w 600885"/>
                  <a:gd name="connsiteY23" fmla="*/ 443059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0885" h="443059">
                    <a:moveTo>
                      <a:pt x="120577" y="443059"/>
                    </a:moveTo>
                    <a:lnTo>
                      <a:pt x="0" y="0"/>
                    </a:lnTo>
                    <a:lnTo>
                      <a:pt x="135899" y="0"/>
                    </a:lnTo>
                    <a:lnTo>
                      <a:pt x="178533" y="207204"/>
                    </a:lnTo>
                    <a:cubicBezTo>
                      <a:pt x="181864" y="221150"/>
                      <a:pt x="186528" y="252364"/>
                      <a:pt x="188526" y="271623"/>
                    </a:cubicBezTo>
                    <a:cubicBezTo>
                      <a:pt x="189858" y="253692"/>
                      <a:pt x="194522" y="225799"/>
                      <a:pt x="198519" y="207204"/>
                    </a:cubicBezTo>
                    <a:lnTo>
                      <a:pt x="241153" y="0"/>
                    </a:lnTo>
                    <a:lnTo>
                      <a:pt x="361064" y="0"/>
                    </a:lnTo>
                    <a:lnTo>
                      <a:pt x="404365" y="205211"/>
                    </a:lnTo>
                    <a:cubicBezTo>
                      <a:pt x="404365" y="205211"/>
                      <a:pt x="405697" y="215173"/>
                      <a:pt x="407696" y="223807"/>
                    </a:cubicBezTo>
                    <a:cubicBezTo>
                      <a:pt x="408362" y="228455"/>
                      <a:pt x="409028" y="233768"/>
                      <a:pt x="410361" y="239745"/>
                    </a:cubicBezTo>
                    <a:cubicBezTo>
                      <a:pt x="413025" y="255684"/>
                      <a:pt x="413025" y="257012"/>
                      <a:pt x="414358" y="271623"/>
                    </a:cubicBezTo>
                    <a:cubicBezTo>
                      <a:pt x="416356" y="257012"/>
                      <a:pt x="416356" y="257012"/>
                      <a:pt x="419021" y="239745"/>
                    </a:cubicBezTo>
                    <a:cubicBezTo>
                      <a:pt x="420353" y="235097"/>
                      <a:pt x="421019" y="229784"/>
                      <a:pt x="421685" y="223807"/>
                    </a:cubicBezTo>
                    <a:cubicBezTo>
                      <a:pt x="423684" y="215173"/>
                      <a:pt x="425016" y="205876"/>
                      <a:pt x="425016" y="205211"/>
                    </a:cubicBezTo>
                    <a:lnTo>
                      <a:pt x="466319" y="0"/>
                    </a:lnTo>
                    <a:lnTo>
                      <a:pt x="600885" y="0"/>
                    </a:lnTo>
                    <a:lnTo>
                      <a:pt x="486399" y="443059"/>
                    </a:lnTo>
                    <a:lnTo>
                      <a:pt x="351833" y="443059"/>
                    </a:lnTo>
                    <a:lnTo>
                      <a:pt x="314527" y="251794"/>
                    </a:lnTo>
                    <a:cubicBezTo>
                      <a:pt x="309864" y="228550"/>
                      <a:pt x="305201" y="195345"/>
                      <a:pt x="302536" y="166788"/>
                    </a:cubicBezTo>
                    <a:cubicBezTo>
                      <a:pt x="299205" y="199993"/>
                      <a:pt x="295875" y="220581"/>
                      <a:pt x="289213" y="251794"/>
                    </a:cubicBezTo>
                    <a:lnTo>
                      <a:pt x="251907" y="443059"/>
                    </a:lnTo>
                    <a:lnTo>
                      <a:pt x="120577" y="4430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46" name="Freeform 45">
                <a:extLst>
                  <a:ext uri="{FF2B5EF4-FFF2-40B4-BE49-F238E27FC236}">
                    <a16:creationId xmlns:a16="http://schemas.microsoft.com/office/drawing/2014/main" id="{AC3D1E10-BBAB-5C43-8E8F-CAA4A4C524BA}"/>
                  </a:ext>
                </a:extLst>
              </p:cNvPr>
              <p:cNvSpPr/>
              <p:nvPr/>
            </p:nvSpPr>
            <p:spPr>
              <a:xfrm>
                <a:off x="8427576" y="7580618"/>
                <a:ext cx="332418" cy="443059"/>
              </a:xfrm>
              <a:custGeom>
                <a:avLst/>
                <a:gdLst>
                  <a:gd name="connsiteX0" fmla="*/ 0 w 332418"/>
                  <a:gd name="connsiteY0" fmla="*/ 0 h 443059"/>
                  <a:gd name="connsiteX1" fmla="*/ 124574 w 332418"/>
                  <a:gd name="connsiteY1" fmla="*/ 0 h 443059"/>
                  <a:gd name="connsiteX2" fmla="*/ 124574 w 332418"/>
                  <a:gd name="connsiteY2" fmla="*/ 148762 h 443059"/>
                  <a:gd name="connsiteX3" fmla="*/ 215839 w 332418"/>
                  <a:gd name="connsiteY3" fmla="*/ 113564 h 443059"/>
                  <a:gd name="connsiteX4" fmla="*/ 300443 w 332418"/>
                  <a:gd name="connsiteY4" fmla="*/ 144113 h 443059"/>
                  <a:gd name="connsiteX5" fmla="*/ 332419 w 332418"/>
                  <a:gd name="connsiteY5" fmla="*/ 231776 h 443059"/>
                  <a:gd name="connsiteX6" fmla="*/ 332419 w 332418"/>
                  <a:gd name="connsiteY6" fmla="*/ 442964 h 443059"/>
                  <a:gd name="connsiteX7" fmla="*/ 207845 w 332418"/>
                  <a:gd name="connsiteY7" fmla="*/ 442964 h 443059"/>
                  <a:gd name="connsiteX8" fmla="*/ 207845 w 332418"/>
                  <a:gd name="connsiteY8" fmla="*/ 265741 h 443059"/>
                  <a:gd name="connsiteX9" fmla="*/ 167875 w 332418"/>
                  <a:gd name="connsiteY9" fmla="*/ 213276 h 443059"/>
                  <a:gd name="connsiteX10" fmla="*/ 124574 w 332418"/>
                  <a:gd name="connsiteY10" fmla="*/ 265741 h 443059"/>
                  <a:gd name="connsiteX11" fmla="*/ 124574 w 332418"/>
                  <a:gd name="connsiteY11" fmla="*/ 443059 h 443059"/>
                  <a:gd name="connsiteX12" fmla="*/ 0 w 332418"/>
                  <a:gd name="connsiteY12" fmla="*/ 443059 h 443059"/>
                  <a:gd name="connsiteX13" fmla="*/ 0 w 332418"/>
                  <a:gd name="connsiteY13" fmla="*/ 0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418" h="443059">
                    <a:moveTo>
                      <a:pt x="0" y="0"/>
                    </a:moveTo>
                    <a:lnTo>
                      <a:pt x="124574" y="0"/>
                    </a:lnTo>
                    <a:lnTo>
                      <a:pt x="124574" y="148762"/>
                    </a:lnTo>
                    <a:cubicBezTo>
                      <a:pt x="157882" y="122861"/>
                      <a:pt x="181198" y="113564"/>
                      <a:pt x="215839" y="113564"/>
                    </a:cubicBezTo>
                    <a:cubicBezTo>
                      <a:pt x="250480" y="113564"/>
                      <a:pt x="279125" y="124189"/>
                      <a:pt x="300443" y="144113"/>
                    </a:cubicBezTo>
                    <a:cubicBezTo>
                      <a:pt x="323092" y="166029"/>
                      <a:pt x="332419" y="191265"/>
                      <a:pt x="332419" y="231776"/>
                    </a:cubicBezTo>
                    <a:lnTo>
                      <a:pt x="332419" y="442964"/>
                    </a:lnTo>
                    <a:lnTo>
                      <a:pt x="207845" y="442964"/>
                    </a:lnTo>
                    <a:lnTo>
                      <a:pt x="207845" y="265741"/>
                    </a:lnTo>
                    <a:cubicBezTo>
                      <a:pt x="207845" y="230543"/>
                      <a:pt x="194522" y="213276"/>
                      <a:pt x="167875" y="213276"/>
                    </a:cubicBezTo>
                    <a:cubicBezTo>
                      <a:pt x="139896" y="213276"/>
                      <a:pt x="124574" y="231871"/>
                      <a:pt x="124574" y="265741"/>
                    </a:cubicBezTo>
                    <a:lnTo>
                      <a:pt x="124574" y="443059"/>
                    </a:lnTo>
                    <a:lnTo>
                      <a:pt x="0" y="443059"/>
                    </a:lnTo>
                    <a:lnTo>
                      <a:pt x="0" y="0"/>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47" name="Freeform 46">
                <a:extLst>
                  <a:ext uri="{FF2B5EF4-FFF2-40B4-BE49-F238E27FC236}">
                    <a16:creationId xmlns:a16="http://schemas.microsoft.com/office/drawing/2014/main" id="{82A63029-E297-3448-BDD8-1DE02CA6F5CE}"/>
                  </a:ext>
                </a:extLst>
              </p:cNvPr>
              <p:cNvSpPr/>
              <p:nvPr/>
            </p:nvSpPr>
            <p:spPr>
              <a:xfrm>
                <a:off x="8805961" y="7694277"/>
                <a:ext cx="350405" cy="338034"/>
              </a:xfrm>
              <a:custGeom>
                <a:avLst/>
                <a:gdLst>
                  <a:gd name="connsiteX0" fmla="*/ 14656 w 350405"/>
                  <a:gd name="connsiteY0" fmla="*/ 124189 h 338034"/>
                  <a:gd name="connsiteX1" fmla="*/ 47298 w 350405"/>
                  <a:gd name="connsiteY1" fmla="*/ 42503 h 338034"/>
                  <a:gd name="connsiteX2" fmla="*/ 179200 w 350405"/>
                  <a:gd name="connsiteY2" fmla="*/ 0 h 338034"/>
                  <a:gd name="connsiteX3" fmla="*/ 299110 w 350405"/>
                  <a:gd name="connsiteY3" fmla="*/ 32542 h 338034"/>
                  <a:gd name="connsiteX4" fmla="*/ 340413 w 350405"/>
                  <a:gd name="connsiteY4" fmla="*/ 130831 h 338034"/>
                  <a:gd name="connsiteX5" fmla="*/ 340413 w 350405"/>
                  <a:gd name="connsiteY5" fmla="*/ 281585 h 338034"/>
                  <a:gd name="connsiteX6" fmla="*/ 350405 w 350405"/>
                  <a:gd name="connsiteY6" fmla="*/ 329401 h 338034"/>
                  <a:gd name="connsiteX7" fmla="*/ 229829 w 350405"/>
                  <a:gd name="connsiteY7" fmla="*/ 329401 h 338034"/>
                  <a:gd name="connsiteX8" fmla="*/ 219170 w 350405"/>
                  <a:gd name="connsiteY8" fmla="*/ 296859 h 338034"/>
                  <a:gd name="connsiteX9" fmla="*/ 111917 w 350405"/>
                  <a:gd name="connsiteY9" fmla="*/ 338034 h 338034"/>
                  <a:gd name="connsiteX10" fmla="*/ 0 w 350405"/>
                  <a:gd name="connsiteY10" fmla="*/ 244394 h 338034"/>
                  <a:gd name="connsiteX11" fmla="*/ 89933 w 350405"/>
                  <a:gd name="connsiteY11" fmla="*/ 148762 h 338034"/>
                  <a:gd name="connsiteX12" fmla="*/ 183197 w 350405"/>
                  <a:gd name="connsiteY12" fmla="*/ 130831 h 338034"/>
                  <a:gd name="connsiteX13" fmla="*/ 218504 w 350405"/>
                  <a:gd name="connsiteY13" fmla="*/ 106922 h 338034"/>
                  <a:gd name="connsiteX14" fmla="*/ 176535 w 350405"/>
                  <a:gd name="connsiteY14" fmla="*/ 79694 h 338034"/>
                  <a:gd name="connsiteX15" fmla="*/ 128571 w 350405"/>
                  <a:gd name="connsiteY15" fmla="*/ 119541 h 338034"/>
                  <a:gd name="connsiteX16" fmla="*/ 128571 w 350405"/>
                  <a:gd name="connsiteY16" fmla="*/ 124189 h 338034"/>
                  <a:gd name="connsiteX17" fmla="*/ 14656 w 350405"/>
                  <a:gd name="connsiteY17" fmla="*/ 124189 h 338034"/>
                  <a:gd name="connsiteX18" fmla="*/ 167209 w 350405"/>
                  <a:gd name="connsiteY18" fmla="*/ 203883 h 338034"/>
                  <a:gd name="connsiteX19" fmla="*/ 131235 w 350405"/>
                  <a:gd name="connsiteY19" fmla="*/ 217166 h 338034"/>
                  <a:gd name="connsiteX20" fmla="*/ 119244 w 350405"/>
                  <a:gd name="connsiteY20" fmla="*/ 237753 h 338034"/>
                  <a:gd name="connsiteX21" fmla="*/ 154551 w 350405"/>
                  <a:gd name="connsiteY21" fmla="*/ 264982 h 338034"/>
                  <a:gd name="connsiteX22" fmla="*/ 220502 w 350405"/>
                  <a:gd name="connsiteY22" fmla="*/ 202555 h 338034"/>
                  <a:gd name="connsiteX23" fmla="*/ 220502 w 350405"/>
                  <a:gd name="connsiteY23" fmla="*/ 185288 h 338034"/>
                  <a:gd name="connsiteX24" fmla="*/ 167209 w 350405"/>
                  <a:gd name="connsiteY24" fmla="*/ 203883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405" h="338034">
                    <a:moveTo>
                      <a:pt x="14656" y="124189"/>
                    </a:moveTo>
                    <a:cubicBezTo>
                      <a:pt x="17987" y="85671"/>
                      <a:pt x="27313" y="63091"/>
                      <a:pt x="47298" y="42503"/>
                    </a:cubicBezTo>
                    <a:cubicBezTo>
                      <a:pt x="75277" y="15275"/>
                      <a:pt x="121243" y="0"/>
                      <a:pt x="179200" y="0"/>
                    </a:cubicBezTo>
                    <a:cubicBezTo>
                      <a:pt x="229162" y="0"/>
                      <a:pt x="269133" y="10626"/>
                      <a:pt x="299110" y="32542"/>
                    </a:cubicBezTo>
                    <a:cubicBezTo>
                      <a:pt x="327756" y="53793"/>
                      <a:pt x="340413" y="83678"/>
                      <a:pt x="340413" y="130831"/>
                    </a:cubicBezTo>
                    <a:lnTo>
                      <a:pt x="340413" y="281585"/>
                    </a:lnTo>
                    <a:cubicBezTo>
                      <a:pt x="340413" y="305493"/>
                      <a:pt x="342411" y="315454"/>
                      <a:pt x="350405" y="329401"/>
                    </a:cubicBezTo>
                    <a:lnTo>
                      <a:pt x="229829" y="329401"/>
                    </a:lnTo>
                    <a:cubicBezTo>
                      <a:pt x="224499" y="318111"/>
                      <a:pt x="221834" y="310806"/>
                      <a:pt x="219170" y="296859"/>
                    </a:cubicBezTo>
                    <a:cubicBezTo>
                      <a:pt x="177867" y="328073"/>
                      <a:pt x="151887" y="338034"/>
                      <a:pt x="111917" y="338034"/>
                    </a:cubicBezTo>
                    <a:cubicBezTo>
                      <a:pt x="45300" y="338034"/>
                      <a:pt x="0" y="300180"/>
                      <a:pt x="0" y="244394"/>
                    </a:cubicBezTo>
                    <a:cubicBezTo>
                      <a:pt x="0" y="191265"/>
                      <a:pt x="29311" y="160716"/>
                      <a:pt x="89933" y="148762"/>
                    </a:cubicBezTo>
                    <a:lnTo>
                      <a:pt x="183197" y="130831"/>
                    </a:lnTo>
                    <a:cubicBezTo>
                      <a:pt x="207845" y="126182"/>
                      <a:pt x="218504" y="118877"/>
                      <a:pt x="218504" y="106922"/>
                    </a:cubicBezTo>
                    <a:cubicBezTo>
                      <a:pt x="218504" y="90320"/>
                      <a:pt x="201849" y="79694"/>
                      <a:pt x="176535" y="79694"/>
                    </a:cubicBezTo>
                    <a:cubicBezTo>
                      <a:pt x="146557" y="79694"/>
                      <a:pt x="128571" y="94304"/>
                      <a:pt x="128571" y="119541"/>
                    </a:cubicBezTo>
                    <a:lnTo>
                      <a:pt x="128571" y="124189"/>
                    </a:lnTo>
                    <a:lnTo>
                      <a:pt x="14656" y="124189"/>
                    </a:lnTo>
                    <a:close/>
                    <a:moveTo>
                      <a:pt x="167209" y="203883"/>
                    </a:moveTo>
                    <a:cubicBezTo>
                      <a:pt x="138563" y="213181"/>
                      <a:pt x="138563" y="213181"/>
                      <a:pt x="131235" y="217166"/>
                    </a:cubicBezTo>
                    <a:cubicBezTo>
                      <a:pt x="123241" y="221814"/>
                      <a:pt x="119244" y="229120"/>
                      <a:pt x="119244" y="237753"/>
                    </a:cubicBezTo>
                    <a:cubicBezTo>
                      <a:pt x="119244" y="254356"/>
                      <a:pt x="133234" y="264982"/>
                      <a:pt x="154551" y="264982"/>
                    </a:cubicBezTo>
                    <a:cubicBezTo>
                      <a:pt x="193189" y="264982"/>
                      <a:pt x="220502" y="239081"/>
                      <a:pt x="220502" y="202555"/>
                    </a:cubicBezTo>
                    <a:lnTo>
                      <a:pt x="220502" y="185288"/>
                    </a:lnTo>
                    <a:lnTo>
                      <a:pt x="167209" y="203883"/>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48" name="Freeform 47">
                <a:extLst>
                  <a:ext uri="{FF2B5EF4-FFF2-40B4-BE49-F238E27FC236}">
                    <a16:creationId xmlns:a16="http://schemas.microsoft.com/office/drawing/2014/main" id="{13FB1F6F-248E-304C-B40D-A1F5B02459E4}"/>
                  </a:ext>
                </a:extLst>
              </p:cNvPr>
              <p:cNvSpPr/>
              <p:nvPr/>
            </p:nvSpPr>
            <p:spPr>
              <a:xfrm>
                <a:off x="9175685" y="7607183"/>
                <a:ext cx="229828" cy="421048"/>
              </a:xfrm>
              <a:custGeom>
                <a:avLst/>
                <a:gdLst>
                  <a:gd name="connsiteX0" fmla="*/ 229829 w 229828"/>
                  <a:gd name="connsiteY0" fmla="*/ 173334 h 421048"/>
                  <a:gd name="connsiteX1" fmla="*/ 171872 w 229828"/>
                  <a:gd name="connsiteY1" fmla="*/ 173334 h 421048"/>
                  <a:gd name="connsiteX2" fmla="*/ 171872 w 229828"/>
                  <a:gd name="connsiteY2" fmla="*/ 292210 h 421048"/>
                  <a:gd name="connsiteX3" fmla="*/ 205180 w 229828"/>
                  <a:gd name="connsiteY3" fmla="*/ 330729 h 421048"/>
                  <a:gd name="connsiteX4" fmla="*/ 229829 w 229828"/>
                  <a:gd name="connsiteY4" fmla="*/ 326744 h 421048"/>
                  <a:gd name="connsiteX5" fmla="*/ 229829 w 229828"/>
                  <a:gd name="connsiteY5" fmla="*/ 411087 h 421048"/>
                  <a:gd name="connsiteX6" fmla="*/ 161213 w 229828"/>
                  <a:gd name="connsiteY6" fmla="*/ 421049 h 421048"/>
                  <a:gd name="connsiteX7" fmla="*/ 74611 w 229828"/>
                  <a:gd name="connsiteY7" fmla="*/ 388507 h 421048"/>
                  <a:gd name="connsiteX8" fmla="*/ 47298 w 229828"/>
                  <a:gd name="connsiteY8" fmla="*/ 296859 h 421048"/>
                  <a:gd name="connsiteX9" fmla="*/ 47298 w 229828"/>
                  <a:gd name="connsiteY9" fmla="*/ 173334 h 421048"/>
                  <a:gd name="connsiteX10" fmla="*/ 0 w 229828"/>
                  <a:gd name="connsiteY10" fmla="*/ 173334 h 421048"/>
                  <a:gd name="connsiteX11" fmla="*/ 0 w 229828"/>
                  <a:gd name="connsiteY11" fmla="*/ 95633 h 421048"/>
                  <a:gd name="connsiteX12" fmla="*/ 47298 w 229828"/>
                  <a:gd name="connsiteY12" fmla="*/ 95633 h 421048"/>
                  <a:gd name="connsiteX13" fmla="*/ 47298 w 229828"/>
                  <a:gd name="connsiteY13" fmla="*/ 0 h 421048"/>
                  <a:gd name="connsiteX14" fmla="*/ 171872 w 229828"/>
                  <a:gd name="connsiteY14" fmla="*/ 0 h 421048"/>
                  <a:gd name="connsiteX15" fmla="*/ 171872 w 229828"/>
                  <a:gd name="connsiteY15" fmla="*/ 95633 h 421048"/>
                  <a:gd name="connsiteX16" fmla="*/ 229829 w 229828"/>
                  <a:gd name="connsiteY16" fmla="*/ 95633 h 421048"/>
                  <a:gd name="connsiteX17" fmla="*/ 229829 w 229828"/>
                  <a:gd name="connsiteY17" fmla="*/ 173334 h 42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28" h="421048">
                    <a:moveTo>
                      <a:pt x="229829" y="173334"/>
                    </a:moveTo>
                    <a:lnTo>
                      <a:pt x="171872" y="173334"/>
                    </a:lnTo>
                    <a:lnTo>
                      <a:pt x="171872" y="292210"/>
                    </a:lnTo>
                    <a:cubicBezTo>
                      <a:pt x="171872" y="319439"/>
                      <a:pt x="181864" y="330729"/>
                      <a:pt x="205180" y="330729"/>
                    </a:cubicBezTo>
                    <a:cubicBezTo>
                      <a:pt x="215173" y="330729"/>
                      <a:pt x="222501" y="329401"/>
                      <a:pt x="229829" y="326744"/>
                    </a:cubicBezTo>
                    <a:lnTo>
                      <a:pt x="229829" y="411087"/>
                    </a:lnTo>
                    <a:cubicBezTo>
                      <a:pt x="203182" y="417728"/>
                      <a:pt x="181864" y="421049"/>
                      <a:pt x="161213" y="421049"/>
                    </a:cubicBezTo>
                    <a:cubicBezTo>
                      <a:pt x="124574" y="421049"/>
                      <a:pt x="95262" y="409759"/>
                      <a:pt x="74611" y="388507"/>
                    </a:cubicBezTo>
                    <a:cubicBezTo>
                      <a:pt x="55292" y="368584"/>
                      <a:pt x="47298" y="340691"/>
                      <a:pt x="47298" y="296859"/>
                    </a:cubicBezTo>
                    <a:lnTo>
                      <a:pt x="47298" y="173334"/>
                    </a:lnTo>
                    <a:lnTo>
                      <a:pt x="0" y="173334"/>
                    </a:lnTo>
                    <a:lnTo>
                      <a:pt x="0" y="95633"/>
                    </a:lnTo>
                    <a:lnTo>
                      <a:pt x="47298" y="95633"/>
                    </a:lnTo>
                    <a:lnTo>
                      <a:pt x="47298" y="0"/>
                    </a:lnTo>
                    <a:lnTo>
                      <a:pt x="171872" y="0"/>
                    </a:lnTo>
                    <a:lnTo>
                      <a:pt x="171872" y="95633"/>
                    </a:lnTo>
                    <a:lnTo>
                      <a:pt x="229829" y="95633"/>
                    </a:lnTo>
                    <a:lnTo>
                      <a:pt x="229829" y="1733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49" name="Freeform 48">
                <a:extLst>
                  <a:ext uri="{FF2B5EF4-FFF2-40B4-BE49-F238E27FC236}">
                    <a16:creationId xmlns:a16="http://schemas.microsoft.com/office/drawing/2014/main" id="{B86BDB73-CEC4-454A-BA8E-400746BCAC8B}"/>
                  </a:ext>
                </a:extLst>
              </p:cNvPr>
              <p:cNvSpPr/>
              <p:nvPr/>
            </p:nvSpPr>
            <p:spPr>
              <a:xfrm>
                <a:off x="9430162" y="7694277"/>
                <a:ext cx="359731" cy="338034"/>
              </a:xfrm>
              <a:custGeom>
                <a:avLst/>
                <a:gdLst>
                  <a:gd name="connsiteX0" fmla="*/ 123242 w 359731"/>
                  <a:gd name="connsiteY0" fmla="*/ 198570 h 338034"/>
                  <a:gd name="connsiteX1" fmla="*/ 187860 w 359731"/>
                  <a:gd name="connsiteY1" fmla="*/ 251699 h 338034"/>
                  <a:gd name="connsiteX2" fmla="*/ 233159 w 359731"/>
                  <a:gd name="connsiteY2" fmla="*/ 230448 h 338034"/>
                  <a:gd name="connsiteX3" fmla="*/ 354402 w 359731"/>
                  <a:gd name="connsiteY3" fmla="*/ 230448 h 338034"/>
                  <a:gd name="connsiteX4" fmla="*/ 183863 w 359731"/>
                  <a:gd name="connsiteY4" fmla="*/ 338034 h 338034"/>
                  <a:gd name="connsiteX5" fmla="*/ 0 w 359731"/>
                  <a:gd name="connsiteY5" fmla="*/ 168021 h 338034"/>
                  <a:gd name="connsiteX6" fmla="*/ 180532 w 359731"/>
                  <a:gd name="connsiteY6" fmla="*/ 0 h 338034"/>
                  <a:gd name="connsiteX7" fmla="*/ 342411 w 359731"/>
                  <a:gd name="connsiteY7" fmla="*/ 96297 h 338034"/>
                  <a:gd name="connsiteX8" fmla="*/ 359732 w 359731"/>
                  <a:gd name="connsiteY8" fmla="*/ 198570 h 338034"/>
                  <a:gd name="connsiteX9" fmla="*/ 123242 w 359731"/>
                  <a:gd name="connsiteY9" fmla="*/ 198570 h 338034"/>
                  <a:gd name="connsiteX10" fmla="*/ 235158 w 359731"/>
                  <a:gd name="connsiteY10" fmla="*/ 132159 h 338034"/>
                  <a:gd name="connsiteX11" fmla="*/ 179200 w 359731"/>
                  <a:gd name="connsiteY11" fmla="*/ 81686 h 338034"/>
                  <a:gd name="connsiteX12" fmla="*/ 123908 w 359731"/>
                  <a:gd name="connsiteY12" fmla="*/ 132159 h 338034"/>
                  <a:gd name="connsiteX13" fmla="*/ 235158 w 359731"/>
                  <a:gd name="connsiteY13" fmla="*/ 132159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731" h="338034">
                    <a:moveTo>
                      <a:pt x="123242" y="198570"/>
                    </a:moveTo>
                    <a:cubicBezTo>
                      <a:pt x="127905" y="231112"/>
                      <a:pt x="152553" y="251699"/>
                      <a:pt x="187860" y="251699"/>
                    </a:cubicBezTo>
                    <a:cubicBezTo>
                      <a:pt x="209177" y="251699"/>
                      <a:pt x="223833" y="245058"/>
                      <a:pt x="233159" y="230448"/>
                    </a:cubicBezTo>
                    <a:lnTo>
                      <a:pt x="354402" y="230448"/>
                    </a:lnTo>
                    <a:cubicBezTo>
                      <a:pt x="339747" y="292875"/>
                      <a:pt x="267800" y="338034"/>
                      <a:pt x="183863" y="338034"/>
                    </a:cubicBezTo>
                    <a:cubicBezTo>
                      <a:pt x="75277" y="338034"/>
                      <a:pt x="0" y="268302"/>
                      <a:pt x="0" y="168021"/>
                    </a:cubicBezTo>
                    <a:cubicBezTo>
                      <a:pt x="0" y="71060"/>
                      <a:pt x="75943" y="0"/>
                      <a:pt x="180532" y="0"/>
                    </a:cubicBezTo>
                    <a:cubicBezTo>
                      <a:pt x="253811" y="0"/>
                      <a:pt x="313766" y="35198"/>
                      <a:pt x="342411" y="96297"/>
                    </a:cubicBezTo>
                    <a:cubicBezTo>
                      <a:pt x="354402" y="122861"/>
                      <a:pt x="359732" y="151418"/>
                      <a:pt x="359732" y="198570"/>
                    </a:cubicBezTo>
                    <a:lnTo>
                      <a:pt x="123242" y="198570"/>
                    </a:lnTo>
                    <a:close/>
                    <a:moveTo>
                      <a:pt x="235158" y="132159"/>
                    </a:moveTo>
                    <a:cubicBezTo>
                      <a:pt x="231827" y="100945"/>
                      <a:pt x="210510" y="81686"/>
                      <a:pt x="179200" y="81686"/>
                    </a:cubicBezTo>
                    <a:cubicBezTo>
                      <a:pt x="148556" y="81686"/>
                      <a:pt x="127239" y="100945"/>
                      <a:pt x="123908" y="132159"/>
                    </a:cubicBezTo>
                    <a:lnTo>
                      <a:pt x="235158" y="1321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0" name="Freeform 49">
                <a:extLst>
                  <a:ext uri="{FF2B5EF4-FFF2-40B4-BE49-F238E27FC236}">
                    <a16:creationId xmlns:a16="http://schemas.microsoft.com/office/drawing/2014/main" id="{D0855305-CA25-CB4B-BC17-661C97FB9330}"/>
                  </a:ext>
                </a:extLst>
              </p:cNvPr>
              <p:cNvSpPr/>
              <p:nvPr/>
            </p:nvSpPr>
            <p:spPr>
              <a:xfrm>
                <a:off x="9793890" y="7702910"/>
                <a:ext cx="355068" cy="320767"/>
              </a:xfrm>
              <a:custGeom>
                <a:avLst/>
                <a:gdLst>
                  <a:gd name="connsiteX0" fmla="*/ 109252 w 355068"/>
                  <a:gd name="connsiteY0" fmla="*/ 320767 h 320767"/>
                  <a:gd name="connsiteX1" fmla="*/ 0 w 355068"/>
                  <a:gd name="connsiteY1" fmla="*/ 0 h 320767"/>
                  <a:gd name="connsiteX2" fmla="*/ 123242 w 355068"/>
                  <a:gd name="connsiteY2" fmla="*/ 0 h 320767"/>
                  <a:gd name="connsiteX3" fmla="*/ 163212 w 355068"/>
                  <a:gd name="connsiteY3" fmla="*/ 131495 h 320767"/>
                  <a:gd name="connsiteX4" fmla="*/ 177201 w 355068"/>
                  <a:gd name="connsiteY4" fmla="*/ 185288 h 320767"/>
                  <a:gd name="connsiteX5" fmla="*/ 190525 w 355068"/>
                  <a:gd name="connsiteY5" fmla="*/ 131495 h 320767"/>
                  <a:gd name="connsiteX6" fmla="*/ 229162 w 355068"/>
                  <a:gd name="connsiteY6" fmla="*/ 0 h 320767"/>
                  <a:gd name="connsiteX7" fmla="*/ 355069 w 355068"/>
                  <a:gd name="connsiteY7" fmla="*/ 0 h 320767"/>
                  <a:gd name="connsiteX8" fmla="*/ 246483 w 355068"/>
                  <a:gd name="connsiteY8" fmla="*/ 320767 h 320767"/>
                  <a:gd name="connsiteX9" fmla="*/ 109252 w 355068"/>
                  <a:gd name="connsiteY9" fmla="*/ 320767 h 32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068" h="320767">
                    <a:moveTo>
                      <a:pt x="109252" y="320767"/>
                    </a:moveTo>
                    <a:lnTo>
                      <a:pt x="0" y="0"/>
                    </a:lnTo>
                    <a:lnTo>
                      <a:pt x="123242" y="0"/>
                    </a:lnTo>
                    <a:lnTo>
                      <a:pt x="163212" y="131495"/>
                    </a:lnTo>
                    <a:cubicBezTo>
                      <a:pt x="169207" y="150090"/>
                      <a:pt x="173870" y="168685"/>
                      <a:pt x="177201" y="185288"/>
                    </a:cubicBezTo>
                    <a:cubicBezTo>
                      <a:pt x="180532" y="169349"/>
                      <a:pt x="184529" y="152082"/>
                      <a:pt x="190525" y="131495"/>
                    </a:cubicBezTo>
                    <a:lnTo>
                      <a:pt x="229162" y="0"/>
                    </a:lnTo>
                    <a:lnTo>
                      <a:pt x="355069" y="0"/>
                    </a:lnTo>
                    <a:lnTo>
                      <a:pt x="246483" y="320767"/>
                    </a:lnTo>
                    <a:lnTo>
                      <a:pt x="109252" y="320767"/>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1" name="Freeform 50">
                <a:extLst>
                  <a:ext uri="{FF2B5EF4-FFF2-40B4-BE49-F238E27FC236}">
                    <a16:creationId xmlns:a16="http://schemas.microsoft.com/office/drawing/2014/main" id="{8E818445-7BD4-2740-ADF9-003A2592C336}"/>
                  </a:ext>
                </a:extLst>
              </p:cNvPr>
              <p:cNvSpPr/>
              <p:nvPr/>
            </p:nvSpPr>
            <p:spPr>
              <a:xfrm>
                <a:off x="10152290" y="7694277"/>
                <a:ext cx="359731" cy="338034"/>
              </a:xfrm>
              <a:custGeom>
                <a:avLst/>
                <a:gdLst>
                  <a:gd name="connsiteX0" fmla="*/ 123242 w 359731"/>
                  <a:gd name="connsiteY0" fmla="*/ 198570 h 338034"/>
                  <a:gd name="connsiteX1" fmla="*/ 187860 w 359731"/>
                  <a:gd name="connsiteY1" fmla="*/ 251699 h 338034"/>
                  <a:gd name="connsiteX2" fmla="*/ 233159 w 359731"/>
                  <a:gd name="connsiteY2" fmla="*/ 230448 h 338034"/>
                  <a:gd name="connsiteX3" fmla="*/ 354402 w 359731"/>
                  <a:gd name="connsiteY3" fmla="*/ 230448 h 338034"/>
                  <a:gd name="connsiteX4" fmla="*/ 183863 w 359731"/>
                  <a:gd name="connsiteY4" fmla="*/ 338034 h 338034"/>
                  <a:gd name="connsiteX5" fmla="*/ 0 w 359731"/>
                  <a:gd name="connsiteY5" fmla="*/ 168021 h 338034"/>
                  <a:gd name="connsiteX6" fmla="*/ 180532 w 359731"/>
                  <a:gd name="connsiteY6" fmla="*/ 0 h 338034"/>
                  <a:gd name="connsiteX7" fmla="*/ 342411 w 359731"/>
                  <a:gd name="connsiteY7" fmla="*/ 96297 h 338034"/>
                  <a:gd name="connsiteX8" fmla="*/ 359732 w 359731"/>
                  <a:gd name="connsiteY8" fmla="*/ 198570 h 338034"/>
                  <a:gd name="connsiteX9" fmla="*/ 123242 w 359731"/>
                  <a:gd name="connsiteY9" fmla="*/ 198570 h 338034"/>
                  <a:gd name="connsiteX10" fmla="*/ 235158 w 359731"/>
                  <a:gd name="connsiteY10" fmla="*/ 132159 h 338034"/>
                  <a:gd name="connsiteX11" fmla="*/ 179200 w 359731"/>
                  <a:gd name="connsiteY11" fmla="*/ 81686 h 338034"/>
                  <a:gd name="connsiteX12" fmla="*/ 123907 w 359731"/>
                  <a:gd name="connsiteY12" fmla="*/ 132159 h 338034"/>
                  <a:gd name="connsiteX13" fmla="*/ 235158 w 359731"/>
                  <a:gd name="connsiteY13" fmla="*/ 132159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731" h="338034">
                    <a:moveTo>
                      <a:pt x="123242" y="198570"/>
                    </a:moveTo>
                    <a:cubicBezTo>
                      <a:pt x="127905" y="231112"/>
                      <a:pt x="152553" y="251699"/>
                      <a:pt x="187860" y="251699"/>
                    </a:cubicBezTo>
                    <a:cubicBezTo>
                      <a:pt x="209177" y="251699"/>
                      <a:pt x="223833" y="245058"/>
                      <a:pt x="233159" y="230448"/>
                    </a:cubicBezTo>
                    <a:lnTo>
                      <a:pt x="354402" y="230448"/>
                    </a:lnTo>
                    <a:cubicBezTo>
                      <a:pt x="339747" y="292875"/>
                      <a:pt x="267800" y="338034"/>
                      <a:pt x="183863" y="338034"/>
                    </a:cubicBezTo>
                    <a:cubicBezTo>
                      <a:pt x="75277" y="338034"/>
                      <a:pt x="0" y="268302"/>
                      <a:pt x="0" y="168021"/>
                    </a:cubicBezTo>
                    <a:cubicBezTo>
                      <a:pt x="0" y="71060"/>
                      <a:pt x="75943" y="0"/>
                      <a:pt x="180532" y="0"/>
                    </a:cubicBezTo>
                    <a:cubicBezTo>
                      <a:pt x="253811" y="0"/>
                      <a:pt x="313766" y="35198"/>
                      <a:pt x="342411" y="96297"/>
                    </a:cubicBezTo>
                    <a:cubicBezTo>
                      <a:pt x="354402" y="122861"/>
                      <a:pt x="359732" y="151418"/>
                      <a:pt x="359732" y="198570"/>
                    </a:cubicBezTo>
                    <a:lnTo>
                      <a:pt x="123242" y="198570"/>
                    </a:lnTo>
                    <a:close/>
                    <a:moveTo>
                      <a:pt x="235158" y="132159"/>
                    </a:moveTo>
                    <a:cubicBezTo>
                      <a:pt x="231827" y="100945"/>
                      <a:pt x="210510" y="81686"/>
                      <a:pt x="179200" y="81686"/>
                    </a:cubicBezTo>
                    <a:cubicBezTo>
                      <a:pt x="148556" y="81686"/>
                      <a:pt x="127238" y="100945"/>
                      <a:pt x="123907" y="132159"/>
                    </a:cubicBezTo>
                    <a:lnTo>
                      <a:pt x="235158" y="1321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2" name="Freeform 51">
                <a:extLst>
                  <a:ext uri="{FF2B5EF4-FFF2-40B4-BE49-F238E27FC236}">
                    <a16:creationId xmlns:a16="http://schemas.microsoft.com/office/drawing/2014/main" id="{A01DF10E-44D2-1541-9740-98800A322CA3}"/>
                  </a:ext>
                </a:extLst>
              </p:cNvPr>
              <p:cNvSpPr/>
              <p:nvPr/>
            </p:nvSpPr>
            <p:spPr>
              <a:xfrm>
                <a:off x="10555989" y="7694182"/>
                <a:ext cx="251812" cy="329400"/>
              </a:xfrm>
              <a:custGeom>
                <a:avLst/>
                <a:gdLst>
                  <a:gd name="connsiteX0" fmla="*/ 117912 w 251812"/>
                  <a:gd name="connsiteY0" fmla="*/ 8633 h 329400"/>
                  <a:gd name="connsiteX1" fmla="*/ 117912 w 251812"/>
                  <a:gd name="connsiteY1" fmla="*/ 53129 h 329400"/>
                  <a:gd name="connsiteX2" fmla="*/ 213174 w 251812"/>
                  <a:gd name="connsiteY2" fmla="*/ 0 h 329400"/>
                  <a:gd name="connsiteX3" fmla="*/ 251812 w 251812"/>
                  <a:gd name="connsiteY3" fmla="*/ 6641 h 329400"/>
                  <a:gd name="connsiteX4" fmla="*/ 251812 w 251812"/>
                  <a:gd name="connsiteY4" fmla="*/ 117548 h 329400"/>
                  <a:gd name="connsiteX5" fmla="*/ 201849 w 251812"/>
                  <a:gd name="connsiteY5" fmla="*/ 106258 h 329400"/>
                  <a:gd name="connsiteX6" fmla="*/ 124574 w 251812"/>
                  <a:gd name="connsiteY6" fmla="*/ 183296 h 329400"/>
                  <a:gd name="connsiteX7" fmla="*/ 124574 w 251812"/>
                  <a:gd name="connsiteY7" fmla="*/ 329401 h 329400"/>
                  <a:gd name="connsiteX8" fmla="*/ 0 w 251812"/>
                  <a:gd name="connsiteY8" fmla="*/ 329401 h 329400"/>
                  <a:gd name="connsiteX9" fmla="*/ 0 w 251812"/>
                  <a:gd name="connsiteY9" fmla="*/ 8633 h 329400"/>
                  <a:gd name="connsiteX10" fmla="*/ 117912 w 251812"/>
                  <a:gd name="connsiteY10" fmla="*/ 8633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812" h="329400">
                    <a:moveTo>
                      <a:pt x="117912" y="8633"/>
                    </a:moveTo>
                    <a:lnTo>
                      <a:pt x="117912" y="53129"/>
                    </a:lnTo>
                    <a:cubicBezTo>
                      <a:pt x="146557" y="16603"/>
                      <a:pt x="175869" y="0"/>
                      <a:pt x="213174" y="0"/>
                    </a:cubicBezTo>
                    <a:cubicBezTo>
                      <a:pt x="225831" y="0"/>
                      <a:pt x="234492" y="1328"/>
                      <a:pt x="251812" y="6641"/>
                    </a:cubicBezTo>
                    <a:lnTo>
                      <a:pt x="251812" y="117548"/>
                    </a:lnTo>
                    <a:cubicBezTo>
                      <a:pt x="227164" y="108251"/>
                      <a:pt x="217837" y="106258"/>
                      <a:pt x="201849" y="106258"/>
                    </a:cubicBezTo>
                    <a:cubicBezTo>
                      <a:pt x="154551" y="106258"/>
                      <a:pt x="124574" y="136143"/>
                      <a:pt x="124574" y="183296"/>
                    </a:cubicBezTo>
                    <a:lnTo>
                      <a:pt x="124574" y="329401"/>
                    </a:lnTo>
                    <a:lnTo>
                      <a:pt x="0" y="329401"/>
                    </a:lnTo>
                    <a:lnTo>
                      <a:pt x="0" y="8633"/>
                    </a:lnTo>
                    <a:lnTo>
                      <a:pt x="117912" y="8633"/>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3" name="Freeform 52">
                <a:extLst>
                  <a:ext uri="{FF2B5EF4-FFF2-40B4-BE49-F238E27FC236}">
                    <a16:creationId xmlns:a16="http://schemas.microsoft.com/office/drawing/2014/main" id="{70E9E8D0-8593-7D47-B844-311985CC4F18}"/>
                  </a:ext>
                </a:extLst>
              </p:cNvPr>
              <p:cNvSpPr/>
              <p:nvPr/>
            </p:nvSpPr>
            <p:spPr>
              <a:xfrm>
                <a:off x="7849341" y="8178321"/>
                <a:ext cx="137897" cy="442964"/>
              </a:xfrm>
              <a:custGeom>
                <a:avLst/>
                <a:gdLst>
                  <a:gd name="connsiteX0" fmla="*/ 0 w 137897"/>
                  <a:gd name="connsiteY0" fmla="*/ 0 h 442964"/>
                  <a:gd name="connsiteX1" fmla="*/ 137897 w 137897"/>
                  <a:gd name="connsiteY1" fmla="*/ 0 h 442964"/>
                  <a:gd name="connsiteX2" fmla="*/ 137897 w 137897"/>
                  <a:gd name="connsiteY2" fmla="*/ 442965 h 442964"/>
                  <a:gd name="connsiteX3" fmla="*/ 0 w 137897"/>
                  <a:gd name="connsiteY3" fmla="*/ 442965 h 442964"/>
                </a:gdLst>
                <a:ahLst/>
                <a:cxnLst>
                  <a:cxn ang="0">
                    <a:pos x="connsiteX0" y="connsiteY0"/>
                  </a:cxn>
                  <a:cxn ang="0">
                    <a:pos x="connsiteX1" y="connsiteY1"/>
                  </a:cxn>
                  <a:cxn ang="0">
                    <a:pos x="connsiteX2" y="connsiteY2"/>
                  </a:cxn>
                  <a:cxn ang="0">
                    <a:pos x="connsiteX3" y="connsiteY3"/>
                  </a:cxn>
                </a:cxnLst>
                <a:rect l="l" t="t" r="r" b="b"/>
                <a:pathLst>
                  <a:path w="137897" h="442964">
                    <a:moveTo>
                      <a:pt x="0" y="0"/>
                    </a:moveTo>
                    <a:lnTo>
                      <a:pt x="137897" y="0"/>
                    </a:lnTo>
                    <a:lnTo>
                      <a:pt x="137897" y="442965"/>
                    </a:lnTo>
                    <a:lnTo>
                      <a:pt x="0" y="442965"/>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4" name="Freeform 53">
                <a:extLst>
                  <a:ext uri="{FF2B5EF4-FFF2-40B4-BE49-F238E27FC236}">
                    <a16:creationId xmlns:a16="http://schemas.microsoft.com/office/drawing/2014/main" id="{B607ED74-8451-2D42-8E71-E4A48E8A076F}"/>
                  </a:ext>
                </a:extLst>
              </p:cNvPr>
              <p:cNvSpPr/>
              <p:nvPr/>
            </p:nvSpPr>
            <p:spPr>
              <a:xfrm>
                <a:off x="8020546" y="8204886"/>
                <a:ext cx="229828" cy="421048"/>
              </a:xfrm>
              <a:custGeom>
                <a:avLst/>
                <a:gdLst>
                  <a:gd name="connsiteX0" fmla="*/ 229829 w 229828"/>
                  <a:gd name="connsiteY0" fmla="*/ 173334 h 421048"/>
                  <a:gd name="connsiteX1" fmla="*/ 171872 w 229828"/>
                  <a:gd name="connsiteY1" fmla="*/ 173334 h 421048"/>
                  <a:gd name="connsiteX2" fmla="*/ 171872 w 229828"/>
                  <a:gd name="connsiteY2" fmla="*/ 292210 h 421048"/>
                  <a:gd name="connsiteX3" fmla="*/ 205180 w 229828"/>
                  <a:gd name="connsiteY3" fmla="*/ 330729 h 421048"/>
                  <a:gd name="connsiteX4" fmla="*/ 229829 w 229828"/>
                  <a:gd name="connsiteY4" fmla="*/ 326744 h 421048"/>
                  <a:gd name="connsiteX5" fmla="*/ 229829 w 229828"/>
                  <a:gd name="connsiteY5" fmla="*/ 411087 h 421048"/>
                  <a:gd name="connsiteX6" fmla="*/ 161213 w 229828"/>
                  <a:gd name="connsiteY6" fmla="*/ 421049 h 421048"/>
                  <a:gd name="connsiteX7" fmla="*/ 74611 w 229828"/>
                  <a:gd name="connsiteY7" fmla="*/ 388507 h 421048"/>
                  <a:gd name="connsiteX8" fmla="*/ 47298 w 229828"/>
                  <a:gd name="connsiteY8" fmla="*/ 296859 h 421048"/>
                  <a:gd name="connsiteX9" fmla="*/ 47298 w 229828"/>
                  <a:gd name="connsiteY9" fmla="*/ 173334 h 421048"/>
                  <a:gd name="connsiteX10" fmla="*/ 0 w 229828"/>
                  <a:gd name="connsiteY10" fmla="*/ 173334 h 421048"/>
                  <a:gd name="connsiteX11" fmla="*/ 0 w 229828"/>
                  <a:gd name="connsiteY11" fmla="*/ 95633 h 421048"/>
                  <a:gd name="connsiteX12" fmla="*/ 47298 w 229828"/>
                  <a:gd name="connsiteY12" fmla="*/ 95633 h 421048"/>
                  <a:gd name="connsiteX13" fmla="*/ 47298 w 229828"/>
                  <a:gd name="connsiteY13" fmla="*/ 0 h 421048"/>
                  <a:gd name="connsiteX14" fmla="*/ 171872 w 229828"/>
                  <a:gd name="connsiteY14" fmla="*/ 0 h 421048"/>
                  <a:gd name="connsiteX15" fmla="*/ 171872 w 229828"/>
                  <a:gd name="connsiteY15" fmla="*/ 95633 h 421048"/>
                  <a:gd name="connsiteX16" fmla="*/ 229829 w 229828"/>
                  <a:gd name="connsiteY16" fmla="*/ 95633 h 421048"/>
                  <a:gd name="connsiteX17" fmla="*/ 229829 w 229828"/>
                  <a:gd name="connsiteY17" fmla="*/ 173334 h 42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28" h="421048">
                    <a:moveTo>
                      <a:pt x="229829" y="173334"/>
                    </a:moveTo>
                    <a:lnTo>
                      <a:pt x="171872" y="173334"/>
                    </a:lnTo>
                    <a:lnTo>
                      <a:pt x="171872" y="292210"/>
                    </a:lnTo>
                    <a:cubicBezTo>
                      <a:pt x="171872" y="319439"/>
                      <a:pt x="181864" y="330729"/>
                      <a:pt x="205180" y="330729"/>
                    </a:cubicBezTo>
                    <a:cubicBezTo>
                      <a:pt x="215173" y="330729"/>
                      <a:pt x="222501" y="329401"/>
                      <a:pt x="229829" y="326744"/>
                    </a:cubicBezTo>
                    <a:lnTo>
                      <a:pt x="229829" y="411087"/>
                    </a:lnTo>
                    <a:cubicBezTo>
                      <a:pt x="203182" y="417728"/>
                      <a:pt x="181864" y="421049"/>
                      <a:pt x="161213" y="421049"/>
                    </a:cubicBezTo>
                    <a:cubicBezTo>
                      <a:pt x="124574" y="421049"/>
                      <a:pt x="95262" y="409759"/>
                      <a:pt x="74611" y="388507"/>
                    </a:cubicBezTo>
                    <a:cubicBezTo>
                      <a:pt x="55292" y="368584"/>
                      <a:pt x="47298" y="340691"/>
                      <a:pt x="47298" y="296859"/>
                    </a:cubicBezTo>
                    <a:lnTo>
                      <a:pt x="47298" y="173334"/>
                    </a:lnTo>
                    <a:lnTo>
                      <a:pt x="0" y="173334"/>
                    </a:lnTo>
                    <a:lnTo>
                      <a:pt x="0" y="95633"/>
                    </a:lnTo>
                    <a:lnTo>
                      <a:pt x="47298" y="95633"/>
                    </a:lnTo>
                    <a:lnTo>
                      <a:pt x="47298" y="0"/>
                    </a:lnTo>
                    <a:lnTo>
                      <a:pt x="171872" y="0"/>
                    </a:lnTo>
                    <a:lnTo>
                      <a:pt x="171872" y="95633"/>
                    </a:lnTo>
                    <a:lnTo>
                      <a:pt x="229829" y="95633"/>
                    </a:lnTo>
                    <a:lnTo>
                      <a:pt x="229829" y="1733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5" name="Freeform 54">
                <a:extLst>
                  <a:ext uri="{FF2B5EF4-FFF2-40B4-BE49-F238E27FC236}">
                    <a16:creationId xmlns:a16="http://schemas.microsoft.com/office/drawing/2014/main" id="{D9E4927C-9029-D54A-9495-602A2AD26FEA}"/>
                  </a:ext>
                </a:extLst>
              </p:cNvPr>
              <p:cNvSpPr/>
              <p:nvPr/>
            </p:nvSpPr>
            <p:spPr>
              <a:xfrm>
                <a:off x="8437569" y="8178321"/>
                <a:ext cx="392373" cy="443059"/>
              </a:xfrm>
              <a:custGeom>
                <a:avLst/>
                <a:gdLst>
                  <a:gd name="connsiteX0" fmla="*/ 265136 w 392373"/>
                  <a:gd name="connsiteY0" fmla="*/ 443059 h 443059"/>
                  <a:gd name="connsiteX1" fmla="*/ 127238 w 392373"/>
                  <a:gd name="connsiteY1" fmla="*/ 443059 h 443059"/>
                  <a:gd name="connsiteX2" fmla="*/ 127238 w 392373"/>
                  <a:gd name="connsiteY2" fmla="*/ 117548 h 443059"/>
                  <a:gd name="connsiteX3" fmla="*/ 0 w 392373"/>
                  <a:gd name="connsiteY3" fmla="*/ 117548 h 443059"/>
                  <a:gd name="connsiteX4" fmla="*/ 0 w 392373"/>
                  <a:gd name="connsiteY4" fmla="*/ 0 h 443059"/>
                  <a:gd name="connsiteX5" fmla="*/ 392374 w 392373"/>
                  <a:gd name="connsiteY5" fmla="*/ 0 h 443059"/>
                  <a:gd name="connsiteX6" fmla="*/ 392374 w 392373"/>
                  <a:gd name="connsiteY6" fmla="*/ 117548 h 443059"/>
                  <a:gd name="connsiteX7" fmla="*/ 265136 w 392373"/>
                  <a:gd name="connsiteY7" fmla="*/ 117548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373" h="443059">
                    <a:moveTo>
                      <a:pt x="265136" y="443059"/>
                    </a:moveTo>
                    <a:lnTo>
                      <a:pt x="127238" y="443059"/>
                    </a:lnTo>
                    <a:lnTo>
                      <a:pt x="127238" y="117548"/>
                    </a:lnTo>
                    <a:lnTo>
                      <a:pt x="0" y="117548"/>
                    </a:lnTo>
                    <a:lnTo>
                      <a:pt x="0" y="0"/>
                    </a:lnTo>
                    <a:lnTo>
                      <a:pt x="392374" y="0"/>
                    </a:lnTo>
                    <a:lnTo>
                      <a:pt x="392374" y="117548"/>
                    </a:lnTo>
                    <a:lnTo>
                      <a:pt x="265136" y="11754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6" name="Freeform 55">
                <a:extLst>
                  <a:ext uri="{FF2B5EF4-FFF2-40B4-BE49-F238E27FC236}">
                    <a16:creationId xmlns:a16="http://schemas.microsoft.com/office/drawing/2014/main" id="{EC90650F-64C7-4948-8967-D11F9EC644BF}"/>
                  </a:ext>
                </a:extLst>
              </p:cNvPr>
              <p:cNvSpPr/>
              <p:nvPr/>
            </p:nvSpPr>
            <p:spPr>
              <a:xfrm>
                <a:off x="8803296" y="8291980"/>
                <a:ext cx="350405" cy="338034"/>
              </a:xfrm>
              <a:custGeom>
                <a:avLst/>
                <a:gdLst>
                  <a:gd name="connsiteX0" fmla="*/ 14656 w 350405"/>
                  <a:gd name="connsiteY0" fmla="*/ 124189 h 338034"/>
                  <a:gd name="connsiteX1" fmla="*/ 47298 w 350405"/>
                  <a:gd name="connsiteY1" fmla="*/ 42503 h 338034"/>
                  <a:gd name="connsiteX2" fmla="*/ 179200 w 350405"/>
                  <a:gd name="connsiteY2" fmla="*/ 0 h 338034"/>
                  <a:gd name="connsiteX3" fmla="*/ 299110 w 350405"/>
                  <a:gd name="connsiteY3" fmla="*/ 32542 h 338034"/>
                  <a:gd name="connsiteX4" fmla="*/ 340413 w 350405"/>
                  <a:gd name="connsiteY4" fmla="*/ 130831 h 338034"/>
                  <a:gd name="connsiteX5" fmla="*/ 340413 w 350405"/>
                  <a:gd name="connsiteY5" fmla="*/ 281585 h 338034"/>
                  <a:gd name="connsiteX6" fmla="*/ 350405 w 350405"/>
                  <a:gd name="connsiteY6" fmla="*/ 329401 h 338034"/>
                  <a:gd name="connsiteX7" fmla="*/ 229829 w 350405"/>
                  <a:gd name="connsiteY7" fmla="*/ 329401 h 338034"/>
                  <a:gd name="connsiteX8" fmla="*/ 219170 w 350405"/>
                  <a:gd name="connsiteY8" fmla="*/ 296859 h 338034"/>
                  <a:gd name="connsiteX9" fmla="*/ 111917 w 350405"/>
                  <a:gd name="connsiteY9" fmla="*/ 338034 h 338034"/>
                  <a:gd name="connsiteX10" fmla="*/ 0 w 350405"/>
                  <a:gd name="connsiteY10" fmla="*/ 244394 h 338034"/>
                  <a:gd name="connsiteX11" fmla="*/ 89933 w 350405"/>
                  <a:gd name="connsiteY11" fmla="*/ 148762 h 338034"/>
                  <a:gd name="connsiteX12" fmla="*/ 183197 w 350405"/>
                  <a:gd name="connsiteY12" fmla="*/ 130831 h 338034"/>
                  <a:gd name="connsiteX13" fmla="*/ 218504 w 350405"/>
                  <a:gd name="connsiteY13" fmla="*/ 106922 h 338034"/>
                  <a:gd name="connsiteX14" fmla="*/ 176535 w 350405"/>
                  <a:gd name="connsiteY14" fmla="*/ 79694 h 338034"/>
                  <a:gd name="connsiteX15" fmla="*/ 128571 w 350405"/>
                  <a:gd name="connsiteY15" fmla="*/ 119541 h 338034"/>
                  <a:gd name="connsiteX16" fmla="*/ 128571 w 350405"/>
                  <a:gd name="connsiteY16" fmla="*/ 124189 h 338034"/>
                  <a:gd name="connsiteX17" fmla="*/ 14656 w 350405"/>
                  <a:gd name="connsiteY17" fmla="*/ 124189 h 338034"/>
                  <a:gd name="connsiteX18" fmla="*/ 167209 w 350405"/>
                  <a:gd name="connsiteY18" fmla="*/ 203883 h 338034"/>
                  <a:gd name="connsiteX19" fmla="*/ 131235 w 350405"/>
                  <a:gd name="connsiteY19" fmla="*/ 217165 h 338034"/>
                  <a:gd name="connsiteX20" fmla="*/ 119244 w 350405"/>
                  <a:gd name="connsiteY20" fmla="*/ 237753 h 338034"/>
                  <a:gd name="connsiteX21" fmla="*/ 154551 w 350405"/>
                  <a:gd name="connsiteY21" fmla="*/ 264982 h 338034"/>
                  <a:gd name="connsiteX22" fmla="*/ 220502 w 350405"/>
                  <a:gd name="connsiteY22" fmla="*/ 202555 h 338034"/>
                  <a:gd name="connsiteX23" fmla="*/ 220502 w 350405"/>
                  <a:gd name="connsiteY23" fmla="*/ 185288 h 338034"/>
                  <a:gd name="connsiteX24" fmla="*/ 167209 w 350405"/>
                  <a:gd name="connsiteY24" fmla="*/ 203883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405" h="338034">
                    <a:moveTo>
                      <a:pt x="14656" y="124189"/>
                    </a:moveTo>
                    <a:cubicBezTo>
                      <a:pt x="17987" y="85671"/>
                      <a:pt x="27313" y="63091"/>
                      <a:pt x="47298" y="42503"/>
                    </a:cubicBezTo>
                    <a:cubicBezTo>
                      <a:pt x="75277" y="15275"/>
                      <a:pt x="121243" y="0"/>
                      <a:pt x="179200" y="0"/>
                    </a:cubicBezTo>
                    <a:cubicBezTo>
                      <a:pt x="229162" y="0"/>
                      <a:pt x="269133" y="10626"/>
                      <a:pt x="299110" y="32542"/>
                    </a:cubicBezTo>
                    <a:cubicBezTo>
                      <a:pt x="327756" y="53793"/>
                      <a:pt x="340413" y="83678"/>
                      <a:pt x="340413" y="130831"/>
                    </a:cubicBezTo>
                    <a:lnTo>
                      <a:pt x="340413" y="281585"/>
                    </a:lnTo>
                    <a:cubicBezTo>
                      <a:pt x="340413" y="305493"/>
                      <a:pt x="342411" y="315454"/>
                      <a:pt x="350405" y="329401"/>
                    </a:cubicBezTo>
                    <a:lnTo>
                      <a:pt x="229829" y="329401"/>
                    </a:lnTo>
                    <a:cubicBezTo>
                      <a:pt x="224499" y="318111"/>
                      <a:pt x="221834" y="310806"/>
                      <a:pt x="219170" y="296859"/>
                    </a:cubicBezTo>
                    <a:cubicBezTo>
                      <a:pt x="177867" y="328073"/>
                      <a:pt x="151887" y="338034"/>
                      <a:pt x="111917" y="338034"/>
                    </a:cubicBezTo>
                    <a:cubicBezTo>
                      <a:pt x="45300" y="338034"/>
                      <a:pt x="0" y="300180"/>
                      <a:pt x="0" y="244394"/>
                    </a:cubicBezTo>
                    <a:cubicBezTo>
                      <a:pt x="0" y="191265"/>
                      <a:pt x="29311" y="160716"/>
                      <a:pt x="89933" y="148762"/>
                    </a:cubicBezTo>
                    <a:lnTo>
                      <a:pt x="183197" y="130831"/>
                    </a:lnTo>
                    <a:cubicBezTo>
                      <a:pt x="207845" y="126182"/>
                      <a:pt x="218504" y="118877"/>
                      <a:pt x="218504" y="106922"/>
                    </a:cubicBezTo>
                    <a:cubicBezTo>
                      <a:pt x="218504" y="90320"/>
                      <a:pt x="201849" y="79694"/>
                      <a:pt x="176535" y="79694"/>
                    </a:cubicBezTo>
                    <a:cubicBezTo>
                      <a:pt x="146557" y="79694"/>
                      <a:pt x="128571" y="94304"/>
                      <a:pt x="128571" y="119541"/>
                    </a:cubicBezTo>
                    <a:lnTo>
                      <a:pt x="128571" y="124189"/>
                    </a:lnTo>
                    <a:lnTo>
                      <a:pt x="14656" y="124189"/>
                    </a:lnTo>
                    <a:close/>
                    <a:moveTo>
                      <a:pt x="167209" y="203883"/>
                    </a:moveTo>
                    <a:cubicBezTo>
                      <a:pt x="138563" y="213181"/>
                      <a:pt x="138563" y="213181"/>
                      <a:pt x="131235" y="217165"/>
                    </a:cubicBezTo>
                    <a:cubicBezTo>
                      <a:pt x="123241" y="221814"/>
                      <a:pt x="119244" y="229120"/>
                      <a:pt x="119244" y="237753"/>
                    </a:cubicBezTo>
                    <a:cubicBezTo>
                      <a:pt x="119244" y="254356"/>
                      <a:pt x="133234" y="264982"/>
                      <a:pt x="154551" y="264982"/>
                    </a:cubicBezTo>
                    <a:cubicBezTo>
                      <a:pt x="193189" y="264982"/>
                      <a:pt x="220502" y="239081"/>
                      <a:pt x="220502" y="202555"/>
                    </a:cubicBezTo>
                    <a:lnTo>
                      <a:pt x="220502" y="185288"/>
                    </a:lnTo>
                    <a:lnTo>
                      <a:pt x="167209" y="203883"/>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7" name="Freeform 56">
                <a:extLst>
                  <a:ext uri="{FF2B5EF4-FFF2-40B4-BE49-F238E27FC236}">
                    <a16:creationId xmlns:a16="http://schemas.microsoft.com/office/drawing/2014/main" id="{984D7B23-2A8D-8947-BDD3-9D7613EA874C}"/>
                  </a:ext>
                </a:extLst>
              </p:cNvPr>
              <p:cNvSpPr/>
              <p:nvPr/>
            </p:nvSpPr>
            <p:spPr>
              <a:xfrm>
                <a:off x="9189674" y="8178321"/>
                <a:ext cx="361064" cy="443059"/>
              </a:xfrm>
              <a:custGeom>
                <a:avLst/>
                <a:gdLst>
                  <a:gd name="connsiteX0" fmla="*/ 361064 w 361064"/>
                  <a:gd name="connsiteY0" fmla="*/ 443059 h 443059"/>
                  <a:gd name="connsiteX1" fmla="*/ 213840 w 361064"/>
                  <a:gd name="connsiteY1" fmla="*/ 443059 h 443059"/>
                  <a:gd name="connsiteX2" fmla="*/ 147890 w 361064"/>
                  <a:gd name="connsiteY2" fmla="*/ 330160 h 443059"/>
                  <a:gd name="connsiteX3" fmla="*/ 124574 w 361064"/>
                  <a:gd name="connsiteY3" fmla="*/ 354068 h 443059"/>
                  <a:gd name="connsiteX4" fmla="*/ 124574 w 361064"/>
                  <a:gd name="connsiteY4" fmla="*/ 443059 h 443059"/>
                  <a:gd name="connsiteX5" fmla="*/ 0 w 361064"/>
                  <a:gd name="connsiteY5" fmla="*/ 443059 h 443059"/>
                  <a:gd name="connsiteX6" fmla="*/ 0 w 361064"/>
                  <a:gd name="connsiteY6" fmla="*/ 0 h 443059"/>
                  <a:gd name="connsiteX7" fmla="*/ 124574 w 361064"/>
                  <a:gd name="connsiteY7" fmla="*/ 0 h 443059"/>
                  <a:gd name="connsiteX8" fmla="*/ 124574 w 361064"/>
                  <a:gd name="connsiteY8" fmla="*/ 215932 h 443059"/>
                  <a:gd name="connsiteX9" fmla="*/ 205180 w 361064"/>
                  <a:gd name="connsiteY9" fmla="*/ 122197 h 443059"/>
                  <a:gd name="connsiteX10" fmla="*/ 349739 w 361064"/>
                  <a:gd name="connsiteY10" fmla="*/ 122197 h 443059"/>
                  <a:gd name="connsiteX11" fmla="*/ 228496 w 361064"/>
                  <a:gd name="connsiteY11" fmla="*/ 246386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064" h="443059">
                    <a:moveTo>
                      <a:pt x="361064" y="443059"/>
                    </a:moveTo>
                    <a:lnTo>
                      <a:pt x="213840" y="443059"/>
                    </a:lnTo>
                    <a:lnTo>
                      <a:pt x="147890" y="330160"/>
                    </a:lnTo>
                    <a:lnTo>
                      <a:pt x="124574" y="354068"/>
                    </a:lnTo>
                    <a:lnTo>
                      <a:pt x="124574" y="443059"/>
                    </a:lnTo>
                    <a:lnTo>
                      <a:pt x="0" y="443059"/>
                    </a:lnTo>
                    <a:lnTo>
                      <a:pt x="0" y="0"/>
                    </a:lnTo>
                    <a:lnTo>
                      <a:pt x="124574" y="0"/>
                    </a:lnTo>
                    <a:lnTo>
                      <a:pt x="124574" y="215932"/>
                    </a:lnTo>
                    <a:lnTo>
                      <a:pt x="205180" y="122197"/>
                    </a:lnTo>
                    <a:lnTo>
                      <a:pt x="349739" y="122197"/>
                    </a:lnTo>
                    <a:lnTo>
                      <a:pt x="228496" y="246386"/>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8" name="Freeform 57">
                <a:extLst>
                  <a:ext uri="{FF2B5EF4-FFF2-40B4-BE49-F238E27FC236}">
                    <a16:creationId xmlns:a16="http://schemas.microsoft.com/office/drawing/2014/main" id="{BA544003-0B9A-3C48-886A-6F7D5A9159A2}"/>
                  </a:ext>
                </a:extLst>
              </p:cNvPr>
              <p:cNvSpPr/>
              <p:nvPr/>
            </p:nvSpPr>
            <p:spPr>
              <a:xfrm>
                <a:off x="9529421" y="8291980"/>
                <a:ext cx="359731" cy="338034"/>
              </a:xfrm>
              <a:custGeom>
                <a:avLst/>
                <a:gdLst>
                  <a:gd name="connsiteX0" fmla="*/ 123241 w 359731"/>
                  <a:gd name="connsiteY0" fmla="*/ 198570 h 338034"/>
                  <a:gd name="connsiteX1" fmla="*/ 187860 w 359731"/>
                  <a:gd name="connsiteY1" fmla="*/ 251699 h 338034"/>
                  <a:gd name="connsiteX2" fmla="*/ 233159 w 359731"/>
                  <a:gd name="connsiteY2" fmla="*/ 230448 h 338034"/>
                  <a:gd name="connsiteX3" fmla="*/ 354402 w 359731"/>
                  <a:gd name="connsiteY3" fmla="*/ 230448 h 338034"/>
                  <a:gd name="connsiteX4" fmla="*/ 183863 w 359731"/>
                  <a:gd name="connsiteY4" fmla="*/ 338034 h 338034"/>
                  <a:gd name="connsiteX5" fmla="*/ 0 w 359731"/>
                  <a:gd name="connsiteY5" fmla="*/ 168021 h 338034"/>
                  <a:gd name="connsiteX6" fmla="*/ 180532 w 359731"/>
                  <a:gd name="connsiteY6" fmla="*/ 0 h 338034"/>
                  <a:gd name="connsiteX7" fmla="*/ 342411 w 359731"/>
                  <a:gd name="connsiteY7" fmla="*/ 96297 h 338034"/>
                  <a:gd name="connsiteX8" fmla="*/ 359732 w 359731"/>
                  <a:gd name="connsiteY8" fmla="*/ 198570 h 338034"/>
                  <a:gd name="connsiteX9" fmla="*/ 123241 w 359731"/>
                  <a:gd name="connsiteY9" fmla="*/ 198570 h 338034"/>
                  <a:gd name="connsiteX10" fmla="*/ 235158 w 359731"/>
                  <a:gd name="connsiteY10" fmla="*/ 132159 h 338034"/>
                  <a:gd name="connsiteX11" fmla="*/ 179200 w 359731"/>
                  <a:gd name="connsiteY11" fmla="*/ 81686 h 338034"/>
                  <a:gd name="connsiteX12" fmla="*/ 123908 w 359731"/>
                  <a:gd name="connsiteY12" fmla="*/ 132159 h 338034"/>
                  <a:gd name="connsiteX13" fmla="*/ 235158 w 359731"/>
                  <a:gd name="connsiteY13" fmla="*/ 132159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731" h="338034">
                    <a:moveTo>
                      <a:pt x="123241" y="198570"/>
                    </a:moveTo>
                    <a:cubicBezTo>
                      <a:pt x="127905" y="231112"/>
                      <a:pt x="152553" y="251699"/>
                      <a:pt x="187860" y="251699"/>
                    </a:cubicBezTo>
                    <a:cubicBezTo>
                      <a:pt x="209177" y="251699"/>
                      <a:pt x="223833" y="245058"/>
                      <a:pt x="233159" y="230448"/>
                    </a:cubicBezTo>
                    <a:lnTo>
                      <a:pt x="354402" y="230448"/>
                    </a:lnTo>
                    <a:cubicBezTo>
                      <a:pt x="339747" y="292875"/>
                      <a:pt x="267800" y="338034"/>
                      <a:pt x="183863" y="338034"/>
                    </a:cubicBezTo>
                    <a:cubicBezTo>
                      <a:pt x="75277" y="338034"/>
                      <a:pt x="0" y="268302"/>
                      <a:pt x="0" y="168021"/>
                    </a:cubicBezTo>
                    <a:cubicBezTo>
                      <a:pt x="0" y="71060"/>
                      <a:pt x="75943" y="0"/>
                      <a:pt x="180532" y="0"/>
                    </a:cubicBezTo>
                    <a:cubicBezTo>
                      <a:pt x="253811" y="0"/>
                      <a:pt x="313766" y="35198"/>
                      <a:pt x="342411" y="96297"/>
                    </a:cubicBezTo>
                    <a:cubicBezTo>
                      <a:pt x="354402" y="122861"/>
                      <a:pt x="359732" y="151418"/>
                      <a:pt x="359732" y="198570"/>
                    </a:cubicBezTo>
                    <a:lnTo>
                      <a:pt x="123241" y="198570"/>
                    </a:lnTo>
                    <a:close/>
                    <a:moveTo>
                      <a:pt x="235158" y="132159"/>
                    </a:moveTo>
                    <a:cubicBezTo>
                      <a:pt x="231827" y="100945"/>
                      <a:pt x="210510" y="81686"/>
                      <a:pt x="179200" y="81686"/>
                    </a:cubicBezTo>
                    <a:cubicBezTo>
                      <a:pt x="148556" y="81686"/>
                      <a:pt x="127238" y="100945"/>
                      <a:pt x="123908" y="132159"/>
                    </a:cubicBezTo>
                    <a:lnTo>
                      <a:pt x="235158" y="1321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59" name="Freeform 58">
                <a:extLst>
                  <a:ext uri="{FF2B5EF4-FFF2-40B4-BE49-F238E27FC236}">
                    <a16:creationId xmlns:a16="http://schemas.microsoft.com/office/drawing/2014/main" id="{E68ABD6C-7688-2045-B3F1-A98CC842CF78}"/>
                  </a:ext>
                </a:extLst>
              </p:cNvPr>
              <p:cNvSpPr/>
              <p:nvPr/>
            </p:nvSpPr>
            <p:spPr>
              <a:xfrm>
                <a:off x="9915133" y="8291980"/>
                <a:ext cx="329087" cy="338034"/>
              </a:xfrm>
              <a:custGeom>
                <a:avLst/>
                <a:gdLst>
                  <a:gd name="connsiteX0" fmla="*/ 201849 w 329087"/>
                  <a:gd name="connsiteY0" fmla="*/ 102938 h 338034"/>
                  <a:gd name="connsiteX1" fmla="*/ 161213 w 329087"/>
                  <a:gd name="connsiteY1" fmla="*/ 73053 h 338034"/>
                  <a:gd name="connsiteX2" fmla="*/ 128571 w 329087"/>
                  <a:gd name="connsiteY2" fmla="*/ 90984 h 338034"/>
                  <a:gd name="connsiteX3" fmla="*/ 159881 w 329087"/>
                  <a:gd name="connsiteY3" fmla="*/ 112900 h 338034"/>
                  <a:gd name="connsiteX4" fmla="*/ 217171 w 329087"/>
                  <a:gd name="connsiteY4" fmla="*/ 124189 h 338034"/>
                  <a:gd name="connsiteX5" fmla="*/ 296446 w 329087"/>
                  <a:gd name="connsiteY5" fmla="*/ 154075 h 338034"/>
                  <a:gd name="connsiteX6" fmla="*/ 329088 w 329087"/>
                  <a:gd name="connsiteY6" fmla="*/ 225135 h 338034"/>
                  <a:gd name="connsiteX7" fmla="*/ 164544 w 329087"/>
                  <a:gd name="connsiteY7" fmla="*/ 338034 h 338034"/>
                  <a:gd name="connsiteX8" fmla="*/ 29978 w 329087"/>
                  <a:gd name="connsiteY8" fmla="*/ 292210 h 338034"/>
                  <a:gd name="connsiteX9" fmla="*/ 0 w 329087"/>
                  <a:gd name="connsiteY9" fmla="*/ 219822 h 338034"/>
                  <a:gd name="connsiteX10" fmla="*/ 119244 w 329087"/>
                  <a:gd name="connsiteY10" fmla="*/ 219822 h 338034"/>
                  <a:gd name="connsiteX11" fmla="*/ 167209 w 329087"/>
                  <a:gd name="connsiteY11" fmla="*/ 258341 h 338034"/>
                  <a:gd name="connsiteX12" fmla="*/ 204514 w 329087"/>
                  <a:gd name="connsiteY12" fmla="*/ 235097 h 338034"/>
                  <a:gd name="connsiteX13" fmla="*/ 175203 w 329087"/>
                  <a:gd name="connsiteY13" fmla="*/ 213181 h 338034"/>
                  <a:gd name="connsiteX14" fmla="*/ 102590 w 329087"/>
                  <a:gd name="connsiteY14" fmla="*/ 196578 h 338034"/>
                  <a:gd name="connsiteX15" fmla="*/ 6662 w 329087"/>
                  <a:gd name="connsiteY15" fmla="*/ 102938 h 338034"/>
                  <a:gd name="connsiteX16" fmla="*/ 165876 w 329087"/>
                  <a:gd name="connsiteY16" fmla="*/ 0 h 338034"/>
                  <a:gd name="connsiteX17" fmla="*/ 317763 w 329087"/>
                  <a:gd name="connsiteY17" fmla="*/ 102938 h 338034"/>
                  <a:gd name="connsiteX18" fmla="*/ 201849 w 329087"/>
                  <a:gd name="connsiteY18" fmla="*/ 102938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087" h="338034">
                    <a:moveTo>
                      <a:pt x="201849" y="102938"/>
                    </a:moveTo>
                    <a:cubicBezTo>
                      <a:pt x="199185" y="81686"/>
                      <a:pt x="187860" y="73053"/>
                      <a:pt x="161213" y="73053"/>
                    </a:cubicBezTo>
                    <a:cubicBezTo>
                      <a:pt x="141894" y="73053"/>
                      <a:pt x="128571" y="80358"/>
                      <a:pt x="128571" y="90984"/>
                    </a:cubicBezTo>
                    <a:cubicBezTo>
                      <a:pt x="128571" y="101610"/>
                      <a:pt x="138563" y="108251"/>
                      <a:pt x="159881" y="112900"/>
                    </a:cubicBezTo>
                    <a:lnTo>
                      <a:pt x="217171" y="124189"/>
                    </a:lnTo>
                    <a:cubicBezTo>
                      <a:pt x="258474" y="132159"/>
                      <a:pt x="278459" y="140128"/>
                      <a:pt x="296446" y="154075"/>
                    </a:cubicBezTo>
                    <a:cubicBezTo>
                      <a:pt x="317097" y="170013"/>
                      <a:pt x="329088" y="196578"/>
                      <a:pt x="329088" y="225135"/>
                    </a:cubicBezTo>
                    <a:cubicBezTo>
                      <a:pt x="329088" y="293539"/>
                      <a:pt x="263803" y="338034"/>
                      <a:pt x="164544" y="338034"/>
                    </a:cubicBezTo>
                    <a:cubicBezTo>
                      <a:pt x="106587" y="338034"/>
                      <a:pt x="58623" y="322096"/>
                      <a:pt x="29978" y="292210"/>
                    </a:cubicBezTo>
                    <a:cubicBezTo>
                      <a:pt x="10659" y="272951"/>
                      <a:pt x="1999" y="252364"/>
                      <a:pt x="0" y="219822"/>
                    </a:cubicBezTo>
                    <a:lnTo>
                      <a:pt x="119244" y="219822"/>
                    </a:lnTo>
                    <a:cubicBezTo>
                      <a:pt x="123241" y="245722"/>
                      <a:pt x="138563" y="258341"/>
                      <a:pt x="167209" y="258341"/>
                    </a:cubicBezTo>
                    <a:cubicBezTo>
                      <a:pt x="189192" y="258341"/>
                      <a:pt x="204514" y="249043"/>
                      <a:pt x="204514" y="235097"/>
                    </a:cubicBezTo>
                    <a:cubicBezTo>
                      <a:pt x="204514" y="224471"/>
                      <a:pt x="195854" y="217830"/>
                      <a:pt x="175203" y="213181"/>
                    </a:cubicBezTo>
                    <a:lnTo>
                      <a:pt x="102590" y="196578"/>
                    </a:lnTo>
                    <a:cubicBezTo>
                      <a:pt x="38638" y="182632"/>
                      <a:pt x="6662" y="151418"/>
                      <a:pt x="6662" y="102938"/>
                    </a:cubicBezTo>
                    <a:cubicBezTo>
                      <a:pt x="6662" y="40511"/>
                      <a:pt x="69282" y="0"/>
                      <a:pt x="165876" y="0"/>
                    </a:cubicBezTo>
                    <a:cubicBezTo>
                      <a:pt x="260472" y="0"/>
                      <a:pt x="313100" y="35862"/>
                      <a:pt x="317763" y="102938"/>
                    </a:cubicBezTo>
                    <a:lnTo>
                      <a:pt x="201849" y="10293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0" name="Freeform 59">
                <a:extLst>
                  <a:ext uri="{FF2B5EF4-FFF2-40B4-BE49-F238E27FC236}">
                    <a16:creationId xmlns:a16="http://schemas.microsoft.com/office/drawing/2014/main" id="{AD0AA743-7F78-ED4E-8516-AE4985C74EBD}"/>
                  </a:ext>
                </a:extLst>
              </p:cNvPr>
              <p:cNvSpPr/>
              <p:nvPr/>
            </p:nvSpPr>
            <p:spPr>
              <a:xfrm>
                <a:off x="10434745" y="8204886"/>
                <a:ext cx="229828" cy="421048"/>
              </a:xfrm>
              <a:custGeom>
                <a:avLst/>
                <a:gdLst>
                  <a:gd name="connsiteX0" fmla="*/ 229829 w 229828"/>
                  <a:gd name="connsiteY0" fmla="*/ 173334 h 421048"/>
                  <a:gd name="connsiteX1" fmla="*/ 171872 w 229828"/>
                  <a:gd name="connsiteY1" fmla="*/ 173334 h 421048"/>
                  <a:gd name="connsiteX2" fmla="*/ 171872 w 229828"/>
                  <a:gd name="connsiteY2" fmla="*/ 292210 h 421048"/>
                  <a:gd name="connsiteX3" fmla="*/ 205180 w 229828"/>
                  <a:gd name="connsiteY3" fmla="*/ 330729 h 421048"/>
                  <a:gd name="connsiteX4" fmla="*/ 229829 w 229828"/>
                  <a:gd name="connsiteY4" fmla="*/ 326744 h 421048"/>
                  <a:gd name="connsiteX5" fmla="*/ 229829 w 229828"/>
                  <a:gd name="connsiteY5" fmla="*/ 411087 h 421048"/>
                  <a:gd name="connsiteX6" fmla="*/ 161213 w 229828"/>
                  <a:gd name="connsiteY6" fmla="*/ 421049 h 421048"/>
                  <a:gd name="connsiteX7" fmla="*/ 74611 w 229828"/>
                  <a:gd name="connsiteY7" fmla="*/ 388507 h 421048"/>
                  <a:gd name="connsiteX8" fmla="*/ 47298 w 229828"/>
                  <a:gd name="connsiteY8" fmla="*/ 296859 h 421048"/>
                  <a:gd name="connsiteX9" fmla="*/ 47298 w 229828"/>
                  <a:gd name="connsiteY9" fmla="*/ 173334 h 421048"/>
                  <a:gd name="connsiteX10" fmla="*/ 0 w 229828"/>
                  <a:gd name="connsiteY10" fmla="*/ 173334 h 421048"/>
                  <a:gd name="connsiteX11" fmla="*/ 0 w 229828"/>
                  <a:gd name="connsiteY11" fmla="*/ 95633 h 421048"/>
                  <a:gd name="connsiteX12" fmla="*/ 47298 w 229828"/>
                  <a:gd name="connsiteY12" fmla="*/ 95633 h 421048"/>
                  <a:gd name="connsiteX13" fmla="*/ 47298 w 229828"/>
                  <a:gd name="connsiteY13" fmla="*/ 0 h 421048"/>
                  <a:gd name="connsiteX14" fmla="*/ 171872 w 229828"/>
                  <a:gd name="connsiteY14" fmla="*/ 0 h 421048"/>
                  <a:gd name="connsiteX15" fmla="*/ 171872 w 229828"/>
                  <a:gd name="connsiteY15" fmla="*/ 95633 h 421048"/>
                  <a:gd name="connsiteX16" fmla="*/ 229829 w 229828"/>
                  <a:gd name="connsiteY16" fmla="*/ 95633 h 421048"/>
                  <a:gd name="connsiteX17" fmla="*/ 229829 w 229828"/>
                  <a:gd name="connsiteY17" fmla="*/ 173334 h 42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28" h="421048">
                    <a:moveTo>
                      <a:pt x="229829" y="173334"/>
                    </a:moveTo>
                    <a:lnTo>
                      <a:pt x="171872" y="173334"/>
                    </a:lnTo>
                    <a:lnTo>
                      <a:pt x="171872" y="292210"/>
                    </a:lnTo>
                    <a:cubicBezTo>
                      <a:pt x="171872" y="319439"/>
                      <a:pt x="181864" y="330729"/>
                      <a:pt x="205180" y="330729"/>
                    </a:cubicBezTo>
                    <a:cubicBezTo>
                      <a:pt x="215173" y="330729"/>
                      <a:pt x="222501" y="329401"/>
                      <a:pt x="229829" y="326744"/>
                    </a:cubicBezTo>
                    <a:lnTo>
                      <a:pt x="229829" y="411087"/>
                    </a:lnTo>
                    <a:cubicBezTo>
                      <a:pt x="203182" y="417728"/>
                      <a:pt x="181864" y="421049"/>
                      <a:pt x="161213" y="421049"/>
                    </a:cubicBezTo>
                    <a:cubicBezTo>
                      <a:pt x="124574" y="421049"/>
                      <a:pt x="95262" y="409759"/>
                      <a:pt x="74611" y="388507"/>
                    </a:cubicBezTo>
                    <a:cubicBezTo>
                      <a:pt x="55292" y="368584"/>
                      <a:pt x="47298" y="340691"/>
                      <a:pt x="47298" y="296859"/>
                    </a:cubicBezTo>
                    <a:lnTo>
                      <a:pt x="47298" y="173334"/>
                    </a:lnTo>
                    <a:lnTo>
                      <a:pt x="0" y="173334"/>
                    </a:lnTo>
                    <a:lnTo>
                      <a:pt x="0" y="95633"/>
                    </a:lnTo>
                    <a:lnTo>
                      <a:pt x="47298" y="95633"/>
                    </a:lnTo>
                    <a:lnTo>
                      <a:pt x="47298" y="0"/>
                    </a:lnTo>
                    <a:lnTo>
                      <a:pt x="171872" y="0"/>
                    </a:lnTo>
                    <a:lnTo>
                      <a:pt x="171872" y="95633"/>
                    </a:lnTo>
                    <a:lnTo>
                      <a:pt x="229829" y="95633"/>
                    </a:lnTo>
                    <a:lnTo>
                      <a:pt x="229829" y="1733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1" name="Freeform 60">
                <a:extLst>
                  <a:ext uri="{FF2B5EF4-FFF2-40B4-BE49-F238E27FC236}">
                    <a16:creationId xmlns:a16="http://schemas.microsoft.com/office/drawing/2014/main" id="{454057F9-E9F1-0F43-AA1F-63AADCBE6763}"/>
                  </a:ext>
                </a:extLst>
              </p:cNvPr>
              <p:cNvSpPr/>
              <p:nvPr/>
            </p:nvSpPr>
            <p:spPr>
              <a:xfrm>
                <a:off x="10691221" y="8291980"/>
                <a:ext cx="360397" cy="338034"/>
              </a:xfrm>
              <a:custGeom>
                <a:avLst/>
                <a:gdLst>
                  <a:gd name="connsiteX0" fmla="*/ 360398 w 360397"/>
                  <a:gd name="connsiteY0" fmla="*/ 171342 h 338034"/>
                  <a:gd name="connsiteX1" fmla="*/ 179866 w 360397"/>
                  <a:gd name="connsiteY1" fmla="*/ 338034 h 338034"/>
                  <a:gd name="connsiteX2" fmla="*/ 0 w 360397"/>
                  <a:gd name="connsiteY2" fmla="*/ 168685 h 338034"/>
                  <a:gd name="connsiteX3" fmla="*/ 179866 w 360397"/>
                  <a:gd name="connsiteY3" fmla="*/ 0 h 338034"/>
                  <a:gd name="connsiteX4" fmla="*/ 360398 w 360397"/>
                  <a:gd name="connsiteY4" fmla="*/ 171342 h 338034"/>
                  <a:gd name="connsiteX5" fmla="*/ 124574 w 360397"/>
                  <a:gd name="connsiteY5" fmla="*/ 168685 h 338034"/>
                  <a:gd name="connsiteX6" fmla="*/ 180532 w 360397"/>
                  <a:gd name="connsiteY6" fmla="*/ 249707 h 338034"/>
                  <a:gd name="connsiteX7" fmla="*/ 235824 w 360397"/>
                  <a:gd name="connsiteY7" fmla="*/ 170013 h 338034"/>
                  <a:gd name="connsiteX8" fmla="*/ 179866 w 360397"/>
                  <a:gd name="connsiteY8" fmla="*/ 88327 h 338034"/>
                  <a:gd name="connsiteX9" fmla="*/ 124574 w 360397"/>
                  <a:gd name="connsiteY9" fmla="*/ 168685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397" h="338034">
                    <a:moveTo>
                      <a:pt x="360398" y="171342"/>
                    </a:moveTo>
                    <a:cubicBezTo>
                      <a:pt x="360398" y="265646"/>
                      <a:pt x="282456" y="338034"/>
                      <a:pt x="179866" y="338034"/>
                    </a:cubicBezTo>
                    <a:cubicBezTo>
                      <a:pt x="77276" y="338034"/>
                      <a:pt x="0" y="265646"/>
                      <a:pt x="0" y="168685"/>
                    </a:cubicBezTo>
                    <a:cubicBezTo>
                      <a:pt x="0" y="72389"/>
                      <a:pt x="77276" y="0"/>
                      <a:pt x="179866" y="0"/>
                    </a:cubicBezTo>
                    <a:cubicBezTo>
                      <a:pt x="284454" y="-95"/>
                      <a:pt x="360398" y="71630"/>
                      <a:pt x="360398" y="171342"/>
                    </a:cubicBezTo>
                    <a:moveTo>
                      <a:pt x="124574" y="168685"/>
                    </a:moveTo>
                    <a:cubicBezTo>
                      <a:pt x="124574" y="221814"/>
                      <a:pt x="143893" y="249707"/>
                      <a:pt x="180532" y="249707"/>
                    </a:cubicBezTo>
                    <a:cubicBezTo>
                      <a:pt x="215839" y="249707"/>
                      <a:pt x="235824" y="221814"/>
                      <a:pt x="235824" y="170013"/>
                    </a:cubicBezTo>
                    <a:cubicBezTo>
                      <a:pt x="235824" y="116220"/>
                      <a:pt x="216505" y="88327"/>
                      <a:pt x="179866" y="88327"/>
                    </a:cubicBezTo>
                    <a:cubicBezTo>
                      <a:pt x="143893" y="88232"/>
                      <a:pt x="124574" y="116220"/>
                      <a:pt x="124574" y="168685"/>
                    </a:cubicBezTo>
                  </a:path>
                </a:pathLst>
              </a:custGeom>
              <a:grpFill/>
              <a:ln w="9500" cap="flat">
                <a:noFill/>
                <a:prstDash val="solid"/>
                <a:miter/>
              </a:ln>
            </p:spPr>
            <p:txBody>
              <a:bodyPr rtlCol="0" anchor="ctr"/>
              <a:lstStyle/>
              <a:p>
                <a:endParaRPr lang="en-US" b="0" i="0">
                  <a:latin typeface="Arial" panose="020B0604020202020204" pitchFamily="34" charset="0"/>
                </a:endParaRPr>
              </a:p>
            </p:txBody>
          </p:sp>
        </p:grpSp>
        <p:grpSp>
          <p:nvGrpSpPr>
            <p:cNvPr id="81" name="Group 80">
              <a:extLst>
                <a:ext uri="{FF2B5EF4-FFF2-40B4-BE49-F238E27FC236}">
                  <a16:creationId xmlns:a16="http://schemas.microsoft.com/office/drawing/2014/main" id="{D319EA17-33F4-5949-A724-D652A86A5E28}"/>
                </a:ext>
              </a:extLst>
            </p:cNvPr>
            <p:cNvGrpSpPr/>
            <p:nvPr userDrawn="1"/>
          </p:nvGrpSpPr>
          <p:grpSpPr>
            <a:xfrm>
              <a:off x="7849341" y="8766158"/>
              <a:ext cx="3477405" cy="1059262"/>
              <a:chOff x="7849341" y="8766158"/>
              <a:chExt cx="3477405" cy="1059262"/>
            </a:xfrm>
            <a:grpFill/>
          </p:grpSpPr>
          <p:sp>
            <p:nvSpPr>
              <p:cNvPr id="62" name="Freeform 61">
                <a:extLst>
                  <a:ext uri="{FF2B5EF4-FFF2-40B4-BE49-F238E27FC236}">
                    <a16:creationId xmlns:a16="http://schemas.microsoft.com/office/drawing/2014/main" id="{153C0641-B319-834F-8526-4970E3F204B5}"/>
                  </a:ext>
                </a:extLst>
              </p:cNvPr>
              <p:cNvSpPr/>
              <p:nvPr/>
            </p:nvSpPr>
            <p:spPr>
              <a:xfrm>
                <a:off x="7849341" y="8776025"/>
                <a:ext cx="401034" cy="442964"/>
              </a:xfrm>
              <a:custGeom>
                <a:avLst/>
                <a:gdLst>
                  <a:gd name="connsiteX0" fmla="*/ 0 w 401034"/>
                  <a:gd name="connsiteY0" fmla="*/ 0 h 442964"/>
                  <a:gd name="connsiteX1" fmla="*/ 229829 w 401034"/>
                  <a:gd name="connsiteY1" fmla="*/ 0 h 442964"/>
                  <a:gd name="connsiteX2" fmla="*/ 345742 w 401034"/>
                  <a:gd name="connsiteY2" fmla="*/ 32542 h 442964"/>
                  <a:gd name="connsiteX3" fmla="*/ 379717 w 401034"/>
                  <a:gd name="connsiteY3" fmla="*/ 115556 h 442964"/>
                  <a:gd name="connsiteX4" fmla="*/ 329754 w 401034"/>
                  <a:gd name="connsiteY4" fmla="*/ 201227 h 442964"/>
                  <a:gd name="connsiteX5" fmla="*/ 401034 w 401034"/>
                  <a:gd name="connsiteY5" fmla="*/ 312134 h 442964"/>
                  <a:gd name="connsiteX6" fmla="*/ 362396 w 401034"/>
                  <a:gd name="connsiteY6" fmla="*/ 409759 h 442964"/>
                  <a:gd name="connsiteX7" fmla="*/ 245817 w 401034"/>
                  <a:gd name="connsiteY7" fmla="*/ 442964 h 442964"/>
                  <a:gd name="connsiteX8" fmla="*/ 0 w 401034"/>
                  <a:gd name="connsiteY8" fmla="*/ 442964 h 442964"/>
                  <a:gd name="connsiteX9" fmla="*/ 0 w 401034"/>
                  <a:gd name="connsiteY9" fmla="*/ 0 h 442964"/>
                  <a:gd name="connsiteX10" fmla="*/ 215839 w 401034"/>
                  <a:gd name="connsiteY10" fmla="*/ 167357 h 442964"/>
                  <a:gd name="connsiteX11" fmla="*/ 255143 w 401034"/>
                  <a:gd name="connsiteY11" fmla="*/ 134151 h 442964"/>
                  <a:gd name="connsiteX12" fmla="*/ 215839 w 401034"/>
                  <a:gd name="connsiteY12" fmla="*/ 101610 h 442964"/>
                  <a:gd name="connsiteX13" fmla="*/ 133234 w 401034"/>
                  <a:gd name="connsiteY13" fmla="*/ 101610 h 442964"/>
                  <a:gd name="connsiteX14" fmla="*/ 133234 w 401034"/>
                  <a:gd name="connsiteY14" fmla="*/ 167357 h 442964"/>
                  <a:gd name="connsiteX15" fmla="*/ 215839 w 401034"/>
                  <a:gd name="connsiteY15" fmla="*/ 167357 h 442964"/>
                  <a:gd name="connsiteX16" fmla="*/ 218504 w 401034"/>
                  <a:gd name="connsiteY16" fmla="*/ 334809 h 442964"/>
                  <a:gd name="connsiteX17" fmla="*/ 272463 w 401034"/>
                  <a:gd name="connsiteY17" fmla="*/ 295626 h 442964"/>
                  <a:gd name="connsiteX18" fmla="*/ 218504 w 401034"/>
                  <a:gd name="connsiteY18" fmla="*/ 257107 h 442964"/>
                  <a:gd name="connsiteX19" fmla="*/ 133234 w 401034"/>
                  <a:gd name="connsiteY19" fmla="*/ 257107 h 442964"/>
                  <a:gd name="connsiteX20" fmla="*/ 133234 w 401034"/>
                  <a:gd name="connsiteY20" fmla="*/ 334809 h 442964"/>
                  <a:gd name="connsiteX21" fmla="*/ 218504 w 401034"/>
                  <a:gd name="connsiteY21" fmla="*/ 334809 h 44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034" h="442964">
                    <a:moveTo>
                      <a:pt x="0" y="0"/>
                    </a:moveTo>
                    <a:lnTo>
                      <a:pt x="229829" y="0"/>
                    </a:lnTo>
                    <a:cubicBezTo>
                      <a:pt x="290450" y="0"/>
                      <a:pt x="319761" y="8634"/>
                      <a:pt x="345742" y="32542"/>
                    </a:cubicBezTo>
                    <a:cubicBezTo>
                      <a:pt x="367726" y="53129"/>
                      <a:pt x="379717" y="82350"/>
                      <a:pt x="379717" y="115556"/>
                    </a:cubicBezTo>
                    <a:cubicBezTo>
                      <a:pt x="379717" y="152746"/>
                      <a:pt x="365061" y="178647"/>
                      <a:pt x="329754" y="201227"/>
                    </a:cubicBezTo>
                    <a:cubicBezTo>
                      <a:pt x="377052" y="222479"/>
                      <a:pt x="401034" y="259669"/>
                      <a:pt x="401034" y="312134"/>
                    </a:cubicBezTo>
                    <a:cubicBezTo>
                      <a:pt x="401034" y="349988"/>
                      <a:pt x="387045" y="386515"/>
                      <a:pt x="362396" y="409759"/>
                    </a:cubicBezTo>
                    <a:cubicBezTo>
                      <a:pt x="337082" y="434995"/>
                      <a:pt x="309103" y="442964"/>
                      <a:pt x="245817" y="442964"/>
                    </a:cubicBezTo>
                    <a:lnTo>
                      <a:pt x="0" y="442964"/>
                    </a:lnTo>
                    <a:lnTo>
                      <a:pt x="0" y="0"/>
                    </a:lnTo>
                    <a:close/>
                    <a:moveTo>
                      <a:pt x="215839" y="167357"/>
                    </a:moveTo>
                    <a:cubicBezTo>
                      <a:pt x="241820" y="167357"/>
                      <a:pt x="255143" y="156067"/>
                      <a:pt x="255143" y="134151"/>
                    </a:cubicBezTo>
                    <a:cubicBezTo>
                      <a:pt x="255143" y="112900"/>
                      <a:pt x="241820" y="101610"/>
                      <a:pt x="215839" y="101610"/>
                    </a:cubicBezTo>
                    <a:lnTo>
                      <a:pt x="133234" y="101610"/>
                    </a:lnTo>
                    <a:lnTo>
                      <a:pt x="133234" y="167357"/>
                    </a:lnTo>
                    <a:lnTo>
                      <a:pt x="215839" y="167357"/>
                    </a:lnTo>
                    <a:close/>
                    <a:moveTo>
                      <a:pt x="218504" y="334809"/>
                    </a:moveTo>
                    <a:cubicBezTo>
                      <a:pt x="254477" y="334809"/>
                      <a:pt x="272463" y="321526"/>
                      <a:pt x="272463" y="295626"/>
                    </a:cubicBezTo>
                    <a:cubicBezTo>
                      <a:pt x="272463" y="270390"/>
                      <a:pt x="254477" y="257107"/>
                      <a:pt x="218504" y="257107"/>
                    </a:cubicBezTo>
                    <a:lnTo>
                      <a:pt x="133234" y="257107"/>
                    </a:lnTo>
                    <a:lnTo>
                      <a:pt x="133234" y="334809"/>
                    </a:lnTo>
                    <a:lnTo>
                      <a:pt x="218504" y="33480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3" name="Freeform 62">
                <a:extLst>
                  <a:ext uri="{FF2B5EF4-FFF2-40B4-BE49-F238E27FC236}">
                    <a16:creationId xmlns:a16="http://schemas.microsoft.com/office/drawing/2014/main" id="{5236720D-D5B4-7A41-B54B-38B358750E61}"/>
                  </a:ext>
                </a:extLst>
              </p:cNvPr>
              <p:cNvSpPr/>
              <p:nvPr/>
            </p:nvSpPr>
            <p:spPr>
              <a:xfrm>
                <a:off x="8296341" y="8898317"/>
                <a:ext cx="334512" cy="329400"/>
              </a:xfrm>
              <a:custGeom>
                <a:avLst/>
                <a:gdLst>
                  <a:gd name="connsiteX0" fmla="*/ 334512 w 334512"/>
                  <a:gd name="connsiteY0" fmla="*/ 320768 h 329400"/>
                  <a:gd name="connsiteX1" fmla="*/ 216505 w 334512"/>
                  <a:gd name="connsiteY1" fmla="*/ 320768 h 329400"/>
                  <a:gd name="connsiteX2" fmla="*/ 216505 w 334512"/>
                  <a:gd name="connsiteY2" fmla="*/ 279592 h 329400"/>
                  <a:gd name="connsiteX3" fmla="*/ 117912 w 334512"/>
                  <a:gd name="connsiteY3" fmla="*/ 329401 h 329400"/>
                  <a:gd name="connsiteX4" fmla="*/ 27979 w 334512"/>
                  <a:gd name="connsiteY4" fmla="*/ 288226 h 329400"/>
                  <a:gd name="connsiteX5" fmla="*/ 0 w 334512"/>
                  <a:gd name="connsiteY5" fmla="*/ 188609 h 329400"/>
                  <a:gd name="connsiteX6" fmla="*/ 0 w 334512"/>
                  <a:gd name="connsiteY6" fmla="*/ 0 h 329400"/>
                  <a:gd name="connsiteX7" fmla="*/ 124574 w 334512"/>
                  <a:gd name="connsiteY7" fmla="*/ 0 h 329400"/>
                  <a:gd name="connsiteX8" fmla="*/ 124574 w 334512"/>
                  <a:gd name="connsiteY8" fmla="*/ 168685 h 329400"/>
                  <a:gd name="connsiteX9" fmla="*/ 166542 w 334512"/>
                  <a:gd name="connsiteY9" fmla="*/ 224471 h 329400"/>
                  <a:gd name="connsiteX10" fmla="*/ 209843 w 334512"/>
                  <a:gd name="connsiteY10" fmla="*/ 174662 h 329400"/>
                  <a:gd name="connsiteX11" fmla="*/ 209843 w 334512"/>
                  <a:gd name="connsiteY11" fmla="*/ 0 h 329400"/>
                  <a:gd name="connsiteX12" fmla="*/ 334417 w 334512"/>
                  <a:gd name="connsiteY12" fmla="*/ 0 h 329400"/>
                  <a:gd name="connsiteX13" fmla="*/ 334417 w 334512"/>
                  <a:gd name="connsiteY13" fmla="*/ 320768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12" h="329400">
                    <a:moveTo>
                      <a:pt x="334512" y="320768"/>
                    </a:moveTo>
                    <a:lnTo>
                      <a:pt x="216505" y="320768"/>
                    </a:lnTo>
                    <a:lnTo>
                      <a:pt x="216505" y="279592"/>
                    </a:lnTo>
                    <a:cubicBezTo>
                      <a:pt x="188526" y="314790"/>
                      <a:pt x="159215" y="329401"/>
                      <a:pt x="117912" y="329401"/>
                    </a:cubicBezTo>
                    <a:cubicBezTo>
                      <a:pt x="81273" y="329401"/>
                      <a:pt x="49297" y="314790"/>
                      <a:pt x="27979" y="288226"/>
                    </a:cubicBezTo>
                    <a:cubicBezTo>
                      <a:pt x="7994" y="263654"/>
                      <a:pt x="0" y="235097"/>
                      <a:pt x="0" y="188609"/>
                    </a:cubicBezTo>
                    <a:lnTo>
                      <a:pt x="0" y="0"/>
                    </a:lnTo>
                    <a:lnTo>
                      <a:pt x="124574" y="0"/>
                    </a:lnTo>
                    <a:lnTo>
                      <a:pt x="124574" y="168685"/>
                    </a:lnTo>
                    <a:cubicBezTo>
                      <a:pt x="124574" y="205211"/>
                      <a:pt x="139229" y="224471"/>
                      <a:pt x="166542" y="224471"/>
                    </a:cubicBezTo>
                    <a:cubicBezTo>
                      <a:pt x="193189" y="224471"/>
                      <a:pt x="209843" y="205211"/>
                      <a:pt x="209843" y="174662"/>
                    </a:cubicBezTo>
                    <a:lnTo>
                      <a:pt x="209843" y="0"/>
                    </a:lnTo>
                    <a:lnTo>
                      <a:pt x="334417" y="0"/>
                    </a:lnTo>
                    <a:lnTo>
                      <a:pt x="334417" y="32076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4" name="Freeform 63">
                <a:extLst>
                  <a:ext uri="{FF2B5EF4-FFF2-40B4-BE49-F238E27FC236}">
                    <a16:creationId xmlns:a16="http://schemas.microsoft.com/office/drawing/2014/main" id="{BBF86B25-57FC-1A4D-AD3B-845C5BCB4E4B}"/>
                  </a:ext>
                </a:extLst>
              </p:cNvPr>
              <p:cNvSpPr/>
              <p:nvPr/>
            </p:nvSpPr>
            <p:spPr>
              <a:xfrm>
                <a:off x="8676724" y="8776025"/>
                <a:ext cx="124573" cy="443059"/>
              </a:xfrm>
              <a:custGeom>
                <a:avLst/>
                <a:gdLst>
                  <a:gd name="connsiteX0" fmla="*/ 124574 w 124573"/>
                  <a:gd name="connsiteY0" fmla="*/ 88327 h 443059"/>
                  <a:gd name="connsiteX1" fmla="*/ 0 w 124573"/>
                  <a:gd name="connsiteY1" fmla="*/ 88327 h 443059"/>
                  <a:gd name="connsiteX2" fmla="*/ 0 w 124573"/>
                  <a:gd name="connsiteY2" fmla="*/ 0 h 443059"/>
                  <a:gd name="connsiteX3" fmla="*/ 124574 w 124573"/>
                  <a:gd name="connsiteY3" fmla="*/ 0 h 443059"/>
                  <a:gd name="connsiteX4" fmla="*/ 124574 w 124573"/>
                  <a:gd name="connsiteY4" fmla="*/ 88327 h 443059"/>
                  <a:gd name="connsiteX5" fmla="*/ 124574 w 124573"/>
                  <a:gd name="connsiteY5" fmla="*/ 443059 h 443059"/>
                  <a:gd name="connsiteX6" fmla="*/ 0 w 124573"/>
                  <a:gd name="connsiteY6" fmla="*/ 443059 h 443059"/>
                  <a:gd name="connsiteX7" fmla="*/ 0 w 124573"/>
                  <a:gd name="connsiteY7" fmla="*/ 122292 h 443059"/>
                  <a:gd name="connsiteX8" fmla="*/ 124574 w 124573"/>
                  <a:gd name="connsiteY8" fmla="*/ 122292 h 443059"/>
                  <a:gd name="connsiteX9" fmla="*/ 124574 w 124573"/>
                  <a:gd name="connsiteY9" fmla="*/ 443059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573" h="443059">
                    <a:moveTo>
                      <a:pt x="124574" y="88327"/>
                    </a:moveTo>
                    <a:lnTo>
                      <a:pt x="0" y="88327"/>
                    </a:lnTo>
                    <a:lnTo>
                      <a:pt x="0" y="0"/>
                    </a:lnTo>
                    <a:lnTo>
                      <a:pt x="124574" y="0"/>
                    </a:lnTo>
                    <a:lnTo>
                      <a:pt x="124574" y="88327"/>
                    </a:lnTo>
                    <a:close/>
                    <a:moveTo>
                      <a:pt x="124574" y="443059"/>
                    </a:moveTo>
                    <a:lnTo>
                      <a:pt x="0" y="443059"/>
                    </a:lnTo>
                    <a:lnTo>
                      <a:pt x="0" y="122292"/>
                    </a:lnTo>
                    <a:lnTo>
                      <a:pt x="124574" y="122292"/>
                    </a:lnTo>
                    <a:lnTo>
                      <a:pt x="124574" y="4430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5" name="Freeform 64">
                <a:extLst>
                  <a:ext uri="{FF2B5EF4-FFF2-40B4-BE49-F238E27FC236}">
                    <a16:creationId xmlns:a16="http://schemas.microsoft.com/office/drawing/2014/main" id="{6E3A2C7D-6CDF-F941-9862-CD43AF5D7C87}"/>
                  </a:ext>
                </a:extLst>
              </p:cNvPr>
              <p:cNvSpPr/>
              <p:nvPr/>
            </p:nvSpPr>
            <p:spPr>
              <a:xfrm>
                <a:off x="8847263" y="8776025"/>
                <a:ext cx="124573" cy="442964"/>
              </a:xfrm>
              <a:custGeom>
                <a:avLst/>
                <a:gdLst>
                  <a:gd name="connsiteX0" fmla="*/ 0 w 124573"/>
                  <a:gd name="connsiteY0" fmla="*/ 0 h 442964"/>
                  <a:gd name="connsiteX1" fmla="*/ 124574 w 124573"/>
                  <a:gd name="connsiteY1" fmla="*/ 0 h 442964"/>
                  <a:gd name="connsiteX2" fmla="*/ 124574 w 124573"/>
                  <a:gd name="connsiteY2" fmla="*/ 442964 h 442964"/>
                  <a:gd name="connsiteX3" fmla="*/ 0 w 124573"/>
                  <a:gd name="connsiteY3" fmla="*/ 442964 h 442964"/>
                </a:gdLst>
                <a:ahLst/>
                <a:cxnLst>
                  <a:cxn ang="0">
                    <a:pos x="connsiteX0" y="connsiteY0"/>
                  </a:cxn>
                  <a:cxn ang="0">
                    <a:pos x="connsiteX1" y="connsiteY1"/>
                  </a:cxn>
                  <a:cxn ang="0">
                    <a:pos x="connsiteX2" y="connsiteY2"/>
                  </a:cxn>
                  <a:cxn ang="0">
                    <a:pos x="connsiteX3" y="connsiteY3"/>
                  </a:cxn>
                </a:cxnLst>
                <a:rect l="l" t="t" r="r" b="b"/>
                <a:pathLst>
                  <a:path w="124573" h="442964">
                    <a:moveTo>
                      <a:pt x="0" y="0"/>
                    </a:moveTo>
                    <a:lnTo>
                      <a:pt x="124574" y="0"/>
                    </a:lnTo>
                    <a:lnTo>
                      <a:pt x="124574" y="442964"/>
                    </a:lnTo>
                    <a:lnTo>
                      <a:pt x="0" y="44296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6" name="Freeform 65">
                <a:extLst>
                  <a:ext uri="{FF2B5EF4-FFF2-40B4-BE49-F238E27FC236}">
                    <a16:creationId xmlns:a16="http://schemas.microsoft.com/office/drawing/2014/main" id="{7AC56205-DEDF-6B43-9CDC-8D3FD75238A5}"/>
                  </a:ext>
                </a:extLst>
              </p:cNvPr>
              <p:cNvSpPr/>
              <p:nvPr/>
            </p:nvSpPr>
            <p:spPr>
              <a:xfrm>
                <a:off x="9015138" y="8776120"/>
                <a:ext cx="354402" cy="451597"/>
              </a:xfrm>
              <a:custGeom>
                <a:avLst/>
                <a:gdLst>
                  <a:gd name="connsiteX0" fmla="*/ 354402 w 354402"/>
                  <a:gd name="connsiteY0" fmla="*/ 442964 h 451597"/>
                  <a:gd name="connsiteX1" fmla="*/ 237156 w 354402"/>
                  <a:gd name="connsiteY1" fmla="*/ 442964 h 451597"/>
                  <a:gd name="connsiteX2" fmla="*/ 237156 w 354402"/>
                  <a:gd name="connsiteY2" fmla="*/ 413743 h 451597"/>
                  <a:gd name="connsiteX3" fmla="*/ 149888 w 354402"/>
                  <a:gd name="connsiteY3" fmla="*/ 451598 h 451597"/>
                  <a:gd name="connsiteX4" fmla="*/ 0 w 354402"/>
                  <a:gd name="connsiteY4" fmla="*/ 278928 h 451597"/>
                  <a:gd name="connsiteX5" fmla="*/ 139896 w 354402"/>
                  <a:gd name="connsiteY5" fmla="*/ 113564 h 451597"/>
                  <a:gd name="connsiteX6" fmla="*/ 229829 w 354402"/>
                  <a:gd name="connsiteY6" fmla="*/ 149426 h 451597"/>
                  <a:gd name="connsiteX7" fmla="*/ 229829 w 354402"/>
                  <a:gd name="connsiteY7" fmla="*/ 0 h 451597"/>
                  <a:gd name="connsiteX8" fmla="*/ 354402 w 354402"/>
                  <a:gd name="connsiteY8" fmla="*/ 0 h 451597"/>
                  <a:gd name="connsiteX9" fmla="*/ 354402 w 354402"/>
                  <a:gd name="connsiteY9" fmla="*/ 442964 h 451597"/>
                  <a:gd name="connsiteX10" fmla="*/ 124574 w 354402"/>
                  <a:gd name="connsiteY10" fmla="*/ 282249 h 451597"/>
                  <a:gd name="connsiteX11" fmla="*/ 179200 w 354402"/>
                  <a:gd name="connsiteY11" fmla="*/ 356630 h 451597"/>
                  <a:gd name="connsiteX12" fmla="*/ 234492 w 354402"/>
                  <a:gd name="connsiteY12" fmla="*/ 283577 h 451597"/>
                  <a:gd name="connsiteX13" fmla="*/ 179200 w 354402"/>
                  <a:gd name="connsiteY13" fmla="*/ 208532 h 451597"/>
                  <a:gd name="connsiteX14" fmla="*/ 124574 w 354402"/>
                  <a:gd name="connsiteY14" fmla="*/ 282249 h 45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402" h="451597">
                    <a:moveTo>
                      <a:pt x="354402" y="442964"/>
                    </a:moveTo>
                    <a:lnTo>
                      <a:pt x="237156" y="442964"/>
                    </a:lnTo>
                    <a:lnTo>
                      <a:pt x="237156" y="413743"/>
                    </a:lnTo>
                    <a:cubicBezTo>
                      <a:pt x="205846" y="443629"/>
                      <a:pt x="187194" y="451598"/>
                      <a:pt x="149888" y="451598"/>
                    </a:cubicBezTo>
                    <a:cubicBezTo>
                      <a:pt x="59289" y="451598"/>
                      <a:pt x="0" y="383194"/>
                      <a:pt x="0" y="278928"/>
                    </a:cubicBezTo>
                    <a:cubicBezTo>
                      <a:pt x="0" y="179975"/>
                      <a:pt x="55958" y="113564"/>
                      <a:pt x="139896" y="113564"/>
                    </a:cubicBezTo>
                    <a:cubicBezTo>
                      <a:pt x="175203" y="113564"/>
                      <a:pt x="199851" y="123525"/>
                      <a:pt x="229829" y="149426"/>
                    </a:cubicBezTo>
                    <a:lnTo>
                      <a:pt x="229829" y="0"/>
                    </a:lnTo>
                    <a:lnTo>
                      <a:pt x="354402" y="0"/>
                    </a:lnTo>
                    <a:lnTo>
                      <a:pt x="354402" y="442964"/>
                    </a:lnTo>
                    <a:close/>
                    <a:moveTo>
                      <a:pt x="124574" y="282249"/>
                    </a:moveTo>
                    <a:cubicBezTo>
                      <a:pt x="124574" y="328737"/>
                      <a:pt x="145225" y="356630"/>
                      <a:pt x="179200" y="356630"/>
                    </a:cubicBezTo>
                    <a:cubicBezTo>
                      <a:pt x="213174" y="356630"/>
                      <a:pt x="234492" y="328073"/>
                      <a:pt x="234492" y="283577"/>
                    </a:cubicBezTo>
                    <a:cubicBezTo>
                      <a:pt x="234492" y="236425"/>
                      <a:pt x="213840" y="208532"/>
                      <a:pt x="179200" y="208532"/>
                    </a:cubicBezTo>
                    <a:cubicBezTo>
                      <a:pt x="145225" y="208532"/>
                      <a:pt x="124574" y="236425"/>
                      <a:pt x="124574" y="282249"/>
                    </a:cubicBezTo>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7" name="Freeform 66">
                <a:extLst>
                  <a:ext uri="{FF2B5EF4-FFF2-40B4-BE49-F238E27FC236}">
                    <a16:creationId xmlns:a16="http://schemas.microsoft.com/office/drawing/2014/main" id="{0A4BC0F2-C6E5-6B47-85B1-12B05D5CD622}"/>
                  </a:ext>
                </a:extLst>
              </p:cNvPr>
              <p:cNvSpPr/>
              <p:nvPr/>
            </p:nvSpPr>
            <p:spPr>
              <a:xfrm>
                <a:off x="9578051" y="8766158"/>
                <a:ext cx="438339" cy="462887"/>
              </a:xfrm>
              <a:custGeom>
                <a:avLst/>
                <a:gdLst>
                  <a:gd name="connsiteX0" fmla="*/ 438340 w 438339"/>
                  <a:gd name="connsiteY0" fmla="*/ 209196 h 462887"/>
                  <a:gd name="connsiteX1" fmla="*/ 438340 w 438339"/>
                  <a:gd name="connsiteY1" fmla="*/ 452926 h 462887"/>
                  <a:gd name="connsiteX2" fmla="*/ 350405 w 438339"/>
                  <a:gd name="connsiteY2" fmla="*/ 452926 h 462887"/>
                  <a:gd name="connsiteX3" fmla="*/ 341745 w 438339"/>
                  <a:gd name="connsiteY3" fmla="*/ 415072 h 462887"/>
                  <a:gd name="connsiteX4" fmla="*/ 210510 w 438339"/>
                  <a:gd name="connsiteY4" fmla="*/ 462888 h 462887"/>
                  <a:gd name="connsiteX5" fmla="*/ 0 w 438339"/>
                  <a:gd name="connsiteY5" fmla="*/ 231776 h 462887"/>
                  <a:gd name="connsiteX6" fmla="*/ 223167 w 438339"/>
                  <a:gd name="connsiteY6" fmla="*/ 0 h 462887"/>
                  <a:gd name="connsiteX7" fmla="*/ 429679 w 438339"/>
                  <a:gd name="connsiteY7" fmla="*/ 163372 h 462887"/>
                  <a:gd name="connsiteX8" fmla="*/ 297778 w 438339"/>
                  <a:gd name="connsiteY8" fmla="*/ 166029 h 462887"/>
                  <a:gd name="connsiteX9" fmla="*/ 224499 w 438339"/>
                  <a:gd name="connsiteY9" fmla="*/ 110907 h 462887"/>
                  <a:gd name="connsiteX10" fmla="*/ 137897 w 438339"/>
                  <a:gd name="connsiteY10" fmla="*/ 228455 h 462887"/>
                  <a:gd name="connsiteX11" fmla="*/ 233826 w 438339"/>
                  <a:gd name="connsiteY11" fmla="*/ 356630 h 462887"/>
                  <a:gd name="connsiteX12" fmla="*/ 310435 w 438339"/>
                  <a:gd name="connsiteY12" fmla="*/ 306821 h 462887"/>
                  <a:gd name="connsiteX13" fmla="*/ 252478 w 438339"/>
                  <a:gd name="connsiteY13" fmla="*/ 306821 h 462887"/>
                  <a:gd name="connsiteX14" fmla="*/ 252478 w 438339"/>
                  <a:gd name="connsiteY14" fmla="*/ 209196 h 462887"/>
                  <a:gd name="connsiteX15" fmla="*/ 438340 w 438339"/>
                  <a:gd name="connsiteY15" fmla="*/ 209196 h 46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339" h="462887">
                    <a:moveTo>
                      <a:pt x="438340" y="209196"/>
                    </a:moveTo>
                    <a:lnTo>
                      <a:pt x="438340" y="452926"/>
                    </a:lnTo>
                    <a:lnTo>
                      <a:pt x="350405" y="452926"/>
                    </a:lnTo>
                    <a:lnTo>
                      <a:pt x="341745" y="415072"/>
                    </a:lnTo>
                    <a:cubicBezTo>
                      <a:pt x="305106" y="447613"/>
                      <a:pt x="262471" y="462888"/>
                      <a:pt x="210510" y="462888"/>
                    </a:cubicBezTo>
                    <a:cubicBezTo>
                      <a:pt x="88601" y="462888"/>
                      <a:pt x="0" y="365263"/>
                      <a:pt x="0" y="231776"/>
                    </a:cubicBezTo>
                    <a:cubicBezTo>
                      <a:pt x="0" y="94304"/>
                      <a:pt x="90599" y="0"/>
                      <a:pt x="223167" y="0"/>
                    </a:cubicBezTo>
                    <a:cubicBezTo>
                      <a:pt x="332419" y="0"/>
                      <a:pt x="412359" y="63755"/>
                      <a:pt x="429679" y="163372"/>
                    </a:cubicBezTo>
                    <a:lnTo>
                      <a:pt x="297778" y="166029"/>
                    </a:lnTo>
                    <a:cubicBezTo>
                      <a:pt x="288451" y="130831"/>
                      <a:pt x="261805" y="110907"/>
                      <a:pt x="224499" y="110907"/>
                    </a:cubicBezTo>
                    <a:cubicBezTo>
                      <a:pt x="169207" y="110907"/>
                      <a:pt x="137897" y="153410"/>
                      <a:pt x="137897" y="228455"/>
                    </a:cubicBezTo>
                    <a:cubicBezTo>
                      <a:pt x="137897" y="311470"/>
                      <a:pt x="171872" y="356630"/>
                      <a:pt x="233826" y="356630"/>
                    </a:cubicBezTo>
                    <a:cubicBezTo>
                      <a:pt x="271131" y="356630"/>
                      <a:pt x="299110" y="338698"/>
                      <a:pt x="310435" y="306821"/>
                    </a:cubicBezTo>
                    <a:lnTo>
                      <a:pt x="252478" y="306821"/>
                    </a:lnTo>
                    <a:lnTo>
                      <a:pt x="252478" y="209196"/>
                    </a:lnTo>
                    <a:lnTo>
                      <a:pt x="438340" y="209196"/>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8" name="Freeform 67">
                <a:extLst>
                  <a:ext uri="{FF2B5EF4-FFF2-40B4-BE49-F238E27FC236}">
                    <a16:creationId xmlns:a16="http://schemas.microsoft.com/office/drawing/2014/main" id="{98E0E92D-A257-EA4C-A2D1-60F8B5C15470}"/>
                  </a:ext>
                </a:extLst>
              </p:cNvPr>
              <p:cNvSpPr/>
              <p:nvPr/>
            </p:nvSpPr>
            <p:spPr>
              <a:xfrm>
                <a:off x="10063023" y="8889588"/>
                <a:ext cx="251812" cy="329400"/>
              </a:xfrm>
              <a:custGeom>
                <a:avLst/>
                <a:gdLst>
                  <a:gd name="connsiteX0" fmla="*/ 117912 w 251812"/>
                  <a:gd name="connsiteY0" fmla="*/ 8634 h 329400"/>
                  <a:gd name="connsiteX1" fmla="*/ 117912 w 251812"/>
                  <a:gd name="connsiteY1" fmla="*/ 53129 h 329400"/>
                  <a:gd name="connsiteX2" fmla="*/ 213174 w 251812"/>
                  <a:gd name="connsiteY2" fmla="*/ 0 h 329400"/>
                  <a:gd name="connsiteX3" fmla="*/ 251812 w 251812"/>
                  <a:gd name="connsiteY3" fmla="*/ 6641 h 329400"/>
                  <a:gd name="connsiteX4" fmla="*/ 251812 w 251812"/>
                  <a:gd name="connsiteY4" fmla="*/ 117548 h 329400"/>
                  <a:gd name="connsiteX5" fmla="*/ 201850 w 251812"/>
                  <a:gd name="connsiteY5" fmla="*/ 106258 h 329400"/>
                  <a:gd name="connsiteX6" fmla="*/ 124574 w 251812"/>
                  <a:gd name="connsiteY6" fmla="*/ 183296 h 329400"/>
                  <a:gd name="connsiteX7" fmla="*/ 124574 w 251812"/>
                  <a:gd name="connsiteY7" fmla="*/ 329401 h 329400"/>
                  <a:gd name="connsiteX8" fmla="*/ 0 w 251812"/>
                  <a:gd name="connsiteY8" fmla="*/ 329401 h 329400"/>
                  <a:gd name="connsiteX9" fmla="*/ 0 w 251812"/>
                  <a:gd name="connsiteY9" fmla="*/ 8634 h 329400"/>
                  <a:gd name="connsiteX10" fmla="*/ 117912 w 251812"/>
                  <a:gd name="connsiteY10" fmla="*/ 8634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812" h="329400">
                    <a:moveTo>
                      <a:pt x="117912" y="8634"/>
                    </a:moveTo>
                    <a:lnTo>
                      <a:pt x="117912" y="53129"/>
                    </a:lnTo>
                    <a:cubicBezTo>
                      <a:pt x="146557" y="16603"/>
                      <a:pt x="175869" y="0"/>
                      <a:pt x="213174" y="0"/>
                    </a:cubicBezTo>
                    <a:cubicBezTo>
                      <a:pt x="225832" y="0"/>
                      <a:pt x="234492" y="1328"/>
                      <a:pt x="251812" y="6641"/>
                    </a:cubicBezTo>
                    <a:lnTo>
                      <a:pt x="251812" y="117548"/>
                    </a:lnTo>
                    <a:cubicBezTo>
                      <a:pt x="227164" y="108251"/>
                      <a:pt x="217838" y="106258"/>
                      <a:pt x="201850" y="106258"/>
                    </a:cubicBezTo>
                    <a:cubicBezTo>
                      <a:pt x="154552" y="106258"/>
                      <a:pt x="124574" y="136144"/>
                      <a:pt x="124574" y="183296"/>
                    </a:cubicBezTo>
                    <a:lnTo>
                      <a:pt x="124574" y="329401"/>
                    </a:lnTo>
                    <a:lnTo>
                      <a:pt x="0" y="329401"/>
                    </a:lnTo>
                    <a:lnTo>
                      <a:pt x="0" y="8634"/>
                    </a:lnTo>
                    <a:lnTo>
                      <a:pt x="117912" y="86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69" name="Freeform 68">
                <a:extLst>
                  <a:ext uri="{FF2B5EF4-FFF2-40B4-BE49-F238E27FC236}">
                    <a16:creationId xmlns:a16="http://schemas.microsoft.com/office/drawing/2014/main" id="{E9707726-16A3-B24D-8F81-E9F8DA715D33}"/>
                  </a:ext>
                </a:extLst>
              </p:cNvPr>
              <p:cNvSpPr/>
              <p:nvPr/>
            </p:nvSpPr>
            <p:spPr>
              <a:xfrm>
                <a:off x="10336819" y="8889683"/>
                <a:ext cx="359731" cy="338034"/>
              </a:xfrm>
              <a:custGeom>
                <a:avLst/>
                <a:gdLst>
                  <a:gd name="connsiteX0" fmla="*/ 123241 w 359731"/>
                  <a:gd name="connsiteY0" fmla="*/ 198570 h 338034"/>
                  <a:gd name="connsiteX1" fmla="*/ 187860 w 359731"/>
                  <a:gd name="connsiteY1" fmla="*/ 251699 h 338034"/>
                  <a:gd name="connsiteX2" fmla="*/ 233159 w 359731"/>
                  <a:gd name="connsiteY2" fmla="*/ 230448 h 338034"/>
                  <a:gd name="connsiteX3" fmla="*/ 354402 w 359731"/>
                  <a:gd name="connsiteY3" fmla="*/ 230448 h 338034"/>
                  <a:gd name="connsiteX4" fmla="*/ 183863 w 359731"/>
                  <a:gd name="connsiteY4" fmla="*/ 338034 h 338034"/>
                  <a:gd name="connsiteX5" fmla="*/ 0 w 359731"/>
                  <a:gd name="connsiteY5" fmla="*/ 168021 h 338034"/>
                  <a:gd name="connsiteX6" fmla="*/ 180532 w 359731"/>
                  <a:gd name="connsiteY6" fmla="*/ 0 h 338034"/>
                  <a:gd name="connsiteX7" fmla="*/ 342411 w 359731"/>
                  <a:gd name="connsiteY7" fmla="*/ 96297 h 338034"/>
                  <a:gd name="connsiteX8" fmla="*/ 359732 w 359731"/>
                  <a:gd name="connsiteY8" fmla="*/ 198570 h 338034"/>
                  <a:gd name="connsiteX9" fmla="*/ 123241 w 359731"/>
                  <a:gd name="connsiteY9" fmla="*/ 198570 h 338034"/>
                  <a:gd name="connsiteX10" fmla="*/ 235158 w 359731"/>
                  <a:gd name="connsiteY10" fmla="*/ 132159 h 338034"/>
                  <a:gd name="connsiteX11" fmla="*/ 179200 w 359731"/>
                  <a:gd name="connsiteY11" fmla="*/ 81686 h 338034"/>
                  <a:gd name="connsiteX12" fmla="*/ 123907 w 359731"/>
                  <a:gd name="connsiteY12" fmla="*/ 132159 h 338034"/>
                  <a:gd name="connsiteX13" fmla="*/ 235158 w 359731"/>
                  <a:gd name="connsiteY13" fmla="*/ 132159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731" h="338034">
                    <a:moveTo>
                      <a:pt x="123241" y="198570"/>
                    </a:moveTo>
                    <a:cubicBezTo>
                      <a:pt x="127905" y="231112"/>
                      <a:pt x="152553" y="251699"/>
                      <a:pt x="187860" y="251699"/>
                    </a:cubicBezTo>
                    <a:cubicBezTo>
                      <a:pt x="209177" y="251699"/>
                      <a:pt x="223833" y="245058"/>
                      <a:pt x="233159" y="230448"/>
                    </a:cubicBezTo>
                    <a:lnTo>
                      <a:pt x="354402" y="230448"/>
                    </a:lnTo>
                    <a:cubicBezTo>
                      <a:pt x="339746" y="292875"/>
                      <a:pt x="267800" y="338034"/>
                      <a:pt x="183863" y="338034"/>
                    </a:cubicBezTo>
                    <a:cubicBezTo>
                      <a:pt x="75277" y="338034"/>
                      <a:pt x="0" y="268302"/>
                      <a:pt x="0" y="168021"/>
                    </a:cubicBezTo>
                    <a:cubicBezTo>
                      <a:pt x="0" y="71060"/>
                      <a:pt x="75943" y="0"/>
                      <a:pt x="180532" y="0"/>
                    </a:cubicBezTo>
                    <a:cubicBezTo>
                      <a:pt x="253811" y="0"/>
                      <a:pt x="313766" y="35198"/>
                      <a:pt x="342411" y="96297"/>
                    </a:cubicBezTo>
                    <a:cubicBezTo>
                      <a:pt x="354402" y="122861"/>
                      <a:pt x="359732" y="151418"/>
                      <a:pt x="359732" y="198570"/>
                    </a:cubicBezTo>
                    <a:lnTo>
                      <a:pt x="123241" y="198570"/>
                    </a:lnTo>
                    <a:close/>
                    <a:moveTo>
                      <a:pt x="235158" y="132159"/>
                    </a:moveTo>
                    <a:cubicBezTo>
                      <a:pt x="231827" y="100945"/>
                      <a:pt x="210510" y="81686"/>
                      <a:pt x="179200" y="81686"/>
                    </a:cubicBezTo>
                    <a:cubicBezTo>
                      <a:pt x="148556" y="81686"/>
                      <a:pt x="127238" y="100945"/>
                      <a:pt x="123907" y="132159"/>
                    </a:cubicBezTo>
                    <a:lnTo>
                      <a:pt x="235158" y="1321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0" name="Freeform 69">
                <a:extLst>
                  <a:ext uri="{FF2B5EF4-FFF2-40B4-BE49-F238E27FC236}">
                    <a16:creationId xmlns:a16="http://schemas.microsoft.com/office/drawing/2014/main" id="{929178C8-30F9-CD4B-8059-5DD62F1A7047}"/>
                  </a:ext>
                </a:extLst>
              </p:cNvPr>
              <p:cNvSpPr/>
              <p:nvPr/>
            </p:nvSpPr>
            <p:spPr>
              <a:xfrm>
                <a:off x="10727194" y="8889683"/>
                <a:ext cx="350405" cy="338034"/>
              </a:xfrm>
              <a:custGeom>
                <a:avLst/>
                <a:gdLst>
                  <a:gd name="connsiteX0" fmla="*/ 14656 w 350405"/>
                  <a:gd name="connsiteY0" fmla="*/ 124189 h 338034"/>
                  <a:gd name="connsiteX1" fmla="*/ 47298 w 350405"/>
                  <a:gd name="connsiteY1" fmla="*/ 42503 h 338034"/>
                  <a:gd name="connsiteX2" fmla="*/ 179200 w 350405"/>
                  <a:gd name="connsiteY2" fmla="*/ 0 h 338034"/>
                  <a:gd name="connsiteX3" fmla="*/ 299110 w 350405"/>
                  <a:gd name="connsiteY3" fmla="*/ 32542 h 338034"/>
                  <a:gd name="connsiteX4" fmla="*/ 340413 w 350405"/>
                  <a:gd name="connsiteY4" fmla="*/ 130831 h 338034"/>
                  <a:gd name="connsiteX5" fmla="*/ 340413 w 350405"/>
                  <a:gd name="connsiteY5" fmla="*/ 281585 h 338034"/>
                  <a:gd name="connsiteX6" fmla="*/ 350405 w 350405"/>
                  <a:gd name="connsiteY6" fmla="*/ 329401 h 338034"/>
                  <a:gd name="connsiteX7" fmla="*/ 229829 w 350405"/>
                  <a:gd name="connsiteY7" fmla="*/ 329401 h 338034"/>
                  <a:gd name="connsiteX8" fmla="*/ 219170 w 350405"/>
                  <a:gd name="connsiteY8" fmla="*/ 296859 h 338034"/>
                  <a:gd name="connsiteX9" fmla="*/ 111917 w 350405"/>
                  <a:gd name="connsiteY9" fmla="*/ 338034 h 338034"/>
                  <a:gd name="connsiteX10" fmla="*/ 0 w 350405"/>
                  <a:gd name="connsiteY10" fmla="*/ 244394 h 338034"/>
                  <a:gd name="connsiteX11" fmla="*/ 89933 w 350405"/>
                  <a:gd name="connsiteY11" fmla="*/ 148762 h 338034"/>
                  <a:gd name="connsiteX12" fmla="*/ 183197 w 350405"/>
                  <a:gd name="connsiteY12" fmla="*/ 130831 h 338034"/>
                  <a:gd name="connsiteX13" fmla="*/ 218504 w 350405"/>
                  <a:gd name="connsiteY13" fmla="*/ 106922 h 338034"/>
                  <a:gd name="connsiteX14" fmla="*/ 176535 w 350405"/>
                  <a:gd name="connsiteY14" fmla="*/ 79694 h 338034"/>
                  <a:gd name="connsiteX15" fmla="*/ 128571 w 350405"/>
                  <a:gd name="connsiteY15" fmla="*/ 119541 h 338034"/>
                  <a:gd name="connsiteX16" fmla="*/ 128571 w 350405"/>
                  <a:gd name="connsiteY16" fmla="*/ 124189 h 338034"/>
                  <a:gd name="connsiteX17" fmla="*/ 14656 w 350405"/>
                  <a:gd name="connsiteY17" fmla="*/ 124189 h 338034"/>
                  <a:gd name="connsiteX18" fmla="*/ 167209 w 350405"/>
                  <a:gd name="connsiteY18" fmla="*/ 203883 h 338034"/>
                  <a:gd name="connsiteX19" fmla="*/ 131236 w 350405"/>
                  <a:gd name="connsiteY19" fmla="*/ 217165 h 338034"/>
                  <a:gd name="connsiteX20" fmla="*/ 119244 w 350405"/>
                  <a:gd name="connsiteY20" fmla="*/ 237753 h 338034"/>
                  <a:gd name="connsiteX21" fmla="*/ 154551 w 350405"/>
                  <a:gd name="connsiteY21" fmla="*/ 264982 h 338034"/>
                  <a:gd name="connsiteX22" fmla="*/ 220502 w 350405"/>
                  <a:gd name="connsiteY22" fmla="*/ 202555 h 338034"/>
                  <a:gd name="connsiteX23" fmla="*/ 220502 w 350405"/>
                  <a:gd name="connsiteY23" fmla="*/ 185288 h 338034"/>
                  <a:gd name="connsiteX24" fmla="*/ 167209 w 350405"/>
                  <a:gd name="connsiteY24" fmla="*/ 203883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405" h="338034">
                    <a:moveTo>
                      <a:pt x="14656" y="124189"/>
                    </a:moveTo>
                    <a:cubicBezTo>
                      <a:pt x="17986" y="85671"/>
                      <a:pt x="27313" y="63091"/>
                      <a:pt x="47298" y="42503"/>
                    </a:cubicBezTo>
                    <a:cubicBezTo>
                      <a:pt x="75277" y="15275"/>
                      <a:pt x="121243" y="0"/>
                      <a:pt x="179200" y="0"/>
                    </a:cubicBezTo>
                    <a:cubicBezTo>
                      <a:pt x="229162" y="0"/>
                      <a:pt x="269133" y="10626"/>
                      <a:pt x="299110" y="32542"/>
                    </a:cubicBezTo>
                    <a:cubicBezTo>
                      <a:pt x="327756" y="53793"/>
                      <a:pt x="340413" y="83678"/>
                      <a:pt x="340413" y="130831"/>
                    </a:cubicBezTo>
                    <a:lnTo>
                      <a:pt x="340413" y="281585"/>
                    </a:lnTo>
                    <a:cubicBezTo>
                      <a:pt x="340413" y="305493"/>
                      <a:pt x="342411" y="315454"/>
                      <a:pt x="350405" y="329401"/>
                    </a:cubicBezTo>
                    <a:lnTo>
                      <a:pt x="229829" y="329401"/>
                    </a:lnTo>
                    <a:cubicBezTo>
                      <a:pt x="224499" y="318111"/>
                      <a:pt x="221834" y="310806"/>
                      <a:pt x="219170" y="296859"/>
                    </a:cubicBezTo>
                    <a:cubicBezTo>
                      <a:pt x="177867" y="328073"/>
                      <a:pt x="151887" y="338034"/>
                      <a:pt x="111917" y="338034"/>
                    </a:cubicBezTo>
                    <a:cubicBezTo>
                      <a:pt x="45300" y="338034"/>
                      <a:pt x="0" y="300180"/>
                      <a:pt x="0" y="244394"/>
                    </a:cubicBezTo>
                    <a:cubicBezTo>
                      <a:pt x="0" y="191265"/>
                      <a:pt x="29311" y="160716"/>
                      <a:pt x="89933" y="148762"/>
                    </a:cubicBezTo>
                    <a:lnTo>
                      <a:pt x="183197" y="130831"/>
                    </a:lnTo>
                    <a:cubicBezTo>
                      <a:pt x="207845" y="126182"/>
                      <a:pt x="218504" y="118877"/>
                      <a:pt x="218504" y="106922"/>
                    </a:cubicBezTo>
                    <a:cubicBezTo>
                      <a:pt x="218504" y="90319"/>
                      <a:pt x="201849" y="79694"/>
                      <a:pt x="176535" y="79694"/>
                    </a:cubicBezTo>
                    <a:cubicBezTo>
                      <a:pt x="146557" y="79694"/>
                      <a:pt x="128571" y="94304"/>
                      <a:pt x="128571" y="119541"/>
                    </a:cubicBezTo>
                    <a:lnTo>
                      <a:pt x="128571" y="124189"/>
                    </a:lnTo>
                    <a:lnTo>
                      <a:pt x="14656" y="124189"/>
                    </a:lnTo>
                    <a:close/>
                    <a:moveTo>
                      <a:pt x="167209" y="203883"/>
                    </a:moveTo>
                    <a:cubicBezTo>
                      <a:pt x="138563" y="213181"/>
                      <a:pt x="138563" y="213181"/>
                      <a:pt x="131236" y="217165"/>
                    </a:cubicBezTo>
                    <a:cubicBezTo>
                      <a:pt x="123242" y="221814"/>
                      <a:pt x="119244" y="229119"/>
                      <a:pt x="119244" y="237753"/>
                    </a:cubicBezTo>
                    <a:cubicBezTo>
                      <a:pt x="119244" y="254356"/>
                      <a:pt x="133234" y="264982"/>
                      <a:pt x="154551" y="264982"/>
                    </a:cubicBezTo>
                    <a:cubicBezTo>
                      <a:pt x="193189" y="264982"/>
                      <a:pt x="220502" y="239081"/>
                      <a:pt x="220502" y="202555"/>
                    </a:cubicBezTo>
                    <a:lnTo>
                      <a:pt x="220502" y="185288"/>
                    </a:lnTo>
                    <a:lnTo>
                      <a:pt x="167209" y="203883"/>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1" name="Freeform 70">
                <a:extLst>
                  <a:ext uri="{FF2B5EF4-FFF2-40B4-BE49-F238E27FC236}">
                    <a16:creationId xmlns:a16="http://schemas.microsoft.com/office/drawing/2014/main" id="{5B60B2A1-64E5-7949-B9BE-C0E08368BE73}"/>
                  </a:ext>
                </a:extLst>
              </p:cNvPr>
              <p:cNvSpPr/>
              <p:nvPr/>
            </p:nvSpPr>
            <p:spPr>
              <a:xfrm>
                <a:off x="11096918" y="8802589"/>
                <a:ext cx="229828" cy="421048"/>
              </a:xfrm>
              <a:custGeom>
                <a:avLst/>
                <a:gdLst>
                  <a:gd name="connsiteX0" fmla="*/ 229829 w 229828"/>
                  <a:gd name="connsiteY0" fmla="*/ 173334 h 421048"/>
                  <a:gd name="connsiteX1" fmla="*/ 171872 w 229828"/>
                  <a:gd name="connsiteY1" fmla="*/ 173334 h 421048"/>
                  <a:gd name="connsiteX2" fmla="*/ 171872 w 229828"/>
                  <a:gd name="connsiteY2" fmla="*/ 292210 h 421048"/>
                  <a:gd name="connsiteX3" fmla="*/ 205180 w 229828"/>
                  <a:gd name="connsiteY3" fmla="*/ 330729 h 421048"/>
                  <a:gd name="connsiteX4" fmla="*/ 229829 w 229828"/>
                  <a:gd name="connsiteY4" fmla="*/ 326744 h 421048"/>
                  <a:gd name="connsiteX5" fmla="*/ 229829 w 229828"/>
                  <a:gd name="connsiteY5" fmla="*/ 411087 h 421048"/>
                  <a:gd name="connsiteX6" fmla="*/ 161213 w 229828"/>
                  <a:gd name="connsiteY6" fmla="*/ 421049 h 421048"/>
                  <a:gd name="connsiteX7" fmla="*/ 74611 w 229828"/>
                  <a:gd name="connsiteY7" fmla="*/ 388507 h 421048"/>
                  <a:gd name="connsiteX8" fmla="*/ 47298 w 229828"/>
                  <a:gd name="connsiteY8" fmla="*/ 296859 h 421048"/>
                  <a:gd name="connsiteX9" fmla="*/ 47298 w 229828"/>
                  <a:gd name="connsiteY9" fmla="*/ 173334 h 421048"/>
                  <a:gd name="connsiteX10" fmla="*/ 0 w 229828"/>
                  <a:gd name="connsiteY10" fmla="*/ 173334 h 421048"/>
                  <a:gd name="connsiteX11" fmla="*/ 0 w 229828"/>
                  <a:gd name="connsiteY11" fmla="*/ 95633 h 421048"/>
                  <a:gd name="connsiteX12" fmla="*/ 47298 w 229828"/>
                  <a:gd name="connsiteY12" fmla="*/ 95633 h 421048"/>
                  <a:gd name="connsiteX13" fmla="*/ 47298 w 229828"/>
                  <a:gd name="connsiteY13" fmla="*/ 0 h 421048"/>
                  <a:gd name="connsiteX14" fmla="*/ 171872 w 229828"/>
                  <a:gd name="connsiteY14" fmla="*/ 0 h 421048"/>
                  <a:gd name="connsiteX15" fmla="*/ 171872 w 229828"/>
                  <a:gd name="connsiteY15" fmla="*/ 95633 h 421048"/>
                  <a:gd name="connsiteX16" fmla="*/ 229829 w 229828"/>
                  <a:gd name="connsiteY16" fmla="*/ 95633 h 421048"/>
                  <a:gd name="connsiteX17" fmla="*/ 229829 w 229828"/>
                  <a:gd name="connsiteY17" fmla="*/ 173334 h 42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28" h="421048">
                    <a:moveTo>
                      <a:pt x="229829" y="173334"/>
                    </a:moveTo>
                    <a:lnTo>
                      <a:pt x="171872" y="173334"/>
                    </a:lnTo>
                    <a:lnTo>
                      <a:pt x="171872" y="292210"/>
                    </a:lnTo>
                    <a:cubicBezTo>
                      <a:pt x="171872" y="319439"/>
                      <a:pt x="181864" y="330729"/>
                      <a:pt x="205180" y="330729"/>
                    </a:cubicBezTo>
                    <a:cubicBezTo>
                      <a:pt x="215173" y="330729"/>
                      <a:pt x="222501" y="329401"/>
                      <a:pt x="229829" y="326744"/>
                    </a:cubicBezTo>
                    <a:lnTo>
                      <a:pt x="229829" y="411087"/>
                    </a:lnTo>
                    <a:cubicBezTo>
                      <a:pt x="203182" y="417728"/>
                      <a:pt x="181864" y="421049"/>
                      <a:pt x="161213" y="421049"/>
                    </a:cubicBezTo>
                    <a:cubicBezTo>
                      <a:pt x="124574" y="421049"/>
                      <a:pt x="95262" y="409759"/>
                      <a:pt x="74611" y="388507"/>
                    </a:cubicBezTo>
                    <a:cubicBezTo>
                      <a:pt x="55292" y="368584"/>
                      <a:pt x="47298" y="340691"/>
                      <a:pt x="47298" y="296859"/>
                    </a:cubicBezTo>
                    <a:lnTo>
                      <a:pt x="47298" y="173334"/>
                    </a:lnTo>
                    <a:lnTo>
                      <a:pt x="0" y="173334"/>
                    </a:lnTo>
                    <a:lnTo>
                      <a:pt x="0" y="95633"/>
                    </a:lnTo>
                    <a:lnTo>
                      <a:pt x="47298" y="95633"/>
                    </a:lnTo>
                    <a:lnTo>
                      <a:pt x="47298" y="0"/>
                    </a:lnTo>
                    <a:lnTo>
                      <a:pt x="171872" y="0"/>
                    </a:lnTo>
                    <a:lnTo>
                      <a:pt x="171872" y="95633"/>
                    </a:lnTo>
                    <a:lnTo>
                      <a:pt x="229829" y="95633"/>
                    </a:lnTo>
                    <a:lnTo>
                      <a:pt x="229829" y="1733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2" name="Freeform 71">
                <a:extLst>
                  <a:ext uri="{FF2B5EF4-FFF2-40B4-BE49-F238E27FC236}">
                    <a16:creationId xmlns:a16="http://schemas.microsoft.com/office/drawing/2014/main" id="{FFF4591F-BACB-104C-B3DD-75BA24EB84B6}"/>
                  </a:ext>
                </a:extLst>
              </p:cNvPr>
              <p:cNvSpPr/>
              <p:nvPr/>
            </p:nvSpPr>
            <p:spPr>
              <a:xfrm>
                <a:off x="7849341" y="9373728"/>
                <a:ext cx="355163" cy="443059"/>
              </a:xfrm>
              <a:custGeom>
                <a:avLst/>
                <a:gdLst>
                  <a:gd name="connsiteX0" fmla="*/ 355164 w 355163"/>
                  <a:gd name="connsiteY0" fmla="*/ 117548 h 443059"/>
                  <a:gd name="connsiteX1" fmla="*/ 133234 w 355163"/>
                  <a:gd name="connsiteY1" fmla="*/ 117548 h 443059"/>
                  <a:gd name="connsiteX2" fmla="*/ 133234 w 355163"/>
                  <a:gd name="connsiteY2" fmla="*/ 175990 h 443059"/>
                  <a:gd name="connsiteX3" fmla="*/ 314527 w 355163"/>
                  <a:gd name="connsiteY3" fmla="*/ 175990 h 443059"/>
                  <a:gd name="connsiteX4" fmla="*/ 314527 w 355163"/>
                  <a:gd name="connsiteY4" fmla="*/ 286992 h 443059"/>
                  <a:gd name="connsiteX5" fmla="*/ 133234 w 355163"/>
                  <a:gd name="connsiteY5" fmla="*/ 286992 h 443059"/>
                  <a:gd name="connsiteX6" fmla="*/ 133234 w 355163"/>
                  <a:gd name="connsiteY6" fmla="*/ 443059 h 443059"/>
                  <a:gd name="connsiteX7" fmla="*/ 0 w 355163"/>
                  <a:gd name="connsiteY7" fmla="*/ 443059 h 443059"/>
                  <a:gd name="connsiteX8" fmla="*/ 0 w 355163"/>
                  <a:gd name="connsiteY8" fmla="*/ 0 h 443059"/>
                  <a:gd name="connsiteX9" fmla="*/ 355164 w 355163"/>
                  <a:gd name="connsiteY9" fmla="*/ 0 h 443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163" h="443059">
                    <a:moveTo>
                      <a:pt x="355164" y="117548"/>
                    </a:moveTo>
                    <a:lnTo>
                      <a:pt x="133234" y="117548"/>
                    </a:lnTo>
                    <a:lnTo>
                      <a:pt x="133234" y="175990"/>
                    </a:lnTo>
                    <a:lnTo>
                      <a:pt x="314527" y="175990"/>
                    </a:lnTo>
                    <a:lnTo>
                      <a:pt x="314527" y="286992"/>
                    </a:lnTo>
                    <a:lnTo>
                      <a:pt x="133234" y="286992"/>
                    </a:lnTo>
                    <a:lnTo>
                      <a:pt x="133234" y="443059"/>
                    </a:lnTo>
                    <a:lnTo>
                      <a:pt x="0" y="443059"/>
                    </a:lnTo>
                    <a:lnTo>
                      <a:pt x="0" y="0"/>
                    </a:lnTo>
                    <a:lnTo>
                      <a:pt x="355164" y="0"/>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3" name="Freeform 72">
                <a:extLst>
                  <a:ext uri="{FF2B5EF4-FFF2-40B4-BE49-F238E27FC236}">
                    <a16:creationId xmlns:a16="http://schemas.microsoft.com/office/drawing/2014/main" id="{18D86402-E68C-5E4E-A81D-77AC397FFC56}"/>
                  </a:ext>
                </a:extLst>
              </p:cNvPr>
              <p:cNvSpPr/>
              <p:nvPr/>
            </p:nvSpPr>
            <p:spPr>
              <a:xfrm>
                <a:off x="8234482" y="9496020"/>
                <a:ext cx="334417" cy="329400"/>
              </a:xfrm>
              <a:custGeom>
                <a:avLst/>
                <a:gdLst>
                  <a:gd name="connsiteX0" fmla="*/ 334417 w 334417"/>
                  <a:gd name="connsiteY0" fmla="*/ 320768 h 329400"/>
                  <a:gd name="connsiteX1" fmla="*/ 216505 w 334417"/>
                  <a:gd name="connsiteY1" fmla="*/ 320768 h 329400"/>
                  <a:gd name="connsiteX2" fmla="*/ 216505 w 334417"/>
                  <a:gd name="connsiteY2" fmla="*/ 279592 h 329400"/>
                  <a:gd name="connsiteX3" fmla="*/ 117912 w 334417"/>
                  <a:gd name="connsiteY3" fmla="*/ 329401 h 329400"/>
                  <a:gd name="connsiteX4" fmla="*/ 27979 w 334417"/>
                  <a:gd name="connsiteY4" fmla="*/ 288226 h 329400"/>
                  <a:gd name="connsiteX5" fmla="*/ 0 w 334417"/>
                  <a:gd name="connsiteY5" fmla="*/ 188609 h 329400"/>
                  <a:gd name="connsiteX6" fmla="*/ 0 w 334417"/>
                  <a:gd name="connsiteY6" fmla="*/ 0 h 329400"/>
                  <a:gd name="connsiteX7" fmla="*/ 124574 w 334417"/>
                  <a:gd name="connsiteY7" fmla="*/ 0 h 329400"/>
                  <a:gd name="connsiteX8" fmla="*/ 124574 w 334417"/>
                  <a:gd name="connsiteY8" fmla="*/ 168685 h 329400"/>
                  <a:gd name="connsiteX9" fmla="*/ 166542 w 334417"/>
                  <a:gd name="connsiteY9" fmla="*/ 224471 h 329400"/>
                  <a:gd name="connsiteX10" fmla="*/ 209843 w 334417"/>
                  <a:gd name="connsiteY10" fmla="*/ 174662 h 329400"/>
                  <a:gd name="connsiteX11" fmla="*/ 209843 w 334417"/>
                  <a:gd name="connsiteY11" fmla="*/ 0 h 329400"/>
                  <a:gd name="connsiteX12" fmla="*/ 334417 w 334417"/>
                  <a:gd name="connsiteY12" fmla="*/ 0 h 329400"/>
                  <a:gd name="connsiteX13" fmla="*/ 334417 w 334417"/>
                  <a:gd name="connsiteY13" fmla="*/ 320768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417" h="329400">
                    <a:moveTo>
                      <a:pt x="334417" y="320768"/>
                    </a:moveTo>
                    <a:lnTo>
                      <a:pt x="216505" y="320768"/>
                    </a:lnTo>
                    <a:lnTo>
                      <a:pt x="216505" y="279592"/>
                    </a:lnTo>
                    <a:cubicBezTo>
                      <a:pt x="188526" y="314790"/>
                      <a:pt x="159215" y="329401"/>
                      <a:pt x="117912" y="329401"/>
                    </a:cubicBezTo>
                    <a:cubicBezTo>
                      <a:pt x="81273" y="329401"/>
                      <a:pt x="49297" y="314790"/>
                      <a:pt x="27979" y="288226"/>
                    </a:cubicBezTo>
                    <a:cubicBezTo>
                      <a:pt x="7994" y="263654"/>
                      <a:pt x="0" y="235097"/>
                      <a:pt x="0" y="188609"/>
                    </a:cubicBezTo>
                    <a:lnTo>
                      <a:pt x="0" y="0"/>
                    </a:lnTo>
                    <a:lnTo>
                      <a:pt x="124574" y="0"/>
                    </a:lnTo>
                    <a:lnTo>
                      <a:pt x="124574" y="168685"/>
                    </a:lnTo>
                    <a:cubicBezTo>
                      <a:pt x="124574" y="205211"/>
                      <a:pt x="139229" y="224471"/>
                      <a:pt x="166542" y="224471"/>
                    </a:cubicBezTo>
                    <a:cubicBezTo>
                      <a:pt x="193189" y="224471"/>
                      <a:pt x="209843" y="205211"/>
                      <a:pt x="209843" y="174662"/>
                    </a:cubicBezTo>
                    <a:lnTo>
                      <a:pt x="209843" y="0"/>
                    </a:lnTo>
                    <a:lnTo>
                      <a:pt x="334417" y="0"/>
                    </a:lnTo>
                    <a:lnTo>
                      <a:pt x="334417" y="32076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4" name="Freeform 73">
                <a:extLst>
                  <a:ext uri="{FF2B5EF4-FFF2-40B4-BE49-F238E27FC236}">
                    <a16:creationId xmlns:a16="http://schemas.microsoft.com/office/drawing/2014/main" id="{936F1270-1799-4249-9003-E47B73B492FA}"/>
                  </a:ext>
                </a:extLst>
              </p:cNvPr>
              <p:cNvSpPr/>
              <p:nvPr/>
            </p:nvSpPr>
            <p:spPr>
              <a:xfrm>
                <a:off x="8593452" y="9400292"/>
                <a:ext cx="229828" cy="421048"/>
              </a:xfrm>
              <a:custGeom>
                <a:avLst/>
                <a:gdLst>
                  <a:gd name="connsiteX0" fmla="*/ 229829 w 229828"/>
                  <a:gd name="connsiteY0" fmla="*/ 173334 h 421048"/>
                  <a:gd name="connsiteX1" fmla="*/ 171872 w 229828"/>
                  <a:gd name="connsiteY1" fmla="*/ 173334 h 421048"/>
                  <a:gd name="connsiteX2" fmla="*/ 171872 w 229828"/>
                  <a:gd name="connsiteY2" fmla="*/ 292210 h 421048"/>
                  <a:gd name="connsiteX3" fmla="*/ 205180 w 229828"/>
                  <a:gd name="connsiteY3" fmla="*/ 330729 h 421048"/>
                  <a:gd name="connsiteX4" fmla="*/ 229829 w 229828"/>
                  <a:gd name="connsiteY4" fmla="*/ 326744 h 421048"/>
                  <a:gd name="connsiteX5" fmla="*/ 229829 w 229828"/>
                  <a:gd name="connsiteY5" fmla="*/ 411087 h 421048"/>
                  <a:gd name="connsiteX6" fmla="*/ 161213 w 229828"/>
                  <a:gd name="connsiteY6" fmla="*/ 421049 h 421048"/>
                  <a:gd name="connsiteX7" fmla="*/ 74611 w 229828"/>
                  <a:gd name="connsiteY7" fmla="*/ 388507 h 421048"/>
                  <a:gd name="connsiteX8" fmla="*/ 47298 w 229828"/>
                  <a:gd name="connsiteY8" fmla="*/ 296859 h 421048"/>
                  <a:gd name="connsiteX9" fmla="*/ 47298 w 229828"/>
                  <a:gd name="connsiteY9" fmla="*/ 173334 h 421048"/>
                  <a:gd name="connsiteX10" fmla="*/ 0 w 229828"/>
                  <a:gd name="connsiteY10" fmla="*/ 173334 h 421048"/>
                  <a:gd name="connsiteX11" fmla="*/ 0 w 229828"/>
                  <a:gd name="connsiteY11" fmla="*/ 95633 h 421048"/>
                  <a:gd name="connsiteX12" fmla="*/ 47298 w 229828"/>
                  <a:gd name="connsiteY12" fmla="*/ 95633 h 421048"/>
                  <a:gd name="connsiteX13" fmla="*/ 47298 w 229828"/>
                  <a:gd name="connsiteY13" fmla="*/ 0 h 421048"/>
                  <a:gd name="connsiteX14" fmla="*/ 171872 w 229828"/>
                  <a:gd name="connsiteY14" fmla="*/ 0 h 421048"/>
                  <a:gd name="connsiteX15" fmla="*/ 171872 w 229828"/>
                  <a:gd name="connsiteY15" fmla="*/ 95633 h 421048"/>
                  <a:gd name="connsiteX16" fmla="*/ 229829 w 229828"/>
                  <a:gd name="connsiteY16" fmla="*/ 95633 h 421048"/>
                  <a:gd name="connsiteX17" fmla="*/ 229829 w 229828"/>
                  <a:gd name="connsiteY17" fmla="*/ 173334 h 42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828" h="421048">
                    <a:moveTo>
                      <a:pt x="229829" y="173334"/>
                    </a:moveTo>
                    <a:lnTo>
                      <a:pt x="171872" y="173334"/>
                    </a:lnTo>
                    <a:lnTo>
                      <a:pt x="171872" y="292210"/>
                    </a:lnTo>
                    <a:cubicBezTo>
                      <a:pt x="171872" y="319439"/>
                      <a:pt x="181864" y="330729"/>
                      <a:pt x="205180" y="330729"/>
                    </a:cubicBezTo>
                    <a:cubicBezTo>
                      <a:pt x="215173" y="330729"/>
                      <a:pt x="222501" y="329401"/>
                      <a:pt x="229829" y="326744"/>
                    </a:cubicBezTo>
                    <a:lnTo>
                      <a:pt x="229829" y="411087"/>
                    </a:lnTo>
                    <a:cubicBezTo>
                      <a:pt x="203182" y="417728"/>
                      <a:pt x="181864" y="421049"/>
                      <a:pt x="161213" y="421049"/>
                    </a:cubicBezTo>
                    <a:cubicBezTo>
                      <a:pt x="124574" y="421049"/>
                      <a:pt x="95262" y="409759"/>
                      <a:pt x="74611" y="388507"/>
                    </a:cubicBezTo>
                    <a:cubicBezTo>
                      <a:pt x="55292" y="368584"/>
                      <a:pt x="47298" y="340691"/>
                      <a:pt x="47298" y="296859"/>
                    </a:cubicBezTo>
                    <a:lnTo>
                      <a:pt x="47298" y="173334"/>
                    </a:lnTo>
                    <a:lnTo>
                      <a:pt x="0" y="173334"/>
                    </a:lnTo>
                    <a:lnTo>
                      <a:pt x="0" y="95633"/>
                    </a:lnTo>
                    <a:lnTo>
                      <a:pt x="47298" y="95633"/>
                    </a:lnTo>
                    <a:lnTo>
                      <a:pt x="47298" y="0"/>
                    </a:lnTo>
                    <a:lnTo>
                      <a:pt x="171872" y="0"/>
                    </a:lnTo>
                    <a:lnTo>
                      <a:pt x="171872" y="95633"/>
                    </a:lnTo>
                    <a:lnTo>
                      <a:pt x="229829" y="95633"/>
                    </a:lnTo>
                    <a:lnTo>
                      <a:pt x="229829" y="1733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5" name="Freeform 74">
                <a:extLst>
                  <a:ext uri="{FF2B5EF4-FFF2-40B4-BE49-F238E27FC236}">
                    <a16:creationId xmlns:a16="http://schemas.microsoft.com/office/drawing/2014/main" id="{9178D838-24CC-BA44-B6C0-E9D2E9BF52D3}"/>
                  </a:ext>
                </a:extLst>
              </p:cNvPr>
              <p:cNvSpPr/>
              <p:nvPr/>
            </p:nvSpPr>
            <p:spPr>
              <a:xfrm>
                <a:off x="8847358" y="9496020"/>
                <a:ext cx="334417" cy="329400"/>
              </a:xfrm>
              <a:custGeom>
                <a:avLst/>
                <a:gdLst>
                  <a:gd name="connsiteX0" fmla="*/ 334417 w 334417"/>
                  <a:gd name="connsiteY0" fmla="*/ 320768 h 329400"/>
                  <a:gd name="connsiteX1" fmla="*/ 216505 w 334417"/>
                  <a:gd name="connsiteY1" fmla="*/ 320768 h 329400"/>
                  <a:gd name="connsiteX2" fmla="*/ 216505 w 334417"/>
                  <a:gd name="connsiteY2" fmla="*/ 279592 h 329400"/>
                  <a:gd name="connsiteX3" fmla="*/ 117912 w 334417"/>
                  <a:gd name="connsiteY3" fmla="*/ 329401 h 329400"/>
                  <a:gd name="connsiteX4" fmla="*/ 27979 w 334417"/>
                  <a:gd name="connsiteY4" fmla="*/ 288226 h 329400"/>
                  <a:gd name="connsiteX5" fmla="*/ 0 w 334417"/>
                  <a:gd name="connsiteY5" fmla="*/ 188609 h 329400"/>
                  <a:gd name="connsiteX6" fmla="*/ 0 w 334417"/>
                  <a:gd name="connsiteY6" fmla="*/ 0 h 329400"/>
                  <a:gd name="connsiteX7" fmla="*/ 124574 w 334417"/>
                  <a:gd name="connsiteY7" fmla="*/ 0 h 329400"/>
                  <a:gd name="connsiteX8" fmla="*/ 124574 w 334417"/>
                  <a:gd name="connsiteY8" fmla="*/ 168685 h 329400"/>
                  <a:gd name="connsiteX9" fmla="*/ 166542 w 334417"/>
                  <a:gd name="connsiteY9" fmla="*/ 224471 h 329400"/>
                  <a:gd name="connsiteX10" fmla="*/ 209843 w 334417"/>
                  <a:gd name="connsiteY10" fmla="*/ 174662 h 329400"/>
                  <a:gd name="connsiteX11" fmla="*/ 209843 w 334417"/>
                  <a:gd name="connsiteY11" fmla="*/ 0 h 329400"/>
                  <a:gd name="connsiteX12" fmla="*/ 334417 w 334417"/>
                  <a:gd name="connsiteY12" fmla="*/ 0 h 329400"/>
                  <a:gd name="connsiteX13" fmla="*/ 334417 w 334417"/>
                  <a:gd name="connsiteY13" fmla="*/ 320768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417" h="329400">
                    <a:moveTo>
                      <a:pt x="334417" y="320768"/>
                    </a:moveTo>
                    <a:lnTo>
                      <a:pt x="216505" y="320768"/>
                    </a:lnTo>
                    <a:lnTo>
                      <a:pt x="216505" y="279592"/>
                    </a:lnTo>
                    <a:cubicBezTo>
                      <a:pt x="188526" y="314790"/>
                      <a:pt x="159215" y="329401"/>
                      <a:pt x="117912" y="329401"/>
                    </a:cubicBezTo>
                    <a:cubicBezTo>
                      <a:pt x="81273" y="329401"/>
                      <a:pt x="49297" y="314790"/>
                      <a:pt x="27979" y="288226"/>
                    </a:cubicBezTo>
                    <a:cubicBezTo>
                      <a:pt x="7994" y="263654"/>
                      <a:pt x="0" y="235097"/>
                      <a:pt x="0" y="188609"/>
                    </a:cubicBezTo>
                    <a:lnTo>
                      <a:pt x="0" y="0"/>
                    </a:lnTo>
                    <a:lnTo>
                      <a:pt x="124574" y="0"/>
                    </a:lnTo>
                    <a:lnTo>
                      <a:pt x="124574" y="168685"/>
                    </a:lnTo>
                    <a:cubicBezTo>
                      <a:pt x="124574" y="205211"/>
                      <a:pt x="139230" y="224471"/>
                      <a:pt x="166542" y="224471"/>
                    </a:cubicBezTo>
                    <a:cubicBezTo>
                      <a:pt x="193189" y="224471"/>
                      <a:pt x="209843" y="205211"/>
                      <a:pt x="209843" y="174662"/>
                    </a:cubicBezTo>
                    <a:lnTo>
                      <a:pt x="209843" y="0"/>
                    </a:lnTo>
                    <a:lnTo>
                      <a:pt x="334417" y="0"/>
                    </a:lnTo>
                    <a:lnTo>
                      <a:pt x="334417" y="32076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6" name="Freeform 75">
                <a:extLst>
                  <a:ext uri="{FF2B5EF4-FFF2-40B4-BE49-F238E27FC236}">
                    <a16:creationId xmlns:a16="http://schemas.microsoft.com/office/drawing/2014/main" id="{4431C430-05C4-3F4E-8223-18896A059636}"/>
                  </a:ext>
                </a:extLst>
              </p:cNvPr>
              <p:cNvSpPr/>
              <p:nvPr/>
            </p:nvSpPr>
            <p:spPr>
              <a:xfrm>
                <a:off x="9228978" y="9487291"/>
                <a:ext cx="251812" cy="329400"/>
              </a:xfrm>
              <a:custGeom>
                <a:avLst/>
                <a:gdLst>
                  <a:gd name="connsiteX0" fmla="*/ 117912 w 251812"/>
                  <a:gd name="connsiteY0" fmla="*/ 8634 h 329400"/>
                  <a:gd name="connsiteX1" fmla="*/ 117912 w 251812"/>
                  <a:gd name="connsiteY1" fmla="*/ 53129 h 329400"/>
                  <a:gd name="connsiteX2" fmla="*/ 213174 w 251812"/>
                  <a:gd name="connsiteY2" fmla="*/ 0 h 329400"/>
                  <a:gd name="connsiteX3" fmla="*/ 251812 w 251812"/>
                  <a:gd name="connsiteY3" fmla="*/ 6641 h 329400"/>
                  <a:gd name="connsiteX4" fmla="*/ 251812 w 251812"/>
                  <a:gd name="connsiteY4" fmla="*/ 117548 h 329400"/>
                  <a:gd name="connsiteX5" fmla="*/ 201849 w 251812"/>
                  <a:gd name="connsiteY5" fmla="*/ 106258 h 329400"/>
                  <a:gd name="connsiteX6" fmla="*/ 124574 w 251812"/>
                  <a:gd name="connsiteY6" fmla="*/ 183296 h 329400"/>
                  <a:gd name="connsiteX7" fmla="*/ 124574 w 251812"/>
                  <a:gd name="connsiteY7" fmla="*/ 329401 h 329400"/>
                  <a:gd name="connsiteX8" fmla="*/ 0 w 251812"/>
                  <a:gd name="connsiteY8" fmla="*/ 329401 h 329400"/>
                  <a:gd name="connsiteX9" fmla="*/ 0 w 251812"/>
                  <a:gd name="connsiteY9" fmla="*/ 8634 h 329400"/>
                  <a:gd name="connsiteX10" fmla="*/ 117912 w 251812"/>
                  <a:gd name="connsiteY10" fmla="*/ 8634 h 3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812" h="329400">
                    <a:moveTo>
                      <a:pt x="117912" y="8634"/>
                    </a:moveTo>
                    <a:lnTo>
                      <a:pt x="117912" y="53129"/>
                    </a:lnTo>
                    <a:cubicBezTo>
                      <a:pt x="146557" y="16603"/>
                      <a:pt x="175869" y="0"/>
                      <a:pt x="213174" y="0"/>
                    </a:cubicBezTo>
                    <a:cubicBezTo>
                      <a:pt x="225832" y="0"/>
                      <a:pt x="234492" y="1328"/>
                      <a:pt x="251812" y="6641"/>
                    </a:cubicBezTo>
                    <a:lnTo>
                      <a:pt x="251812" y="117548"/>
                    </a:lnTo>
                    <a:cubicBezTo>
                      <a:pt x="227164" y="108251"/>
                      <a:pt x="217837" y="106258"/>
                      <a:pt x="201849" y="106258"/>
                    </a:cubicBezTo>
                    <a:cubicBezTo>
                      <a:pt x="154551" y="106258"/>
                      <a:pt x="124574" y="136144"/>
                      <a:pt x="124574" y="183296"/>
                    </a:cubicBezTo>
                    <a:lnTo>
                      <a:pt x="124574" y="329401"/>
                    </a:lnTo>
                    <a:lnTo>
                      <a:pt x="0" y="329401"/>
                    </a:lnTo>
                    <a:lnTo>
                      <a:pt x="0" y="8634"/>
                    </a:lnTo>
                    <a:lnTo>
                      <a:pt x="117912" y="863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7" name="Freeform 76">
                <a:extLst>
                  <a:ext uri="{FF2B5EF4-FFF2-40B4-BE49-F238E27FC236}">
                    <a16:creationId xmlns:a16="http://schemas.microsoft.com/office/drawing/2014/main" id="{80C2238E-6369-9B44-8BF4-E8BFF5F2C27D}"/>
                  </a:ext>
                </a:extLst>
              </p:cNvPr>
              <p:cNvSpPr/>
              <p:nvPr/>
            </p:nvSpPr>
            <p:spPr>
              <a:xfrm>
                <a:off x="9502774" y="9487386"/>
                <a:ext cx="359731" cy="338034"/>
              </a:xfrm>
              <a:custGeom>
                <a:avLst/>
                <a:gdLst>
                  <a:gd name="connsiteX0" fmla="*/ 123241 w 359731"/>
                  <a:gd name="connsiteY0" fmla="*/ 198570 h 338034"/>
                  <a:gd name="connsiteX1" fmla="*/ 187860 w 359731"/>
                  <a:gd name="connsiteY1" fmla="*/ 251699 h 338034"/>
                  <a:gd name="connsiteX2" fmla="*/ 233159 w 359731"/>
                  <a:gd name="connsiteY2" fmla="*/ 230448 h 338034"/>
                  <a:gd name="connsiteX3" fmla="*/ 354402 w 359731"/>
                  <a:gd name="connsiteY3" fmla="*/ 230448 h 338034"/>
                  <a:gd name="connsiteX4" fmla="*/ 183863 w 359731"/>
                  <a:gd name="connsiteY4" fmla="*/ 338034 h 338034"/>
                  <a:gd name="connsiteX5" fmla="*/ 0 w 359731"/>
                  <a:gd name="connsiteY5" fmla="*/ 168021 h 338034"/>
                  <a:gd name="connsiteX6" fmla="*/ 180532 w 359731"/>
                  <a:gd name="connsiteY6" fmla="*/ 0 h 338034"/>
                  <a:gd name="connsiteX7" fmla="*/ 342411 w 359731"/>
                  <a:gd name="connsiteY7" fmla="*/ 96297 h 338034"/>
                  <a:gd name="connsiteX8" fmla="*/ 359732 w 359731"/>
                  <a:gd name="connsiteY8" fmla="*/ 198570 h 338034"/>
                  <a:gd name="connsiteX9" fmla="*/ 123241 w 359731"/>
                  <a:gd name="connsiteY9" fmla="*/ 198570 h 338034"/>
                  <a:gd name="connsiteX10" fmla="*/ 235158 w 359731"/>
                  <a:gd name="connsiteY10" fmla="*/ 132159 h 338034"/>
                  <a:gd name="connsiteX11" fmla="*/ 179200 w 359731"/>
                  <a:gd name="connsiteY11" fmla="*/ 81686 h 338034"/>
                  <a:gd name="connsiteX12" fmla="*/ 123908 w 359731"/>
                  <a:gd name="connsiteY12" fmla="*/ 132159 h 338034"/>
                  <a:gd name="connsiteX13" fmla="*/ 235158 w 359731"/>
                  <a:gd name="connsiteY13" fmla="*/ 132159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731" h="338034">
                    <a:moveTo>
                      <a:pt x="123241" y="198570"/>
                    </a:moveTo>
                    <a:cubicBezTo>
                      <a:pt x="127905" y="231112"/>
                      <a:pt x="152553" y="251699"/>
                      <a:pt x="187860" y="251699"/>
                    </a:cubicBezTo>
                    <a:cubicBezTo>
                      <a:pt x="209177" y="251699"/>
                      <a:pt x="223833" y="245058"/>
                      <a:pt x="233159" y="230448"/>
                    </a:cubicBezTo>
                    <a:lnTo>
                      <a:pt x="354402" y="230448"/>
                    </a:lnTo>
                    <a:cubicBezTo>
                      <a:pt x="339747" y="292875"/>
                      <a:pt x="267800" y="338034"/>
                      <a:pt x="183863" y="338034"/>
                    </a:cubicBezTo>
                    <a:cubicBezTo>
                      <a:pt x="75277" y="338034"/>
                      <a:pt x="0" y="268302"/>
                      <a:pt x="0" y="168021"/>
                    </a:cubicBezTo>
                    <a:cubicBezTo>
                      <a:pt x="0" y="71060"/>
                      <a:pt x="75943" y="0"/>
                      <a:pt x="180532" y="0"/>
                    </a:cubicBezTo>
                    <a:cubicBezTo>
                      <a:pt x="253811" y="0"/>
                      <a:pt x="313766" y="35198"/>
                      <a:pt x="342411" y="96297"/>
                    </a:cubicBezTo>
                    <a:cubicBezTo>
                      <a:pt x="354402" y="122861"/>
                      <a:pt x="359732" y="151418"/>
                      <a:pt x="359732" y="198570"/>
                    </a:cubicBezTo>
                    <a:lnTo>
                      <a:pt x="123241" y="198570"/>
                    </a:lnTo>
                    <a:close/>
                    <a:moveTo>
                      <a:pt x="235158" y="132159"/>
                    </a:moveTo>
                    <a:cubicBezTo>
                      <a:pt x="231827" y="100945"/>
                      <a:pt x="210510" y="81686"/>
                      <a:pt x="179200" y="81686"/>
                    </a:cubicBezTo>
                    <a:cubicBezTo>
                      <a:pt x="148556" y="81686"/>
                      <a:pt x="127238" y="100945"/>
                      <a:pt x="123908" y="132159"/>
                    </a:cubicBezTo>
                    <a:lnTo>
                      <a:pt x="235158" y="132159"/>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8" name="Freeform 77">
                <a:extLst>
                  <a:ext uri="{FF2B5EF4-FFF2-40B4-BE49-F238E27FC236}">
                    <a16:creationId xmlns:a16="http://schemas.microsoft.com/office/drawing/2014/main" id="{B21E152D-7A5B-9C41-ABD2-91427A461578}"/>
                  </a:ext>
                </a:extLst>
              </p:cNvPr>
              <p:cNvSpPr/>
              <p:nvPr/>
            </p:nvSpPr>
            <p:spPr>
              <a:xfrm>
                <a:off x="9888486" y="9487386"/>
                <a:ext cx="329088" cy="338034"/>
              </a:xfrm>
              <a:custGeom>
                <a:avLst/>
                <a:gdLst>
                  <a:gd name="connsiteX0" fmla="*/ 201849 w 329088"/>
                  <a:gd name="connsiteY0" fmla="*/ 102938 h 338034"/>
                  <a:gd name="connsiteX1" fmla="*/ 161213 w 329088"/>
                  <a:gd name="connsiteY1" fmla="*/ 73053 h 338034"/>
                  <a:gd name="connsiteX2" fmla="*/ 128571 w 329088"/>
                  <a:gd name="connsiteY2" fmla="*/ 90984 h 338034"/>
                  <a:gd name="connsiteX3" fmla="*/ 159881 w 329088"/>
                  <a:gd name="connsiteY3" fmla="*/ 112899 h 338034"/>
                  <a:gd name="connsiteX4" fmla="*/ 217171 w 329088"/>
                  <a:gd name="connsiteY4" fmla="*/ 124189 h 338034"/>
                  <a:gd name="connsiteX5" fmla="*/ 296446 w 329088"/>
                  <a:gd name="connsiteY5" fmla="*/ 154075 h 338034"/>
                  <a:gd name="connsiteX6" fmla="*/ 329088 w 329088"/>
                  <a:gd name="connsiteY6" fmla="*/ 225135 h 338034"/>
                  <a:gd name="connsiteX7" fmla="*/ 164544 w 329088"/>
                  <a:gd name="connsiteY7" fmla="*/ 338034 h 338034"/>
                  <a:gd name="connsiteX8" fmla="*/ 29978 w 329088"/>
                  <a:gd name="connsiteY8" fmla="*/ 292210 h 338034"/>
                  <a:gd name="connsiteX9" fmla="*/ 0 w 329088"/>
                  <a:gd name="connsiteY9" fmla="*/ 219822 h 338034"/>
                  <a:gd name="connsiteX10" fmla="*/ 119244 w 329088"/>
                  <a:gd name="connsiteY10" fmla="*/ 219822 h 338034"/>
                  <a:gd name="connsiteX11" fmla="*/ 167209 w 329088"/>
                  <a:gd name="connsiteY11" fmla="*/ 258341 h 338034"/>
                  <a:gd name="connsiteX12" fmla="*/ 204514 w 329088"/>
                  <a:gd name="connsiteY12" fmla="*/ 235097 h 338034"/>
                  <a:gd name="connsiteX13" fmla="*/ 175203 w 329088"/>
                  <a:gd name="connsiteY13" fmla="*/ 213181 h 338034"/>
                  <a:gd name="connsiteX14" fmla="*/ 102590 w 329088"/>
                  <a:gd name="connsiteY14" fmla="*/ 196578 h 338034"/>
                  <a:gd name="connsiteX15" fmla="*/ 6662 w 329088"/>
                  <a:gd name="connsiteY15" fmla="*/ 102938 h 338034"/>
                  <a:gd name="connsiteX16" fmla="*/ 165876 w 329088"/>
                  <a:gd name="connsiteY16" fmla="*/ 0 h 338034"/>
                  <a:gd name="connsiteX17" fmla="*/ 317763 w 329088"/>
                  <a:gd name="connsiteY17" fmla="*/ 102938 h 338034"/>
                  <a:gd name="connsiteX18" fmla="*/ 201849 w 329088"/>
                  <a:gd name="connsiteY18" fmla="*/ 102938 h 33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088" h="338034">
                    <a:moveTo>
                      <a:pt x="201849" y="102938"/>
                    </a:moveTo>
                    <a:cubicBezTo>
                      <a:pt x="199185" y="81686"/>
                      <a:pt x="187860" y="73053"/>
                      <a:pt x="161213" y="73053"/>
                    </a:cubicBezTo>
                    <a:cubicBezTo>
                      <a:pt x="141894" y="73053"/>
                      <a:pt x="128571" y="80358"/>
                      <a:pt x="128571" y="90984"/>
                    </a:cubicBezTo>
                    <a:cubicBezTo>
                      <a:pt x="128571" y="101609"/>
                      <a:pt x="138563" y="108251"/>
                      <a:pt x="159881" y="112899"/>
                    </a:cubicBezTo>
                    <a:lnTo>
                      <a:pt x="217171" y="124189"/>
                    </a:lnTo>
                    <a:cubicBezTo>
                      <a:pt x="258474" y="132159"/>
                      <a:pt x="278459" y="140128"/>
                      <a:pt x="296446" y="154075"/>
                    </a:cubicBezTo>
                    <a:cubicBezTo>
                      <a:pt x="317097" y="170013"/>
                      <a:pt x="329088" y="196578"/>
                      <a:pt x="329088" y="225135"/>
                    </a:cubicBezTo>
                    <a:cubicBezTo>
                      <a:pt x="329088" y="293539"/>
                      <a:pt x="263803" y="338034"/>
                      <a:pt x="164544" y="338034"/>
                    </a:cubicBezTo>
                    <a:cubicBezTo>
                      <a:pt x="106587" y="338034"/>
                      <a:pt x="58623" y="322096"/>
                      <a:pt x="29978" y="292210"/>
                    </a:cubicBezTo>
                    <a:cubicBezTo>
                      <a:pt x="10659" y="272951"/>
                      <a:pt x="1999" y="252363"/>
                      <a:pt x="0" y="219822"/>
                    </a:cubicBezTo>
                    <a:lnTo>
                      <a:pt x="119244" y="219822"/>
                    </a:lnTo>
                    <a:cubicBezTo>
                      <a:pt x="123241" y="245722"/>
                      <a:pt x="138563" y="258341"/>
                      <a:pt x="167209" y="258341"/>
                    </a:cubicBezTo>
                    <a:cubicBezTo>
                      <a:pt x="189192" y="258341"/>
                      <a:pt x="204514" y="249043"/>
                      <a:pt x="204514" y="235097"/>
                    </a:cubicBezTo>
                    <a:cubicBezTo>
                      <a:pt x="204514" y="224471"/>
                      <a:pt x="195854" y="217830"/>
                      <a:pt x="175203" y="213181"/>
                    </a:cubicBezTo>
                    <a:lnTo>
                      <a:pt x="102590" y="196578"/>
                    </a:lnTo>
                    <a:cubicBezTo>
                      <a:pt x="38638" y="182632"/>
                      <a:pt x="6662" y="151418"/>
                      <a:pt x="6662" y="102938"/>
                    </a:cubicBezTo>
                    <a:cubicBezTo>
                      <a:pt x="6662" y="40511"/>
                      <a:pt x="69282" y="0"/>
                      <a:pt x="165876" y="0"/>
                    </a:cubicBezTo>
                    <a:cubicBezTo>
                      <a:pt x="260472" y="0"/>
                      <a:pt x="313100" y="35862"/>
                      <a:pt x="317763" y="102938"/>
                    </a:cubicBezTo>
                    <a:lnTo>
                      <a:pt x="201849" y="102938"/>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sp>
            <p:nvSpPr>
              <p:cNvPr id="79" name="Freeform 78">
                <a:extLst>
                  <a:ext uri="{FF2B5EF4-FFF2-40B4-BE49-F238E27FC236}">
                    <a16:creationId xmlns:a16="http://schemas.microsoft.com/office/drawing/2014/main" id="{CF22CD3B-7F5A-EA46-86AD-1D7629C666F9}"/>
                  </a:ext>
                </a:extLst>
              </p:cNvPr>
              <p:cNvSpPr/>
              <p:nvPr/>
            </p:nvSpPr>
            <p:spPr>
              <a:xfrm>
                <a:off x="10263540" y="9688613"/>
                <a:ext cx="128570" cy="128174"/>
              </a:xfrm>
              <a:custGeom>
                <a:avLst/>
                <a:gdLst>
                  <a:gd name="connsiteX0" fmla="*/ 0 w 128570"/>
                  <a:gd name="connsiteY0" fmla="*/ 0 h 128174"/>
                  <a:gd name="connsiteX1" fmla="*/ 128571 w 128570"/>
                  <a:gd name="connsiteY1" fmla="*/ 0 h 128174"/>
                  <a:gd name="connsiteX2" fmla="*/ 128571 w 128570"/>
                  <a:gd name="connsiteY2" fmla="*/ 128174 h 128174"/>
                  <a:gd name="connsiteX3" fmla="*/ 0 w 128570"/>
                  <a:gd name="connsiteY3" fmla="*/ 128174 h 128174"/>
                </a:gdLst>
                <a:ahLst/>
                <a:cxnLst>
                  <a:cxn ang="0">
                    <a:pos x="connsiteX0" y="connsiteY0"/>
                  </a:cxn>
                  <a:cxn ang="0">
                    <a:pos x="connsiteX1" y="connsiteY1"/>
                  </a:cxn>
                  <a:cxn ang="0">
                    <a:pos x="connsiteX2" y="connsiteY2"/>
                  </a:cxn>
                  <a:cxn ang="0">
                    <a:pos x="connsiteX3" y="connsiteY3"/>
                  </a:cxn>
                </a:cxnLst>
                <a:rect l="l" t="t" r="r" b="b"/>
                <a:pathLst>
                  <a:path w="128570" h="128174">
                    <a:moveTo>
                      <a:pt x="0" y="0"/>
                    </a:moveTo>
                    <a:lnTo>
                      <a:pt x="128571" y="0"/>
                    </a:lnTo>
                    <a:lnTo>
                      <a:pt x="128571" y="128174"/>
                    </a:lnTo>
                    <a:lnTo>
                      <a:pt x="0" y="128174"/>
                    </a:lnTo>
                    <a:close/>
                  </a:path>
                </a:pathLst>
              </a:custGeom>
              <a:grpFill/>
              <a:ln w="9500" cap="flat">
                <a:noFill/>
                <a:prstDash val="solid"/>
                <a:miter/>
              </a:ln>
            </p:spPr>
            <p:txBody>
              <a:bodyPr rtlCol="0" anchor="ctr"/>
              <a:lstStyle/>
              <a:p>
                <a:endParaRPr lang="en-US" b="0" i="0">
                  <a:latin typeface="Arial" panose="020B0604020202020204" pitchFamily="34" charset="0"/>
                </a:endParaRPr>
              </a:p>
            </p:txBody>
          </p:sp>
        </p:grpSp>
      </p:grpSp>
      <p:grpSp>
        <p:nvGrpSpPr>
          <p:cNvPr id="39" name="Group 38">
            <a:extLst>
              <a:ext uri="{FF2B5EF4-FFF2-40B4-BE49-F238E27FC236}">
                <a16:creationId xmlns:a16="http://schemas.microsoft.com/office/drawing/2014/main" id="{49AD7106-0811-C748-BF24-FD619FFFD54A}"/>
              </a:ext>
            </a:extLst>
          </p:cNvPr>
          <p:cNvGrpSpPr/>
          <p:nvPr userDrawn="1"/>
        </p:nvGrpSpPr>
        <p:grpSpPr>
          <a:xfrm>
            <a:off x="9650438" y="685800"/>
            <a:ext cx="1932306" cy="1062630"/>
            <a:chOff x="8075370" y="-2560865"/>
            <a:chExt cx="2884266" cy="1586140"/>
          </a:xfrm>
          <a:solidFill>
            <a:schemeClr val="bg1"/>
          </a:solidFill>
        </p:grpSpPr>
        <p:sp>
          <p:nvSpPr>
            <p:cNvPr id="9" name="Freeform 8">
              <a:extLst>
                <a:ext uri="{FF2B5EF4-FFF2-40B4-BE49-F238E27FC236}">
                  <a16:creationId xmlns:a16="http://schemas.microsoft.com/office/drawing/2014/main" id="{2E60363F-4494-2E4F-8200-6CE731CF04F2}"/>
                </a:ext>
              </a:extLst>
            </p:cNvPr>
            <p:cNvSpPr/>
            <p:nvPr/>
          </p:nvSpPr>
          <p:spPr>
            <a:xfrm>
              <a:off x="8678326" y="-2560865"/>
              <a:ext cx="1678557" cy="1015393"/>
            </a:xfrm>
            <a:custGeom>
              <a:avLst/>
              <a:gdLst>
                <a:gd name="connsiteX0" fmla="*/ 1632312 w 1678557"/>
                <a:gd name="connsiteY0" fmla="*/ 463887 h 1015393"/>
                <a:gd name="connsiteX1" fmla="*/ 1171850 w 1678557"/>
                <a:gd name="connsiteY1" fmla="*/ 931129 h 1015393"/>
                <a:gd name="connsiteX2" fmla="*/ 1172231 w 1678557"/>
                <a:gd name="connsiteY2" fmla="*/ 931509 h 1015393"/>
                <a:gd name="connsiteX3" fmla="*/ 1147015 w 1678557"/>
                <a:gd name="connsiteY3" fmla="*/ 946982 h 1015393"/>
                <a:gd name="connsiteX4" fmla="*/ 1109713 w 1678557"/>
                <a:gd name="connsiteY4" fmla="*/ 953722 h 1015393"/>
                <a:gd name="connsiteX5" fmla="*/ 1072412 w 1678557"/>
                <a:gd name="connsiteY5" fmla="*/ 946982 h 1015393"/>
                <a:gd name="connsiteX6" fmla="*/ 1047196 w 1678557"/>
                <a:gd name="connsiteY6" fmla="*/ 931509 h 1015393"/>
                <a:gd name="connsiteX7" fmla="*/ 1047576 w 1678557"/>
                <a:gd name="connsiteY7" fmla="*/ 931129 h 1015393"/>
                <a:gd name="connsiteX8" fmla="*/ 537538 w 1678557"/>
                <a:gd name="connsiteY8" fmla="*/ 416897 h 1015393"/>
                <a:gd name="connsiteX9" fmla="*/ 558377 w 1678557"/>
                <a:gd name="connsiteY9" fmla="*/ 395918 h 1015393"/>
                <a:gd name="connsiteX10" fmla="*/ 557997 w 1678557"/>
                <a:gd name="connsiteY10" fmla="*/ 395443 h 1015393"/>
                <a:gd name="connsiteX11" fmla="*/ 620324 w 1678557"/>
                <a:gd name="connsiteY11" fmla="*/ 363452 h 1015393"/>
                <a:gd name="connsiteX12" fmla="*/ 656103 w 1678557"/>
                <a:gd name="connsiteY12" fmla="*/ 372850 h 1015393"/>
                <a:gd name="connsiteX13" fmla="*/ 655818 w 1678557"/>
                <a:gd name="connsiteY13" fmla="*/ 373135 h 1015393"/>
                <a:gd name="connsiteX14" fmla="*/ 960318 w 1678557"/>
                <a:gd name="connsiteY14" fmla="*/ 680516 h 1015393"/>
                <a:gd name="connsiteX15" fmla="*/ 961840 w 1678557"/>
                <a:gd name="connsiteY15" fmla="*/ 678997 h 1015393"/>
                <a:gd name="connsiteX16" fmla="*/ 1056426 w 1678557"/>
                <a:gd name="connsiteY16" fmla="*/ 719437 h 1015393"/>
                <a:gd name="connsiteX17" fmla="*/ 1167093 w 1678557"/>
                <a:gd name="connsiteY17" fmla="*/ 665517 h 1015393"/>
                <a:gd name="connsiteX18" fmla="*/ 1503185 w 1678557"/>
                <a:gd name="connsiteY18" fmla="*/ 330037 h 1015393"/>
                <a:gd name="connsiteX19" fmla="*/ 1225043 w 1678557"/>
                <a:gd name="connsiteY19" fmla="*/ 38129 h 1015393"/>
                <a:gd name="connsiteX20" fmla="*/ 1128745 w 1678557"/>
                <a:gd name="connsiteY20" fmla="*/ 157 h 1015393"/>
                <a:gd name="connsiteX21" fmla="*/ 1027022 w 1678557"/>
                <a:gd name="connsiteY21" fmla="*/ 21991 h 1015393"/>
                <a:gd name="connsiteX22" fmla="*/ 948899 w 1678557"/>
                <a:gd name="connsiteY22" fmla="*/ 157 h 1015393"/>
                <a:gd name="connsiteX23" fmla="*/ 847177 w 1678557"/>
                <a:gd name="connsiteY23" fmla="*/ 21991 h 1015393"/>
                <a:gd name="connsiteX24" fmla="*/ 769054 w 1678557"/>
                <a:gd name="connsiteY24" fmla="*/ 157 h 1015393"/>
                <a:gd name="connsiteX25" fmla="*/ 663335 w 1678557"/>
                <a:gd name="connsiteY25" fmla="*/ 24649 h 1015393"/>
                <a:gd name="connsiteX26" fmla="*/ 581596 w 1678557"/>
                <a:gd name="connsiteY26" fmla="*/ 157 h 1015393"/>
                <a:gd name="connsiteX27" fmla="*/ 569130 w 1678557"/>
                <a:gd name="connsiteY27" fmla="*/ 62 h 1015393"/>
                <a:gd name="connsiteX28" fmla="*/ 556665 w 1678557"/>
                <a:gd name="connsiteY28" fmla="*/ 157 h 1015393"/>
                <a:gd name="connsiteX29" fmla="*/ 460271 w 1678557"/>
                <a:gd name="connsiteY29" fmla="*/ 38129 h 1015393"/>
                <a:gd name="connsiteX30" fmla="*/ 0 w 1678557"/>
                <a:gd name="connsiteY30" fmla="*/ 504991 h 1015393"/>
                <a:gd name="connsiteX31" fmla="*/ 46246 w 1678557"/>
                <a:gd name="connsiteY31" fmla="*/ 551507 h 1015393"/>
                <a:gd name="connsiteX32" fmla="*/ 506708 w 1678557"/>
                <a:gd name="connsiteY32" fmla="*/ 84360 h 1015393"/>
                <a:gd name="connsiteX33" fmla="*/ 506327 w 1678557"/>
                <a:gd name="connsiteY33" fmla="*/ 83885 h 1015393"/>
                <a:gd name="connsiteX34" fmla="*/ 531543 w 1678557"/>
                <a:gd name="connsiteY34" fmla="*/ 68411 h 1015393"/>
                <a:gd name="connsiteX35" fmla="*/ 568845 w 1678557"/>
                <a:gd name="connsiteY35" fmla="*/ 61671 h 1015393"/>
                <a:gd name="connsiteX36" fmla="*/ 606146 w 1678557"/>
                <a:gd name="connsiteY36" fmla="*/ 68411 h 1015393"/>
                <a:gd name="connsiteX37" fmla="*/ 631362 w 1678557"/>
                <a:gd name="connsiteY37" fmla="*/ 83885 h 1015393"/>
                <a:gd name="connsiteX38" fmla="*/ 630982 w 1678557"/>
                <a:gd name="connsiteY38" fmla="*/ 84360 h 1015393"/>
                <a:gd name="connsiteX39" fmla="*/ 1141020 w 1678557"/>
                <a:gd name="connsiteY39" fmla="*/ 598592 h 1015393"/>
                <a:gd name="connsiteX40" fmla="*/ 1120181 w 1678557"/>
                <a:gd name="connsiteY40" fmla="*/ 619571 h 1015393"/>
                <a:gd name="connsiteX41" fmla="*/ 1120561 w 1678557"/>
                <a:gd name="connsiteY41" fmla="*/ 620046 h 1015393"/>
                <a:gd name="connsiteX42" fmla="*/ 1058234 w 1678557"/>
                <a:gd name="connsiteY42" fmla="*/ 652037 h 1015393"/>
                <a:gd name="connsiteX43" fmla="*/ 995431 w 1678557"/>
                <a:gd name="connsiteY43" fmla="*/ 620046 h 1015393"/>
                <a:gd name="connsiteX44" fmla="*/ 995811 w 1678557"/>
                <a:gd name="connsiteY44" fmla="*/ 619571 h 1015393"/>
                <a:gd name="connsiteX45" fmla="*/ 729088 w 1678557"/>
                <a:gd name="connsiteY45" fmla="*/ 349972 h 1015393"/>
                <a:gd name="connsiteX46" fmla="*/ 622132 w 1678557"/>
                <a:gd name="connsiteY46" fmla="*/ 295957 h 1015393"/>
                <a:gd name="connsiteX47" fmla="*/ 511465 w 1678557"/>
                <a:gd name="connsiteY47" fmla="*/ 349972 h 1015393"/>
                <a:gd name="connsiteX48" fmla="*/ 175564 w 1678557"/>
                <a:gd name="connsiteY48" fmla="*/ 685357 h 1015393"/>
                <a:gd name="connsiteX49" fmla="*/ 453705 w 1678557"/>
                <a:gd name="connsiteY49" fmla="*/ 977265 h 1015393"/>
                <a:gd name="connsiteX50" fmla="*/ 550004 w 1678557"/>
                <a:gd name="connsiteY50" fmla="*/ 1015236 h 1015393"/>
                <a:gd name="connsiteX51" fmla="*/ 651726 w 1678557"/>
                <a:gd name="connsiteY51" fmla="*/ 993403 h 1015393"/>
                <a:gd name="connsiteX52" fmla="*/ 729849 w 1678557"/>
                <a:gd name="connsiteY52" fmla="*/ 1015236 h 1015393"/>
                <a:gd name="connsiteX53" fmla="*/ 831571 w 1678557"/>
                <a:gd name="connsiteY53" fmla="*/ 993403 h 1015393"/>
                <a:gd name="connsiteX54" fmla="*/ 909695 w 1678557"/>
                <a:gd name="connsiteY54" fmla="*/ 1015236 h 1015393"/>
                <a:gd name="connsiteX55" fmla="*/ 1015413 w 1678557"/>
                <a:gd name="connsiteY55" fmla="*/ 990745 h 1015393"/>
                <a:gd name="connsiteX56" fmla="*/ 1097153 w 1678557"/>
                <a:gd name="connsiteY56" fmla="*/ 1015236 h 1015393"/>
                <a:gd name="connsiteX57" fmla="*/ 1109618 w 1678557"/>
                <a:gd name="connsiteY57" fmla="*/ 1015331 h 1015393"/>
                <a:gd name="connsiteX58" fmla="*/ 1122084 w 1678557"/>
                <a:gd name="connsiteY58" fmla="*/ 1015236 h 1015393"/>
                <a:gd name="connsiteX59" fmla="*/ 1218477 w 1678557"/>
                <a:gd name="connsiteY59" fmla="*/ 977265 h 1015393"/>
                <a:gd name="connsiteX60" fmla="*/ 1678558 w 1678557"/>
                <a:gd name="connsiteY60" fmla="*/ 510402 h 1015393"/>
                <a:gd name="connsiteX61" fmla="*/ 1632312 w 1678557"/>
                <a:gd name="connsiteY61" fmla="*/ 463887 h 1015393"/>
                <a:gd name="connsiteX62" fmla="*/ 1125700 w 1678557"/>
                <a:gd name="connsiteY62" fmla="*/ 61861 h 1015393"/>
                <a:gd name="connsiteX63" fmla="*/ 1178702 w 1678557"/>
                <a:gd name="connsiteY63" fmla="*/ 83790 h 1015393"/>
                <a:gd name="connsiteX64" fmla="*/ 1178321 w 1678557"/>
                <a:gd name="connsiteY64" fmla="*/ 84265 h 1015393"/>
                <a:gd name="connsiteX65" fmla="*/ 1231609 w 1678557"/>
                <a:gd name="connsiteY65" fmla="*/ 137805 h 1015393"/>
                <a:gd name="connsiteX66" fmla="*/ 1239221 w 1678557"/>
                <a:gd name="connsiteY66" fmla="*/ 145399 h 1015393"/>
                <a:gd name="connsiteX67" fmla="*/ 1415165 w 1678557"/>
                <a:gd name="connsiteY67" fmla="*/ 322252 h 1015393"/>
                <a:gd name="connsiteX68" fmla="*/ 1371584 w 1678557"/>
                <a:gd name="connsiteY68" fmla="*/ 366205 h 1015393"/>
                <a:gd name="connsiteX69" fmla="*/ 1076218 w 1678557"/>
                <a:gd name="connsiteY69" fmla="*/ 69171 h 1015393"/>
                <a:gd name="connsiteX70" fmla="*/ 1125700 w 1678557"/>
                <a:gd name="connsiteY70" fmla="*/ 61861 h 1015393"/>
                <a:gd name="connsiteX71" fmla="*/ 945854 w 1678557"/>
                <a:gd name="connsiteY71" fmla="*/ 61861 h 1015393"/>
                <a:gd name="connsiteX72" fmla="*/ 998856 w 1678557"/>
                <a:gd name="connsiteY72" fmla="*/ 83790 h 1015393"/>
                <a:gd name="connsiteX73" fmla="*/ 998476 w 1678557"/>
                <a:gd name="connsiteY73" fmla="*/ 84265 h 1015393"/>
                <a:gd name="connsiteX74" fmla="*/ 1051763 w 1678557"/>
                <a:gd name="connsiteY74" fmla="*/ 137805 h 1015393"/>
                <a:gd name="connsiteX75" fmla="*/ 1059376 w 1678557"/>
                <a:gd name="connsiteY75" fmla="*/ 145399 h 1015393"/>
                <a:gd name="connsiteX76" fmla="*/ 1325338 w 1678557"/>
                <a:gd name="connsiteY76" fmla="*/ 412815 h 1015393"/>
                <a:gd name="connsiteX77" fmla="*/ 1281756 w 1678557"/>
                <a:gd name="connsiteY77" fmla="*/ 456767 h 1015393"/>
                <a:gd name="connsiteX78" fmla="*/ 896373 w 1678557"/>
                <a:gd name="connsiteY78" fmla="*/ 69266 h 1015393"/>
                <a:gd name="connsiteX79" fmla="*/ 945854 w 1678557"/>
                <a:gd name="connsiteY79" fmla="*/ 61861 h 1015393"/>
                <a:gd name="connsiteX80" fmla="*/ 710913 w 1678557"/>
                <a:gd name="connsiteY80" fmla="*/ 71639 h 1015393"/>
                <a:gd name="connsiteX81" fmla="*/ 766104 w 1678557"/>
                <a:gd name="connsiteY81" fmla="*/ 61956 h 1015393"/>
                <a:gd name="connsiteX82" fmla="*/ 819106 w 1678557"/>
                <a:gd name="connsiteY82" fmla="*/ 83885 h 1015393"/>
                <a:gd name="connsiteX83" fmla="*/ 818725 w 1678557"/>
                <a:gd name="connsiteY83" fmla="*/ 84360 h 1015393"/>
                <a:gd name="connsiteX84" fmla="*/ 872013 w 1678557"/>
                <a:gd name="connsiteY84" fmla="*/ 137900 h 1015393"/>
                <a:gd name="connsiteX85" fmla="*/ 879625 w 1678557"/>
                <a:gd name="connsiteY85" fmla="*/ 145494 h 1015393"/>
                <a:gd name="connsiteX86" fmla="*/ 1235700 w 1678557"/>
                <a:gd name="connsiteY86" fmla="*/ 503472 h 1015393"/>
                <a:gd name="connsiteX87" fmla="*/ 1187551 w 1678557"/>
                <a:gd name="connsiteY87" fmla="*/ 551981 h 1015393"/>
                <a:gd name="connsiteX88" fmla="*/ 710913 w 1678557"/>
                <a:gd name="connsiteY88" fmla="*/ 71639 h 1015393"/>
                <a:gd name="connsiteX89" fmla="*/ 552858 w 1678557"/>
                <a:gd name="connsiteY89" fmla="*/ 953532 h 1015393"/>
                <a:gd name="connsiteX90" fmla="*/ 499856 w 1678557"/>
                <a:gd name="connsiteY90" fmla="*/ 931604 h 1015393"/>
                <a:gd name="connsiteX91" fmla="*/ 500237 w 1678557"/>
                <a:gd name="connsiteY91" fmla="*/ 931224 h 1015393"/>
                <a:gd name="connsiteX92" fmla="*/ 446949 w 1678557"/>
                <a:gd name="connsiteY92" fmla="*/ 877684 h 1015393"/>
                <a:gd name="connsiteX93" fmla="*/ 439337 w 1678557"/>
                <a:gd name="connsiteY93" fmla="*/ 870089 h 1015393"/>
                <a:gd name="connsiteX94" fmla="*/ 263393 w 1678557"/>
                <a:gd name="connsiteY94" fmla="*/ 693236 h 1015393"/>
                <a:gd name="connsiteX95" fmla="*/ 306974 w 1678557"/>
                <a:gd name="connsiteY95" fmla="*/ 649284 h 1015393"/>
                <a:gd name="connsiteX96" fmla="*/ 602340 w 1678557"/>
                <a:gd name="connsiteY96" fmla="*/ 946223 h 1015393"/>
                <a:gd name="connsiteX97" fmla="*/ 552858 w 1678557"/>
                <a:gd name="connsiteY97" fmla="*/ 953532 h 1015393"/>
                <a:gd name="connsiteX98" fmla="*/ 732704 w 1678557"/>
                <a:gd name="connsiteY98" fmla="*/ 953532 h 1015393"/>
                <a:gd name="connsiteX99" fmla="*/ 679702 w 1678557"/>
                <a:gd name="connsiteY99" fmla="*/ 931604 h 1015393"/>
                <a:gd name="connsiteX100" fmla="*/ 680178 w 1678557"/>
                <a:gd name="connsiteY100" fmla="*/ 931224 h 1015393"/>
                <a:gd name="connsiteX101" fmla="*/ 626890 w 1678557"/>
                <a:gd name="connsiteY101" fmla="*/ 877684 h 1015393"/>
                <a:gd name="connsiteX102" fmla="*/ 619278 w 1678557"/>
                <a:gd name="connsiteY102" fmla="*/ 870089 h 1015393"/>
                <a:gd name="connsiteX103" fmla="*/ 353316 w 1678557"/>
                <a:gd name="connsiteY103" fmla="*/ 602484 h 1015393"/>
                <a:gd name="connsiteX104" fmla="*/ 396897 w 1678557"/>
                <a:gd name="connsiteY104" fmla="*/ 558531 h 1015393"/>
                <a:gd name="connsiteX105" fmla="*/ 782280 w 1678557"/>
                <a:gd name="connsiteY105" fmla="*/ 946033 h 1015393"/>
                <a:gd name="connsiteX106" fmla="*/ 732704 w 1678557"/>
                <a:gd name="connsiteY106" fmla="*/ 953532 h 1015393"/>
                <a:gd name="connsiteX107" fmla="*/ 912549 w 1678557"/>
                <a:gd name="connsiteY107" fmla="*/ 953532 h 1015393"/>
                <a:gd name="connsiteX108" fmla="*/ 859547 w 1678557"/>
                <a:gd name="connsiteY108" fmla="*/ 931604 h 1015393"/>
                <a:gd name="connsiteX109" fmla="*/ 859928 w 1678557"/>
                <a:gd name="connsiteY109" fmla="*/ 931224 h 1015393"/>
                <a:gd name="connsiteX110" fmla="*/ 806640 w 1678557"/>
                <a:gd name="connsiteY110" fmla="*/ 877684 h 1015393"/>
                <a:gd name="connsiteX111" fmla="*/ 799028 w 1678557"/>
                <a:gd name="connsiteY111" fmla="*/ 870089 h 1015393"/>
                <a:gd name="connsiteX112" fmla="*/ 442953 w 1678557"/>
                <a:gd name="connsiteY112" fmla="*/ 512111 h 1015393"/>
                <a:gd name="connsiteX113" fmla="*/ 491102 w 1678557"/>
                <a:gd name="connsiteY113" fmla="*/ 463602 h 1015393"/>
                <a:gd name="connsiteX114" fmla="*/ 967550 w 1678557"/>
                <a:gd name="connsiteY114" fmla="*/ 943944 h 1015393"/>
                <a:gd name="connsiteX115" fmla="*/ 912549 w 1678557"/>
                <a:gd name="connsiteY115" fmla="*/ 953532 h 101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678557" h="1015393">
                  <a:moveTo>
                    <a:pt x="1632312" y="463887"/>
                  </a:moveTo>
                  <a:lnTo>
                    <a:pt x="1171850" y="931129"/>
                  </a:lnTo>
                  <a:lnTo>
                    <a:pt x="1172231" y="931509"/>
                  </a:lnTo>
                  <a:cubicBezTo>
                    <a:pt x="1164619" y="937964"/>
                    <a:pt x="1156150" y="943185"/>
                    <a:pt x="1147015" y="946982"/>
                  </a:cubicBezTo>
                  <a:cubicBezTo>
                    <a:pt x="1134930" y="951254"/>
                    <a:pt x="1122179" y="953532"/>
                    <a:pt x="1109713" y="953722"/>
                  </a:cubicBezTo>
                  <a:cubicBezTo>
                    <a:pt x="1097153" y="953532"/>
                    <a:pt x="1084497" y="951254"/>
                    <a:pt x="1072412" y="946982"/>
                  </a:cubicBezTo>
                  <a:cubicBezTo>
                    <a:pt x="1063277" y="943185"/>
                    <a:pt x="1054808" y="938059"/>
                    <a:pt x="1047196" y="931509"/>
                  </a:cubicBezTo>
                  <a:lnTo>
                    <a:pt x="1047576" y="931129"/>
                  </a:lnTo>
                  <a:lnTo>
                    <a:pt x="537538" y="416897"/>
                  </a:lnTo>
                  <a:lnTo>
                    <a:pt x="558377" y="395918"/>
                  </a:lnTo>
                  <a:lnTo>
                    <a:pt x="557997" y="395443"/>
                  </a:lnTo>
                  <a:cubicBezTo>
                    <a:pt x="565609" y="388988"/>
                    <a:pt x="591111" y="362692"/>
                    <a:pt x="620324" y="363452"/>
                  </a:cubicBezTo>
                  <a:cubicBezTo>
                    <a:pt x="634503" y="362882"/>
                    <a:pt x="646492" y="367154"/>
                    <a:pt x="656103" y="372850"/>
                  </a:cubicBezTo>
                  <a:lnTo>
                    <a:pt x="655818" y="373135"/>
                  </a:lnTo>
                  <a:lnTo>
                    <a:pt x="960318" y="680516"/>
                  </a:lnTo>
                  <a:lnTo>
                    <a:pt x="961840" y="678997"/>
                  </a:lnTo>
                  <a:cubicBezTo>
                    <a:pt x="981728" y="698932"/>
                    <a:pt x="1011226" y="719437"/>
                    <a:pt x="1056426" y="719437"/>
                  </a:cubicBezTo>
                  <a:cubicBezTo>
                    <a:pt x="1099246" y="719437"/>
                    <a:pt x="1147586" y="688395"/>
                    <a:pt x="1167093" y="665517"/>
                  </a:cubicBezTo>
                  <a:lnTo>
                    <a:pt x="1503185" y="330037"/>
                  </a:lnTo>
                  <a:lnTo>
                    <a:pt x="1225043" y="38129"/>
                  </a:lnTo>
                  <a:cubicBezTo>
                    <a:pt x="1205536" y="15251"/>
                    <a:pt x="1173373" y="1771"/>
                    <a:pt x="1128745" y="157"/>
                  </a:cubicBezTo>
                  <a:cubicBezTo>
                    <a:pt x="1096962" y="-982"/>
                    <a:pt x="1055760" y="4524"/>
                    <a:pt x="1027022" y="21991"/>
                  </a:cubicBezTo>
                  <a:cubicBezTo>
                    <a:pt x="1007706" y="8986"/>
                    <a:pt x="981728" y="1296"/>
                    <a:pt x="948899" y="157"/>
                  </a:cubicBezTo>
                  <a:cubicBezTo>
                    <a:pt x="917117" y="-982"/>
                    <a:pt x="875914" y="4524"/>
                    <a:pt x="847177" y="21991"/>
                  </a:cubicBezTo>
                  <a:cubicBezTo>
                    <a:pt x="827860" y="8986"/>
                    <a:pt x="801882" y="1296"/>
                    <a:pt x="769054" y="157"/>
                  </a:cubicBezTo>
                  <a:cubicBezTo>
                    <a:pt x="735749" y="-1077"/>
                    <a:pt x="692072" y="5094"/>
                    <a:pt x="663335" y="24649"/>
                  </a:cubicBezTo>
                  <a:cubicBezTo>
                    <a:pt x="643733" y="10030"/>
                    <a:pt x="616518" y="1486"/>
                    <a:pt x="581596" y="157"/>
                  </a:cubicBezTo>
                  <a:cubicBezTo>
                    <a:pt x="577599" y="-33"/>
                    <a:pt x="573412" y="-33"/>
                    <a:pt x="569130" y="62"/>
                  </a:cubicBezTo>
                  <a:cubicBezTo>
                    <a:pt x="564848" y="-33"/>
                    <a:pt x="560661" y="62"/>
                    <a:pt x="556665" y="157"/>
                  </a:cubicBezTo>
                  <a:cubicBezTo>
                    <a:pt x="512036" y="1771"/>
                    <a:pt x="479873" y="15251"/>
                    <a:pt x="460271" y="38129"/>
                  </a:cubicBezTo>
                  <a:lnTo>
                    <a:pt x="0" y="504991"/>
                  </a:lnTo>
                  <a:lnTo>
                    <a:pt x="46246" y="551507"/>
                  </a:lnTo>
                  <a:lnTo>
                    <a:pt x="506708" y="84360"/>
                  </a:lnTo>
                  <a:lnTo>
                    <a:pt x="506327" y="83885"/>
                  </a:lnTo>
                  <a:cubicBezTo>
                    <a:pt x="513939" y="77430"/>
                    <a:pt x="522408" y="72209"/>
                    <a:pt x="531543" y="68411"/>
                  </a:cubicBezTo>
                  <a:cubicBezTo>
                    <a:pt x="543628" y="64140"/>
                    <a:pt x="556379" y="61861"/>
                    <a:pt x="568845" y="61671"/>
                  </a:cubicBezTo>
                  <a:cubicBezTo>
                    <a:pt x="581405" y="61861"/>
                    <a:pt x="594061" y="64140"/>
                    <a:pt x="606146" y="68411"/>
                  </a:cubicBezTo>
                  <a:cubicBezTo>
                    <a:pt x="615281" y="72209"/>
                    <a:pt x="623750" y="77335"/>
                    <a:pt x="631362" y="83885"/>
                  </a:cubicBezTo>
                  <a:lnTo>
                    <a:pt x="630982" y="84360"/>
                  </a:lnTo>
                  <a:lnTo>
                    <a:pt x="1141020" y="598592"/>
                  </a:lnTo>
                  <a:lnTo>
                    <a:pt x="1120181" y="619571"/>
                  </a:lnTo>
                  <a:lnTo>
                    <a:pt x="1120561" y="620046"/>
                  </a:lnTo>
                  <a:cubicBezTo>
                    <a:pt x="1112949" y="626501"/>
                    <a:pt x="1087447" y="652796"/>
                    <a:pt x="1058234" y="652037"/>
                  </a:cubicBezTo>
                  <a:cubicBezTo>
                    <a:pt x="1023978" y="653461"/>
                    <a:pt x="1002948" y="626501"/>
                    <a:pt x="995431" y="620046"/>
                  </a:cubicBezTo>
                  <a:lnTo>
                    <a:pt x="995811" y="619571"/>
                  </a:lnTo>
                  <a:lnTo>
                    <a:pt x="729088" y="349972"/>
                  </a:lnTo>
                  <a:cubicBezTo>
                    <a:pt x="709581" y="327094"/>
                    <a:pt x="677799" y="295957"/>
                    <a:pt x="622132" y="295957"/>
                  </a:cubicBezTo>
                  <a:cubicBezTo>
                    <a:pt x="579312" y="295957"/>
                    <a:pt x="530972" y="326999"/>
                    <a:pt x="511465" y="349972"/>
                  </a:cubicBezTo>
                  <a:lnTo>
                    <a:pt x="175564" y="685357"/>
                  </a:lnTo>
                  <a:lnTo>
                    <a:pt x="453705" y="977265"/>
                  </a:lnTo>
                  <a:cubicBezTo>
                    <a:pt x="473213" y="1000142"/>
                    <a:pt x="505375" y="1013622"/>
                    <a:pt x="550004" y="1015236"/>
                  </a:cubicBezTo>
                  <a:cubicBezTo>
                    <a:pt x="581786" y="1016375"/>
                    <a:pt x="622989" y="1010869"/>
                    <a:pt x="651726" y="993403"/>
                  </a:cubicBezTo>
                  <a:cubicBezTo>
                    <a:pt x="671043" y="1006408"/>
                    <a:pt x="697020" y="1014097"/>
                    <a:pt x="729849" y="1015236"/>
                  </a:cubicBezTo>
                  <a:cubicBezTo>
                    <a:pt x="761631" y="1016375"/>
                    <a:pt x="802834" y="1010869"/>
                    <a:pt x="831571" y="993403"/>
                  </a:cubicBezTo>
                  <a:cubicBezTo>
                    <a:pt x="850888" y="1006408"/>
                    <a:pt x="876866" y="1014097"/>
                    <a:pt x="909695" y="1015236"/>
                  </a:cubicBezTo>
                  <a:cubicBezTo>
                    <a:pt x="942999" y="1016470"/>
                    <a:pt x="986676" y="1010300"/>
                    <a:pt x="1015413" y="990745"/>
                  </a:cubicBezTo>
                  <a:cubicBezTo>
                    <a:pt x="1035016" y="1005364"/>
                    <a:pt x="1062230" y="1013907"/>
                    <a:pt x="1097153" y="1015236"/>
                  </a:cubicBezTo>
                  <a:cubicBezTo>
                    <a:pt x="1101149" y="1015426"/>
                    <a:pt x="1105336" y="1015426"/>
                    <a:pt x="1109618" y="1015331"/>
                  </a:cubicBezTo>
                  <a:cubicBezTo>
                    <a:pt x="1113900" y="1015426"/>
                    <a:pt x="1118087" y="1015331"/>
                    <a:pt x="1122084" y="1015236"/>
                  </a:cubicBezTo>
                  <a:cubicBezTo>
                    <a:pt x="1166712" y="1013622"/>
                    <a:pt x="1198875" y="1000142"/>
                    <a:pt x="1218477" y="977265"/>
                  </a:cubicBezTo>
                  <a:lnTo>
                    <a:pt x="1678558" y="510402"/>
                  </a:lnTo>
                  <a:lnTo>
                    <a:pt x="1632312" y="463887"/>
                  </a:lnTo>
                  <a:close/>
                  <a:moveTo>
                    <a:pt x="1125700" y="61861"/>
                  </a:moveTo>
                  <a:cubicBezTo>
                    <a:pt x="1145682" y="63285"/>
                    <a:pt x="1163857" y="71164"/>
                    <a:pt x="1178702" y="83790"/>
                  </a:cubicBezTo>
                  <a:lnTo>
                    <a:pt x="1178321" y="84265"/>
                  </a:lnTo>
                  <a:lnTo>
                    <a:pt x="1231609" y="137805"/>
                  </a:lnTo>
                  <a:lnTo>
                    <a:pt x="1239221" y="145399"/>
                  </a:lnTo>
                  <a:lnTo>
                    <a:pt x="1415165" y="322252"/>
                  </a:lnTo>
                  <a:lnTo>
                    <a:pt x="1371584" y="366205"/>
                  </a:lnTo>
                  <a:lnTo>
                    <a:pt x="1076218" y="69171"/>
                  </a:lnTo>
                  <a:cubicBezTo>
                    <a:pt x="1092014" y="63285"/>
                    <a:pt x="1109238" y="60722"/>
                    <a:pt x="1125700" y="61861"/>
                  </a:cubicBezTo>
                  <a:close/>
                  <a:moveTo>
                    <a:pt x="945854" y="61861"/>
                  </a:moveTo>
                  <a:cubicBezTo>
                    <a:pt x="965837" y="63285"/>
                    <a:pt x="984012" y="71164"/>
                    <a:pt x="998856" y="83790"/>
                  </a:cubicBezTo>
                  <a:lnTo>
                    <a:pt x="998476" y="84265"/>
                  </a:lnTo>
                  <a:lnTo>
                    <a:pt x="1051763" y="137805"/>
                  </a:lnTo>
                  <a:lnTo>
                    <a:pt x="1059376" y="145399"/>
                  </a:lnTo>
                  <a:lnTo>
                    <a:pt x="1325338" y="412815"/>
                  </a:lnTo>
                  <a:lnTo>
                    <a:pt x="1281756" y="456767"/>
                  </a:lnTo>
                  <a:lnTo>
                    <a:pt x="896373" y="69266"/>
                  </a:lnTo>
                  <a:cubicBezTo>
                    <a:pt x="912169" y="63285"/>
                    <a:pt x="929392" y="60722"/>
                    <a:pt x="945854" y="61861"/>
                  </a:cubicBezTo>
                  <a:close/>
                  <a:moveTo>
                    <a:pt x="710913" y="71639"/>
                  </a:moveTo>
                  <a:cubicBezTo>
                    <a:pt x="728327" y="64045"/>
                    <a:pt x="747643" y="60627"/>
                    <a:pt x="766104" y="61956"/>
                  </a:cubicBezTo>
                  <a:cubicBezTo>
                    <a:pt x="786087" y="63380"/>
                    <a:pt x="804261" y="71259"/>
                    <a:pt x="819106" y="83885"/>
                  </a:cubicBezTo>
                  <a:lnTo>
                    <a:pt x="818725" y="84360"/>
                  </a:lnTo>
                  <a:lnTo>
                    <a:pt x="872013" y="137900"/>
                  </a:lnTo>
                  <a:lnTo>
                    <a:pt x="879625" y="145494"/>
                  </a:lnTo>
                  <a:lnTo>
                    <a:pt x="1235700" y="503472"/>
                  </a:lnTo>
                  <a:lnTo>
                    <a:pt x="1187551" y="551981"/>
                  </a:lnTo>
                  <a:lnTo>
                    <a:pt x="710913" y="71639"/>
                  </a:lnTo>
                  <a:close/>
                  <a:moveTo>
                    <a:pt x="552858" y="953532"/>
                  </a:moveTo>
                  <a:cubicBezTo>
                    <a:pt x="532876" y="952108"/>
                    <a:pt x="514701" y="944229"/>
                    <a:pt x="499856" y="931604"/>
                  </a:cubicBezTo>
                  <a:lnTo>
                    <a:pt x="500237" y="931224"/>
                  </a:lnTo>
                  <a:lnTo>
                    <a:pt x="446949" y="877684"/>
                  </a:lnTo>
                  <a:lnTo>
                    <a:pt x="439337" y="870089"/>
                  </a:lnTo>
                  <a:lnTo>
                    <a:pt x="263393" y="693236"/>
                  </a:lnTo>
                  <a:lnTo>
                    <a:pt x="306974" y="649284"/>
                  </a:lnTo>
                  <a:lnTo>
                    <a:pt x="602340" y="946223"/>
                  </a:lnTo>
                  <a:cubicBezTo>
                    <a:pt x="586544" y="952013"/>
                    <a:pt x="569321" y="954671"/>
                    <a:pt x="552858" y="953532"/>
                  </a:cubicBezTo>
                  <a:close/>
                  <a:moveTo>
                    <a:pt x="732704" y="953532"/>
                  </a:moveTo>
                  <a:cubicBezTo>
                    <a:pt x="712721" y="952108"/>
                    <a:pt x="694546" y="944229"/>
                    <a:pt x="679702" y="931604"/>
                  </a:cubicBezTo>
                  <a:lnTo>
                    <a:pt x="680178" y="931224"/>
                  </a:lnTo>
                  <a:lnTo>
                    <a:pt x="626890" y="877684"/>
                  </a:lnTo>
                  <a:lnTo>
                    <a:pt x="619278" y="870089"/>
                  </a:lnTo>
                  <a:lnTo>
                    <a:pt x="353316" y="602484"/>
                  </a:lnTo>
                  <a:lnTo>
                    <a:pt x="396897" y="558531"/>
                  </a:lnTo>
                  <a:lnTo>
                    <a:pt x="782280" y="946033"/>
                  </a:lnTo>
                  <a:cubicBezTo>
                    <a:pt x="766389" y="952013"/>
                    <a:pt x="749166" y="954671"/>
                    <a:pt x="732704" y="953532"/>
                  </a:cubicBezTo>
                  <a:close/>
                  <a:moveTo>
                    <a:pt x="912549" y="953532"/>
                  </a:moveTo>
                  <a:cubicBezTo>
                    <a:pt x="892566" y="952108"/>
                    <a:pt x="874392" y="944229"/>
                    <a:pt x="859547" y="931604"/>
                  </a:cubicBezTo>
                  <a:lnTo>
                    <a:pt x="859928" y="931224"/>
                  </a:lnTo>
                  <a:lnTo>
                    <a:pt x="806640" y="877684"/>
                  </a:lnTo>
                  <a:lnTo>
                    <a:pt x="799028" y="870089"/>
                  </a:lnTo>
                  <a:lnTo>
                    <a:pt x="442953" y="512111"/>
                  </a:lnTo>
                  <a:lnTo>
                    <a:pt x="491102" y="463602"/>
                  </a:lnTo>
                  <a:lnTo>
                    <a:pt x="967550" y="943944"/>
                  </a:lnTo>
                  <a:cubicBezTo>
                    <a:pt x="950326" y="951349"/>
                    <a:pt x="931010" y="954766"/>
                    <a:pt x="912549" y="953532"/>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5" name="Freeform 14">
              <a:extLst>
                <a:ext uri="{FF2B5EF4-FFF2-40B4-BE49-F238E27FC236}">
                  <a16:creationId xmlns:a16="http://schemas.microsoft.com/office/drawing/2014/main" id="{2AF09B77-B47E-D34D-8A63-4036476D7C1F}"/>
                </a:ext>
              </a:extLst>
            </p:cNvPr>
            <p:cNvSpPr/>
            <p:nvPr/>
          </p:nvSpPr>
          <p:spPr>
            <a:xfrm>
              <a:off x="8075370" y="-1393648"/>
              <a:ext cx="186076" cy="184922"/>
            </a:xfrm>
            <a:custGeom>
              <a:avLst/>
              <a:gdLst>
                <a:gd name="connsiteX0" fmla="*/ 143637 w 186076"/>
                <a:gd name="connsiteY0" fmla="*/ 87620 h 184922"/>
                <a:gd name="connsiteX1" fmla="*/ 142590 w 186076"/>
                <a:gd name="connsiteY1" fmla="*/ 87620 h 184922"/>
                <a:gd name="connsiteX2" fmla="*/ 142590 w 186076"/>
                <a:gd name="connsiteY2" fmla="*/ 87335 h 184922"/>
                <a:gd name="connsiteX3" fmla="*/ 142400 w 186076"/>
                <a:gd name="connsiteY3" fmla="*/ 87335 h 184922"/>
                <a:gd name="connsiteX4" fmla="*/ 140211 w 186076"/>
                <a:gd name="connsiteY4" fmla="*/ 85152 h 184922"/>
                <a:gd name="connsiteX5" fmla="*/ 142400 w 186076"/>
                <a:gd name="connsiteY5" fmla="*/ 83063 h 184922"/>
                <a:gd name="connsiteX6" fmla="*/ 147633 w 186076"/>
                <a:gd name="connsiteY6" fmla="*/ 83063 h 184922"/>
                <a:gd name="connsiteX7" fmla="*/ 178940 w 186076"/>
                <a:gd name="connsiteY7" fmla="*/ 48129 h 184922"/>
                <a:gd name="connsiteX8" fmla="*/ 178940 w 186076"/>
                <a:gd name="connsiteY8" fmla="*/ 35314 h 184922"/>
                <a:gd name="connsiteX9" fmla="*/ 143637 w 186076"/>
                <a:gd name="connsiteY9" fmla="*/ 95 h 184922"/>
                <a:gd name="connsiteX10" fmla="*/ 1854 w 186076"/>
                <a:gd name="connsiteY10" fmla="*/ 0 h 184922"/>
                <a:gd name="connsiteX11" fmla="*/ 141 w 186076"/>
                <a:gd name="connsiteY11" fmla="*/ 1709 h 184922"/>
                <a:gd name="connsiteX12" fmla="*/ 141 w 186076"/>
                <a:gd name="connsiteY12" fmla="*/ 23922 h 184922"/>
                <a:gd name="connsiteX13" fmla="*/ 807 w 186076"/>
                <a:gd name="connsiteY13" fmla="*/ 25916 h 184922"/>
                <a:gd name="connsiteX14" fmla="*/ 2996 w 186076"/>
                <a:gd name="connsiteY14" fmla="*/ 26390 h 184922"/>
                <a:gd name="connsiteX15" fmla="*/ 19933 w 186076"/>
                <a:gd name="connsiteY15" fmla="*/ 36833 h 184922"/>
                <a:gd name="connsiteX16" fmla="*/ 19933 w 186076"/>
                <a:gd name="connsiteY16" fmla="*/ 147330 h 184922"/>
                <a:gd name="connsiteX17" fmla="*/ 2615 w 186076"/>
                <a:gd name="connsiteY17" fmla="*/ 157867 h 184922"/>
                <a:gd name="connsiteX18" fmla="*/ 617 w 186076"/>
                <a:gd name="connsiteY18" fmla="*/ 159101 h 184922"/>
                <a:gd name="connsiteX19" fmla="*/ 46 w 186076"/>
                <a:gd name="connsiteY19" fmla="*/ 161570 h 184922"/>
                <a:gd name="connsiteX20" fmla="*/ 46 w 186076"/>
                <a:gd name="connsiteY20" fmla="*/ 183119 h 184922"/>
                <a:gd name="connsiteX21" fmla="*/ 1758 w 186076"/>
                <a:gd name="connsiteY21" fmla="*/ 184827 h 184922"/>
                <a:gd name="connsiteX22" fmla="*/ 19838 w 186076"/>
                <a:gd name="connsiteY22" fmla="*/ 184827 h 184922"/>
                <a:gd name="connsiteX23" fmla="*/ 21456 w 186076"/>
                <a:gd name="connsiteY23" fmla="*/ 184922 h 184922"/>
                <a:gd name="connsiteX24" fmla="*/ 143541 w 186076"/>
                <a:gd name="connsiteY24" fmla="*/ 184922 h 184922"/>
                <a:gd name="connsiteX25" fmla="*/ 186076 w 186076"/>
                <a:gd name="connsiteY25" fmla="*/ 141160 h 184922"/>
                <a:gd name="connsiteX26" fmla="*/ 186076 w 186076"/>
                <a:gd name="connsiteY26" fmla="*/ 122839 h 184922"/>
                <a:gd name="connsiteX27" fmla="*/ 143637 w 186076"/>
                <a:gd name="connsiteY27" fmla="*/ 87620 h 184922"/>
                <a:gd name="connsiteX28" fmla="*/ 137927 w 186076"/>
                <a:gd name="connsiteY28" fmla="*/ 130718 h 184922"/>
                <a:gd name="connsiteX29" fmla="*/ 111569 w 186076"/>
                <a:gd name="connsiteY29" fmla="*/ 154545 h 184922"/>
                <a:gd name="connsiteX30" fmla="*/ 70271 w 186076"/>
                <a:gd name="connsiteY30" fmla="*/ 154545 h 184922"/>
                <a:gd name="connsiteX31" fmla="*/ 68653 w 186076"/>
                <a:gd name="connsiteY31" fmla="*/ 154165 h 184922"/>
                <a:gd name="connsiteX32" fmla="*/ 67797 w 186076"/>
                <a:gd name="connsiteY32" fmla="*/ 152362 h 184922"/>
                <a:gd name="connsiteX33" fmla="*/ 67797 w 186076"/>
                <a:gd name="connsiteY33" fmla="*/ 33320 h 184922"/>
                <a:gd name="connsiteX34" fmla="*/ 68558 w 186076"/>
                <a:gd name="connsiteY34" fmla="*/ 30852 h 184922"/>
                <a:gd name="connsiteX35" fmla="*/ 70842 w 186076"/>
                <a:gd name="connsiteY35" fmla="*/ 30282 h 184922"/>
                <a:gd name="connsiteX36" fmla="*/ 111569 w 186076"/>
                <a:gd name="connsiteY36" fmla="*/ 30282 h 184922"/>
                <a:gd name="connsiteX37" fmla="*/ 129173 w 186076"/>
                <a:gd name="connsiteY37" fmla="*/ 46136 h 184922"/>
                <a:gd name="connsiteX38" fmla="*/ 129173 w 186076"/>
                <a:gd name="connsiteY38" fmla="*/ 56673 h 184922"/>
                <a:gd name="connsiteX39" fmla="*/ 111188 w 186076"/>
                <a:gd name="connsiteY39" fmla="*/ 74140 h 184922"/>
                <a:gd name="connsiteX40" fmla="*/ 92633 w 186076"/>
                <a:gd name="connsiteY40" fmla="*/ 74330 h 184922"/>
                <a:gd name="connsiteX41" fmla="*/ 86923 w 186076"/>
                <a:gd name="connsiteY41" fmla="*/ 80025 h 184922"/>
                <a:gd name="connsiteX42" fmla="*/ 86923 w 186076"/>
                <a:gd name="connsiteY42" fmla="*/ 99961 h 184922"/>
                <a:gd name="connsiteX43" fmla="*/ 92633 w 186076"/>
                <a:gd name="connsiteY43" fmla="*/ 105656 h 184922"/>
                <a:gd name="connsiteX44" fmla="*/ 113377 w 186076"/>
                <a:gd name="connsiteY44" fmla="*/ 105656 h 184922"/>
                <a:gd name="connsiteX45" fmla="*/ 137927 w 186076"/>
                <a:gd name="connsiteY45" fmla="*/ 122649 h 184922"/>
                <a:gd name="connsiteX46" fmla="*/ 137927 w 186076"/>
                <a:gd name="connsiteY46" fmla="*/ 130718 h 18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076" h="184922">
                  <a:moveTo>
                    <a:pt x="143637" y="87620"/>
                  </a:moveTo>
                  <a:lnTo>
                    <a:pt x="142590" y="87620"/>
                  </a:lnTo>
                  <a:lnTo>
                    <a:pt x="142590" y="87335"/>
                  </a:lnTo>
                  <a:lnTo>
                    <a:pt x="142400" y="87335"/>
                  </a:lnTo>
                  <a:cubicBezTo>
                    <a:pt x="141258" y="87335"/>
                    <a:pt x="140211" y="86386"/>
                    <a:pt x="140211" y="85152"/>
                  </a:cubicBezTo>
                  <a:cubicBezTo>
                    <a:pt x="140211" y="84012"/>
                    <a:pt x="141163" y="83063"/>
                    <a:pt x="142400" y="83063"/>
                  </a:cubicBezTo>
                  <a:lnTo>
                    <a:pt x="147633" y="83063"/>
                  </a:lnTo>
                  <a:cubicBezTo>
                    <a:pt x="165237" y="81070"/>
                    <a:pt x="178940" y="66166"/>
                    <a:pt x="178940" y="48129"/>
                  </a:cubicBezTo>
                  <a:lnTo>
                    <a:pt x="178940" y="35314"/>
                  </a:lnTo>
                  <a:cubicBezTo>
                    <a:pt x="178940" y="15853"/>
                    <a:pt x="163144" y="95"/>
                    <a:pt x="143637" y="95"/>
                  </a:cubicBezTo>
                  <a:lnTo>
                    <a:pt x="1854" y="0"/>
                  </a:lnTo>
                  <a:cubicBezTo>
                    <a:pt x="902" y="0"/>
                    <a:pt x="141" y="759"/>
                    <a:pt x="141" y="1709"/>
                  </a:cubicBezTo>
                  <a:cubicBezTo>
                    <a:pt x="141" y="1709"/>
                    <a:pt x="46" y="23922"/>
                    <a:pt x="141" y="23922"/>
                  </a:cubicBezTo>
                  <a:cubicBezTo>
                    <a:pt x="141" y="23922"/>
                    <a:pt x="-49" y="25156"/>
                    <a:pt x="807" y="25916"/>
                  </a:cubicBezTo>
                  <a:cubicBezTo>
                    <a:pt x="1283" y="26295"/>
                    <a:pt x="2996" y="26390"/>
                    <a:pt x="2996" y="26390"/>
                  </a:cubicBezTo>
                  <a:cubicBezTo>
                    <a:pt x="9561" y="27150"/>
                    <a:pt x="19933" y="32466"/>
                    <a:pt x="19933" y="36833"/>
                  </a:cubicBezTo>
                  <a:lnTo>
                    <a:pt x="19933" y="147330"/>
                  </a:lnTo>
                  <a:cubicBezTo>
                    <a:pt x="19743" y="152172"/>
                    <a:pt x="10418" y="156538"/>
                    <a:pt x="2615" y="157867"/>
                  </a:cubicBezTo>
                  <a:cubicBezTo>
                    <a:pt x="2615" y="157867"/>
                    <a:pt x="1473" y="158342"/>
                    <a:pt x="617" y="159101"/>
                  </a:cubicBezTo>
                  <a:cubicBezTo>
                    <a:pt x="-240" y="159956"/>
                    <a:pt x="46" y="161570"/>
                    <a:pt x="46" y="161570"/>
                  </a:cubicBezTo>
                  <a:cubicBezTo>
                    <a:pt x="-49" y="161570"/>
                    <a:pt x="46" y="183119"/>
                    <a:pt x="46" y="183119"/>
                  </a:cubicBezTo>
                  <a:cubicBezTo>
                    <a:pt x="46" y="184068"/>
                    <a:pt x="807" y="184827"/>
                    <a:pt x="1758" y="184827"/>
                  </a:cubicBezTo>
                  <a:lnTo>
                    <a:pt x="19838" y="184827"/>
                  </a:lnTo>
                  <a:cubicBezTo>
                    <a:pt x="20409" y="184827"/>
                    <a:pt x="20980" y="184922"/>
                    <a:pt x="21456" y="184922"/>
                  </a:cubicBezTo>
                  <a:lnTo>
                    <a:pt x="143541" y="184922"/>
                  </a:lnTo>
                  <a:cubicBezTo>
                    <a:pt x="168568" y="184922"/>
                    <a:pt x="186076" y="160620"/>
                    <a:pt x="186076" y="141160"/>
                  </a:cubicBezTo>
                  <a:lnTo>
                    <a:pt x="186076" y="122839"/>
                  </a:lnTo>
                  <a:cubicBezTo>
                    <a:pt x="186172" y="103378"/>
                    <a:pt x="175038" y="87620"/>
                    <a:pt x="143637" y="87620"/>
                  </a:cubicBezTo>
                  <a:close/>
                  <a:moveTo>
                    <a:pt x="137927" y="130718"/>
                  </a:moveTo>
                  <a:cubicBezTo>
                    <a:pt x="138118" y="149229"/>
                    <a:pt x="126889" y="154545"/>
                    <a:pt x="111569" y="154545"/>
                  </a:cubicBezTo>
                  <a:lnTo>
                    <a:pt x="70271" y="154545"/>
                  </a:lnTo>
                  <a:lnTo>
                    <a:pt x="68653" y="154165"/>
                  </a:lnTo>
                  <a:cubicBezTo>
                    <a:pt x="67797" y="153311"/>
                    <a:pt x="67797" y="152362"/>
                    <a:pt x="67797" y="152362"/>
                  </a:cubicBezTo>
                  <a:lnTo>
                    <a:pt x="67797" y="33320"/>
                  </a:lnTo>
                  <a:cubicBezTo>
                    <a:pt x="67797" y="33320"/>
                    <a:pt x="67797" y="31327"/>
                    <a:pt x="68558" y="30852"/>
                  </a:cubicBezTo>
                  <a:cubicBezTo>
                    <a:pt x="69224" y="30282"/>
                    <a:pt x="70842" y="30282"/>
                    <a:pt x="70842" y="30282"/>
                  </a:cubicBezTo>
                  <a:lnTo>
                    <a:pt x="111569" y="30282"/>
                  </a:lnTo>
                  <a:cubicBezTo>
                    <a:pt x="120323" y="30282"/>
                    <a:pt x="129173" y="37402"/>
                    <a:pt x="129173" y="46136"/>
                  </a:cubicBezTo>
                  <a:lnTo>
                    <a:pt x="129173" y="56673"/>
                  </a:lnTo>
                  <a:cubicBezTo>
                    <a:pt x="129363" y="61704"/>
                    <a:pt x="121560" y="74804"/>
                    <a:pt x="111188" y="74140"/>
                  </a:cubicBezTo>
                  <a:lnTo>
                    <a:pt x="92633" y="74330"/>
                  </a:lnTo>
                  <a:cubicBezTo>
                    <a:pt x="89493" y="74330"/>
                    <a:pt x="86923" y="76893"/>
                    <a:pt x="86923" y="80025"/>
                  </a:cubicBezTo>
                  <a:lnTo>
                    <a:pt x="86923" y="99961"/>
                  </a:lnTo>
                  <a:cubicBezTo>
                    <a:pt x="86923" y="103093"/>
                    <a:pt x="89493" y="105656"/>
                    <a:pt x="92633" y="105656"/>
                  </a:cubicBezTo>
                  <a:lnTo>
                    <a:pt x="113377" y="105656"/>
                  </a:lnTo>
                  <a:cubicBezTo>
                    <a:pt x="132884" y="106795"/>
                    <a:pt x="137737" y="117902"/>
                    <a:pt x="137927" y="122649"/>
                  </a:cubicBezTo>
                  <a:lnTo>
                    <a:pt x="137927" y="130718"/>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6" name="Freeform 15">
              <a:extLst>
                <a:ext uri="{FF2B5EF4-FFF2-40B4-BE49-F238E27FC236}">
                  <a16:creationId xmlns:a16="http://schemas.microsoft.com/office/drawing/2014/main" id="{7D03E44C-3669-414D-8005-3F3BAB68BE54}"/>
                </a:ext>
              </a:extLst>
            </p:cNvPr>
            <p:cNvSpPr/>
            <p:nvPr/>
          </p:nvSpPr>
          <p:spPr>
            <a:xfrm>
              <a:off x="10610239" y="-1393648"/>
              <a:ext cx="186078" cy="184922"/>
            </a:xfrm>
            <a:custGeom>
              <a:avLst/>
              <a:gdLst>
                <a:gd name="connsiteX0" fmla="*/ 143732 w 186078"/>
                <a:gd name="connsiteY0" fmla="*/ 87620 h 184922"/>
                <a:gd name="connsiteX1" fmla="*/ 142685 w 186078"/>
                <a:gd name="connsiteY1" fmla="*/ 87620 h 184922"/>
                <a:gd name="connsiteX2" fmla="*/ 142685 w 186078"/>
                <a:gd name="connsiteY2" fmla="*/ 87335 h 184922"/>
                <a:gd name="connsiteX3" fmla="*/ 142399 w 186078"/>
                <a:gd name="connsiteY3" fmla="*/ 87335 h 184922"/>
                <a:gd name="connsiteX4" fmla="*/ 140306 w 186078"/>
                <a:gd name="connsiteY4" fmla="*/ 85152 h 184922"/>
                <a:gd name="connsiteX5" fmla="*/ 142399 w 186078"/>
                <a:gd name="connsiteY5" fmla="*/ 83063 h 184922"/>
                <a:gd name="connsiteX6" fmla="*/ 147633 w 186078"/>
                <a:gd name="connsiteY6" fmla="*/ 83063 h 184922"/>
                <a:gd name="connsiteX7" fmla="*/ 178939 w 186078"/>
                <a:gd name="connsiteY7" fmla="*/ 48129 h 184922"/>
                <a:gd name="connsiteX8" fmla="*/ 178939 w 186078"/>
                <a:gd name="connsiteY8" fmla="*/ 35314 h 184922"/>
                <a:gd name="connsiteX9" fmla="*/ 143637 w 186078"/>
                <a:gd name="connsiteY9" fmla="*/ 95 h 184922"/>
                <a:gd name="connsiteX10" fmla="*/ 1854 w 186078"/>
                <a:gd name="connsiteY10" fmla="*/ 0 h 184922"/>
                <a:gd name="connsiteX11" fmla="*/ 141 w 186078"/>
                <a:gd name="connsiteY11" fmla="*/ 1709 h 184922"/>
                <a:gd name="connsiteX12" fmla="*/ 141 w 186078"/>
                <a:gd name="connsiteY12" fmla="*/ 23922 h 184922"/>
                <a:gd name="connsiteX13" fmla="*/ 902 w 186078"/>
                <a:gd name="connsiteY13" fmla="*/ 25916 h 184922"/>
                <a:gd name="connsiteX14" fmla="*/ 2995 w 186078"/>
                <a:gd name="connsiteY14" fmla="*/ 26390 h 184922"/>
                <a:gd name="connsiteX15" fmla="*/ 19933 w 186078"/>
                <a:gd name="connsiteY15" fmla="*/ 36833 h 184922"/>
                <a:gd name="connsiteX16" fmla="*/ 19933 w 186078"/>
                <a:gd name="connsiteY16" fmla="*/ 147330 h 184922"/>
                <a:gd name="connsiteX17" fmla="*/ 2615 w 186078"/>
                <a:gd name="connsiteY17" fmla="*/ 157867 h 184922"/>
                <a:gd name="connsiteX18" fmla="*/ 617 w 186078"/>
                <a:gd name="connsiteY18" fmla="*/ 159101 h 184922"/>
                <a:gd name="connsiteX19" fmla="*/ 46 w 186078"/>
                <a:gd name="connsiteY19" fmla="*/ 161570 h 184922"/>
                <a:gd name="connsiteX20" fmla="*/ 46 w 186078"/>
                <a:gd name="connsiteY20" fmla="*/ 183119 h 184922"/>
                <a:gd name="connsiteX21" fmla="*/ 1758 w 186078"/>
                <a:gd name="connsiteY21" fmla="*/ 184827 h 184922"/>
                <a:gd name="connsiteX22" fmla="*/ 19838 w 186078"/>
                <a:gd name="connsiteY22" fmla="*/ 184827 h 184922"/>
                <a:gd name="connsiteX23" fmla="*/ 21456 w 186078"/>
                <a:gd name="connsiteY23" fmla="*/ 184922 h 184922"/>
                <a:gd name="connsiteX24" fmla="*/ 143541 w 186078"/>
                <a:gd name="connsiteY24" fmla="*/ 184922 h 184922"/>
                <a:gd name="connsiteX25" fmla="*/ 186076 w 186078"/>
                <a:gd name="connsiteY25" fmla="*/ 141160 h 184922"/>
                <a:gd name="connsiteX26" fmla="*/ 186076 w 186078"/>
                <a:gd name="connsiteY26" fmla="*/ 122839 h 184922"/>
                <a:gd name="connsiteX27" fmla="*/ 143732 w 186078"/>
                <a:gd name="connsiteY27" fmla="*/ 87620 h 184922"/>
                <a:gd name="connsiteX28" fmla="*/ 138022 w 186078"/>
                <a:gd name="connsiteY28" fmla="*/ 130718 h 184922"/>
                <a:gd name="connsiteX29" fmla="*/ 111664 w 186078"/>
                <a:gd name="connsiteY29" fmla="*/ 154545 h 184922"/>
                <a:gd name="connsiteX30" fmla="*/ 70366 w 186078"/>
                <a:gd name="connsiteY30" fmla="*/ 154545 h 184922"/>
                <a:gd name="connsiteX31" fmla="*/ 68749 w 186078"/>
                <a:gd name="connsiteY31" fmla="*/ 154165 h 184922"/>
                <a:gd name="connsiteX32" fmla="*/ 67892 w 186078"/>
                <a:gd name="connsiteY32" fmla="*/ 152362 h 184922"/>
                <a:gd name="connsiteX33" fmla="*/ 67892 w 186078"/>
                <a:gd name="connsiteY33" fmla="*/ 33320 h 184922"/>
                <a:gd name="connsiteX34" fmla="*/ 68653 w 186078"/>
                <a:gd name="connsiteY34" fmla="*/ 30852 h 184922"/>
                <a:gd name="connsiteX35" fmla="*/ 70937 w 186078"/>
                <a:gd name="connsiteY35" fmla="*/ 30282 h 184922"/>
                <a:gd name="connsiteX36" fmla="*/ 111664 w 186078"/>
                <a:gd name="connsiteY36" fmla="*/ 30282 h 184922"/>
                <a:gd name="connsiteX37" fmla="*/ 129268 w 186078"/>
                <a:gd name="connsiteY37" fmla="*/ 46136 h 184922"/>
                <a:gd name="connsiteX38" fmla="*/ 129268 w 186078"/>
                <a:gd name="connsiteY38" fmla="*/ 56673 h 184922"/>
                <a:gd name="connsiteX39" fmla="*/ 111283 w 186078"/>
                <a:gd name="connsiteY39" fmla="*/ 74140 h 184922"/>
                <a:gd name="connsiteX40" fmla="*/ 92728 w 186078"/>
                <a:gd name="connsiteY40" fmla="*/ 74330 h 184922"/>
                <a:gd name="connsiteX41" fmla="*/ 87018 w 186078"/>
                <a:gd name="connsiteY41" fmla="*/ 80025 h 184922"/>
                <a:gd name="connsiteX42" fmla="*/ 87018 w 186078"/>
                <a:gd name="connsiteY42" fmla="*/ 99961 h 184922"/>
                <a:gd name="connsiteX43" fmla="*/ 92728 w 186078"/>
                <a:gd name="connsiteY43" fmla="*/ 105656 h 184922"/>
                <a:gd name="connsiteX44" fmla="*/ 113472 w 186078"/>
                <a:gd name="connsiteY44" fmla="*/ 105656 h 184922"/>
                <a:gd name="connsiteX45" fmla="*/ 138022 w 186078"/>
                <a:gd name="connsiteY45" fmla="*/ 122649 h 184922"/>
                <a:gd name="connsiteX46" fmla="*/ 138022 w 186078"/>
                <a:gd name="connsiteY46" fmla="*/ 130718 h 18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078" h="184922">
                  <a:moveTo>
                    <a:pt x="143732" y="87620"/>
                  </a:moveTo>
                  <a:lnTo>
                    <a:pt x="142685" y="87620"/>
                  </a:lnTo>
                  <a:lnTo>
                    <a:pt x="142685" y="87335"/>
                  </a:lnTo>
                  <a:lnTo>
                    <a:pt x="142399" y="87335"/>
                  </a:lnTo>
                  <a:cubicBezTo>
                    <a:pt x="141258" y="87335"/>
                    <a:pt x="140306" y="86386"/>
                    <a:pt x="140306" y="85152"/>
                  </a:cubicBezTo>
                  <a:cubicBezTo>
                    <a:pt x="140306" y="84012"/>
                    <a:pt x="141258" y="83063"/>
                    <a:pt x="142399" y="83063"/>
                  </a:cubicBezTo>
                  <a:lnTo>
                    <a:pt x="147633" y="83063"/>
                  </a:lnTo>
                  <a:cubicBezTo>
                    <a:pt x="165237" y="81070"/>
                    <a:pt x="178939" y="66166"/>
                    <a:pt x="178939" y="48129"/>
                  </a:cubicBezTo>
                  <a:lnTo>
                    <a:pt x="178939" y="35314"/>
                  </a:lnTo>
                  <a:cubicBezTo>
                    <a:pt x="178939" y="15853"/>
                    <a:pt x="163144" y="95"/>
                    <a:pt x="143637" y="95"/>
                  </a:cubicBezTo>
                  <a:lnTo>
                    <a:pt x="1854" y="0"/>
                  </a:lnTo>
                  <a:cubicBezTo>
                    <a:pt x="902" y="0"/>
                    <a:pt x="141" y="759"/>
                    <a:pt x="141" y="1709"/>
                  </a:cubicBezTo>
                  <a:cubicBezTo>
                    <a:pt x="141" y="1709"/>
                    <a:pt x="46" y="23922"/>
                    <a:pt x="141" y="23922"/>
                  </a:cubicBezTo>
                  <a:cubicBezTo>
                    <a:pt x="141" y="23922"/>
                    <a:pt x="-50" y="25156"/>
                    <a:pt x="902" y="25916"/>
                  </a:cubicBezTo>
                  <a:cubicBezTo>
                    <a:pt x="1378" y="26295"/>
                    <a:pt x="2995" y="26390"/>
                    <a:pt x="2995" y="26390"/>
                  </a:cubicBezTo>
                  <a:cubicBezTo>
                    <a:pt x="9561" y="27150"/>
                    <a:pt x="19933" y="32466"/>
                    <a:pt x="19933" y="36833"/>
                  </a:cubicBezTo>
                  <a:lnTo>
                    <a:pt x="19933" y="147330"/>
                  </a:lnTo>
                  <a:cubicBezTo>
                    <a:pt x="19743" y="152172"/>
                    <a:pt x="10418" y="156538"/>
                    <a:pt x="2615" y="157867"/>
                  </a:cubicBezTo>
                  <a:cubicBezTo>
                    <a:pt x="2615" y="157867"/>
                    <a:pt x="1473" y="158342"/>
                    <a:pt x="617" y="159101"/>
                  </a:cubicBezTo>
                  <a:cubicBezTo>
                    <a:pt x="-240" y="159956"/>
                    <a:pt x="46" y="161570"/>
                    <a:pt x="46" y="161570"/>
                  </a:cubicBezTo>
                  <a:cubicBezTo>
                    <a:pt x="-50" y="161570"/>
                    <a:pt x="46" y="183119"/>
                    <a:pt x="46" y="183119"/>
                  </a:cubicBezTo>
                  <a:cubicBezTo>
                    <a:pt x="46" y="184068"/>
                    <a:pt x="807" y="184827"/>
                    <a:pt x="1758" y="184827"/>
                  </a:cubicBezTo>
                  <a:lnTo>
                    <a:pt x="19838" y="184827"/>
                  </a:lnTo>
                  <a:cubicBezTo>
                    <a:pt x="20409" y="184827"/>
                    <a:pt x="20980" y="184922"/>
                    <a:pt x="21456" y="184922"/>
                  </a:cubicBezTo>
                  <a:lnTo>
                    <a:pt x="143541" y="184922"/>
                  </a:lnTo>
                  <a:cubicBezTo>
                    <a:pt x="168567" y="184922"/>
                    <a:pt x="186076" y="160620"/>
                    <a:pt x="186076" y="141160"/>
                  </a:cubicBezTo>
                  <a:lnTo>
                    <a:pt x="186076" y="122839"/>
                  </a:lnTo>
                  <a:cubicBezTo>
                    <a:pt x="186267" y="103378"/>
                    <a:pt x="175229" y="87620"/>
                    <a:pt x="143732" y="87620"/>
                  </a:cubicBezTo>
                  <a:close/>
                  <a:moveTo>
                    <a:pt x="138022" y="130718"/>
                  </a:moveTo>
                  <a:cubicBezTo>
                    <a:pt x="138213" y="149229"/>
                    <a:pt x="126984" y="154545"/>
                    <a:pt x="111664" y="154545"/>
                  </a:cubicBezTo>
                  <a:lnTo>
                    <a:pt x="70366" y="154545"/>
                  </a:lnTo>
                  <a:lnTo>
                    <a:pt x="68749" y="154165"/>
                  </a:lnTo>
                  <a:cubicBezTo>
                    <a:pt x="67892" y="153311"/>
                    <a:pt x="67892" y="152362"/>
                    <a:pt x="67892" y="152362"/>
                  </a:cubicBezTo>
                  <a:lnTo>
                    <a:pt x="67892" y="33320"/>
                  </a:lnTo>
                  <a:cubicBezTo>
                    <a:pt x="67892" y="33320"/>
                    <a:pt x="67892" y="31327"/>
                    <a:pt x="68653" y="30852"/>
                  </a:cubicBezTo>
                  <a:cubicBezTo>
                    <a:pt x="69319" y="30282"/>
                    <a:pt x="70937" y="30282"/>
                    <a:pt x="70937" y="30282"/>
                  </a:cubicBezTo>
                  <a:lnTo>
                    <a:pt x="111664" y="30282"/>
                  </a:lnTo>
                  <a:cubicBezTo>
                    <a:pt x="120418" y="30282"/>
                    <a:pt x="129268" y="37402"/>
                    <a:pt x="129268" y="46136"/>
                  </a:cubicBezTo>
                  <a:lnTo>
                    <a:pt x="129268" y="56673"/>
                  </a:lnTo>
                  <a:cubicBezTo>
                    <a:pt x="129458" y="61704"/>
                    <a:pt x="121655" y="74804"/>
                    <a:pt x="111283" y="74140"/>
                  </a:cubicBezTo>
                  <a:lnTo>
                    <a:pt x="92728" y="74330"/>
                  </a:lnTo>
                  <a:cubicBezTo>
                    <a:pt x="89588" y="74330"/>
                    <a:pt x="87018" y="76893"/>
                    <a:pt x="87018" y="80025"/>
                  </a:cubicBezTo>
                  <a:lnTo>
                    <a:pt x="87018" y="99961"/>
                  </a:lnTo>
                  <a:cubicBezTo>
                    <a:pt x="87018" y="103093"/>
                    <a:pt x="89588" y="105656"/>
                    <a:pt x="92728" y="105656"/>
                  </a:cubicBezTo>
                  <a:lnTo>
                    <a:pt x="113472" y="105656"/>
                  </a:lnTo>
                  <a:cubicBezTo>
                    <a:pt x="132979" y="106795"/>
                    <a:pt x="137832" y="117902"/>
                    <a:pt x="138022" y="122649"/>
                  </a:cubicBezTo>
                  <a:lnTo>
                    <a:pt x="138022" y="130718"/>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7" name="Freeform 16">
              <a:extLst>
                <a:ext uri="{FF2B5EF4-FFF2-40B4-BE49-F238E27FC236}">
                  <a16:creationId xmlns:a16="http://schemas.microsoft.com/office/drawing/2014/main" id="{39A25FBB-EB7E-D64C-B061-BD358DB5C920}"/>
                </a:ext>
              </a:extLst>
            </p:cNvPr>
            <p:cNvSpPr/>
            <p:nvPr/>
          </p:nvSpPr>
          <p:spPr>
            <a:xfrm>
              <a:off x="8462035" y="-1393850"/>
              <a:ext cx="184238" cy="185315"/>
            </a:xfrm>
            <a:custGeom>
              <a:avLst/>
              <a:gdLst>
                <a:gd name="connsiteX0" fmla="*/ 178513 w 184238"/>
                <a:gd name="connsiteY0" fmla="*/ 13 h 185315"/>
                <a:gd name="connsiteX1" fmla="*/ 121800 w 184238"/>
                <a:gd name="connsiteY1" fmla="*/ 13 h 185315"/>
                <a:gd name="connsiteX2" fmla="*/ 116091 w 184238"/>
                <a:gd name="connsiteY2" fmla="*/ 5709 h 185315"/>
                <a:gd name="connsiteX3" fmla="*/ 116091 w 184238"/>
                <a:gd name="connsiteY3" fmla="*/ 19094 h 185315"/>
                <a:gd name="connsiteX4" fmla="*/ 121229 w 184238"/>
                <a:gd name="connsiteY4" fmla="*/ 20803 h 185315"/>
                <a:gd name="connsiteX5" fmla="*/ 125892 w 184238"/>
                <a:gd name="connsiteY5" fmla="*/ 23650 h 185315"/>
                <a:gd name="connsiteX6" fmla="*/ 126748 w 184238"/>
                <a:gd name="connsiteY6" fmla="*/ 25834 h 185315"/>
                <a:gd name="connsiteX7" fmla="*/ 124465 w 184238"/>
                <a:gd name="connsiteY7" fmla="*/ 34188 h 185315"/>
                <a:gd name="connsiteX8" fmla="*/ 104957 w 184238"/>
                <a:gd name="connsiteY8" fmla="*/ 66274 h 185315"/>
                <a:gd name="connsiteX9" fmla="*/ 98487 w 184238"/>
                <a:gd name="connsiteY9" fmla="*/ 70546 h 185315"/>
                <a:gd name="connsiteX10" fmla="*/ 98011 w 184238"/>
                <a:gd name="connsiteY10" fmla="*/ 70546 h 185315"/>
                <a:gd name="connsiteX11" fmla="*/ 92587 w 184238"/>
                <a:gd name="connsiteY11" fmla="*/ 66559 h 185315"/>
                <a:gd name="connsiteX12" fmla="*/ 71272 w 184238"/>
                <a:gd name="connsiteY12" fmla="*/ 35707 h 185315"/>
                <a:gd name="connsiteX13" fmla="*/ 70891 w 184238"/>
                <a:gd name="connsiteY13" fmla="*/ 23366 h 185315"/>
                <a:gd name="connsiteX14" fmla="*/ 77648 w 184238"/>
                <a:gd name="connsiteY14" fmla="*/ 20233 h 185315"/>
                <a:gd name="connsiteX15" fmla="*/ 81359 w 184238"/>
                <a:gd name="connsiteY15" fmla="*/ 15676 h 185315"/>
                <a:gd name="connsiteX16" fmla="*/ 81359 w 184238"/>
                <a:gd name="connsiteY16" fmla="*/ 4570 h 185315"/>
                <a:gd name="connsiteX17" fmla="*/ 77552 w 184238"/>
                <a:gd name="connsiteY17" fmla="*/ 203 h 185315"/>
                <a:gd name="connsiteX18" fmla="*/ 5709 w 184238"/>
                <a:gd name="connsiteY18" fmla="*/ 203 h 185315"/>
                <a:gd name="connsiteX19" fmla="*/ 0 w 184238"/>
                <a:gd name="connsiteY19" fmla="*/ 3715 h 185315"/>
                <a:gd name="connsiteX20" fmla="*/ 0 w 184238"/>
                <a:gd name="connsiteY20" fmla="*/ 18239 h 185315"/>
                <a:gd name="connsiteX21" fmla="*/ 3235 w 184238"/>
                <a:gd name="connsiteY21" fmla="*/ 24790 h 185315"/>
                <a:gd name="connsiteX22" fmla="*/ 16367 w 184238"/>
                <a:gd name="connsiteY22" fmla="*/ 31340 h 185315"/>
                <a:gd name="connsiteX23" fmla="*/ 66895 w 184238"/>
                <a:gd name="connsiteY23" fmla="*/ 103391 h 185315"/>
                <a:gd name="connsiteX24" fmla="*/ 66895 w 184238"/>
                <a:gd name="connsiteY24" fmla="*/ 151995 h 185315"/>
                <a:gd name="connsiteX25" fmla="*/ 57094 w 184238"/>
                <a:gd name="connsiteY25" fmla="*/ 156741 h 185315"/>
                <a:gd name="connsiteX26" fmla="*/ 52336 w 184238"/>
                <a:gd name="connsiteY26" fmla="*/ 157691 h 185315"/>
                <a:gd name="connsiteX27" fmla="*/ 50718 w 184238"/>
                <a:gd name="connsiteY27" fmla="*/ 159115 h 185315"/>
                <a:gd name="connsiteX28" fmla="*/ 50623 w 184238"/>
                <a:gd name="connsiteY28" fmla="*/ 159115 h 185315"/>
                <a:gd name="connsiteX29" fmla="*/ 50623 w 184238"/>
                <a:gd name="connsiteY29" fmla="*/ 159399 h 185315"/>
                <a:gd name="connsiteX30" fmla="*/ 50623 w 184238"/>
                <a:gd name="connsiteY30" fmla="*/ 183606 h 185315"/>
                <a:gd name="connsiteX31" fmla="*/ 50623 w 184238"/>
                <a:gd name="connsiteY31" fmla="*/ 183891 h 185315"/>
                <a:gd name="connsiteX32" fmla="*/ 50718 w 184238"/>
                <a:gd name="connsiteY32" fmla="*/ 183891 h 185315"/>
                <a:gd name="connsiteX33" fmla="*/ 52336 w 184238"/>
                <a:gd name="connsiteY33" fmla="*/ 185315 h 185315"/>
                <a:gd name="connsiteX34" fmla="*/ 131506 w 184238"/>
                <a:gd name="connsiteY34" fmla="*/ 185315 h 185315"/>
                <a:gd name="connsiteX35" fmla="*/ 133124 w 184238"/>
                <a:gd name="connsiteY35" fmla="*/ 183891 h 185315"/>
                <a:gd name="connsiteX36" fmla="*/ 133219 w 184238"/>
                <a:gd name="connsiteY36" fmla="*/ 183891 h 185315"/>
                <a:gd name="connsiteX37" fmla="*/ 133219 w 184238"/>
                <a:gd name="connsiteY37" fmla="*/ 183606 h 185315"/>
                <a:gd name="connsiteX38" fmla="*/ 133219 w 184238"/>
                <a:gd name="connsiteY38" fmla="*/ 159399 h 185315"/>
                <a:gd name="connsiteX39" fmla="*/ 133219 w 184238"/>
                <a:gd name="connsiteY39" fmla="*/ 159115 h 185315"/>
                <a:gd name="connsiteX40" fmla="*/ 133124 w 184238"/>
                <a:gd name="connsiteY40" fmla="*/ 159115 h 185315"/>
                <a:gd name="connsiteX41" fmla="*/ 131506 w 184238"/>
                <a:gd name="connsiteY41" fmla="*/ 157691 h 185315"/>
                <a:gd name="connsiteX42" fmla="*/ 129508 w 184238"/>
                <a:gd name="connsiteY42" fmla="*/ 157691 h 185315"/>
                <a:gd name="connsiteX43" fmla="*/ 114663 w 184238"/>
                <a:gd name="connsiteY43" fmla="*/ 149906 h 185315"/>
                <a:gd name="connsiteX44" fmla="*/ 114663 w 184238"/>
                <a:gd name="connsiteY44" fmla="*/ 107758 h 185315"/>
                <a:gd name="connsiteX45" fmla="*/ 156056 w 184238"/>
                <a:gd name="connsiteY45" fmla="*/ 43870 h 185315"/>
                <a:gd name="connsiteX46" fmla="*/ 165572 w 184238"/>
                <a:gd name="connsiteY46" fmla="*/ 31530 h 185315"/>
                <a:gd name="connsiteX47" fmla="*/ 173280 w 184238"/>
                <a:gd name="connsiteY47" fmla="*/ 26308 h 185315"/>
                <a:gd name="connsiteX48" fmla="*/ 179560 w 184238"/>
                <a:gd name="connsiteY48" fmla="*/ 25359 h 185315"/>
                <a:gd name="connsiteX49" fmla="*/ 184223 w 184238"/>
                <a:gd name="connsiteY49" fmla="*/ 20613 h 185315"/>
                <a:gd name="connsiteX50" fmla="*/ 184223 w 184238"/>
                <a:gd name="connsiteY50" fmla="*/ 5899 h 185315"/>
                <a:gd name="connsiteX51" fmla="*/ 178513 w 184238"/>
                <a:gd name="connsiteY51" fmla="*/ 13 h 18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4238" h="185315">
                  <a:moveTo>
                    <a:pt x="178513" y="13"/>
                  </a:moveTo>
                  <a:lnTo>
                    <a:pt x="121800" y="13"/>
                  </a:lnTo>
                  <a:cubicBezTo>
                    <a:pt x="116757" y="-82"/>
                    <a:pt x="116186" y="203"/>
                    <a:pt x="116091" y="5709"/>
                  </a:cubicBezTo>
                  <a:lnTo>
                    <a:pt x="116091" y="19094"/>
                  </a:lnTo>
                  <a:cubicBezTo>
                    <a:pt x="116186" y="21942"/>
                    <a:pt x="121229" y="20803"/>
                    <a:pt x="121229" y="20803"/>
                  </a:cubicBezTo>
                  <a:cubicBezTo>
                    <a:pt x="121229" y="20803"/>
                    <a:pt x="124274" y="20992"/>
                    <a:pt x="125892" y="23650"/>
                  </a:cubicBezTo>
                  <a:cubicBezTo>
                    <a:pt x="126272" y="24220"/>
                    <a:pt x="126748" y="25834"/>
                    <a:pt x="126748" y="25834"/>
                  </a:cubicBezTo>
                  <a:cubicBezTo>
                    <a:pt x="126748" y="25834"/>
                    <a:pt x="126843" y="29916"/>
                    <a:pt x="124465" y="34188"/>
                  </a:cubicBezTo>
                  <a:cubicBezTo>
                    <a:pt x="121800" y="38934"/>
                    <a:pt x="110001" y="58489"/>
                    <a:pt x="104957" y="66274"/>
                  </a:cubicBezTo>
                  <a:cubicBezTo>
                    <a:pt x="104291" y="68742"/>
                    <a:pt x="101151" y="70546"/>
                    <a:pt x="98487" y="70546"/>
                  </a:cubicBezTo>
                  <a:lnTo>
                    <a:pt x="98011" y="70546"/>
                  </a:lnTo>
                  <a:cubicBezTo>
                    <a:pt x="95442" y="70546"/>
                    <a:pt x="93729" y="68552"/>
                    <a:pt x="92587" y="66559"/>
                  </a:cubicBezTo>
                  <a:lnTo>
                    <a:pt x="71272" y="35707"/>
                  </a:lnTo>
                  <a:cubicBezTo>
                    <a:pt x="71272" y="35707"/>
                    <a:pt x="67751" y="28966"/>
                    <a:pt x="70891" y="23366"/>
                  </a:cubicBezTo>
                  <a:cubicBezTo>
                    <a:pt x="72129" y="21182"/>
                    <a:pt x="76411" y="20233"/>
                    <a:pt x="77648" y="20233"/>
                  </a:cubicBezTo>
                  <a:cubicBezTo>
                    <a:pt x="80026" y="20233"/>
                    <a:pt x="81359" y="20043"/>
                    <a:pt x="81359" y="15676"/>
                  </a:cubicBezTo>
                  <a:cubicBezTo>
                    <a:pt x="81359" y="14442"/>
                    <a:pt x="81359" y="4570"/>
                    <a:pt x="81359" y="4570"/>
                  </a:cubicBezTo>
                  <a:cubicBezTo>
                    <a:pt x="81359" y="2671"/>
                    <a:pt x="80693" y="203"/>
                    <a:pt x="77552" y="203"/>
                  </a:cubicBezTo>
                  <a:lnTo>
                    <a:pt x="5709" y="203"/>
                  </a:lnTo>
                  <a:cubicBezTo>
                    <a:pt x="2569" y="203"/>
                    <a:pt x="0" y="583"/>
                    <a:pt x="0" y="3715"/>
                  </a:cubicBezTo>
                  <a:lnTo>
                    <a:pt x="0" y="18239"/>
                  </a:lnTo>
                  <a:cubicBezTo>
                    <a:pt x="190" y="23556"/>
                    <a:pt x="-666" y="24600"/>
                    <a:pt x="3235" y="24790"/>
                  </a:cubicBezTo>
                  <a:cubicBezTo>
                    <a:pt x="9801" y="25074"/>
                    <a:pt x="16367" y="31340"/>
                    <a:pt x="16367" y="31340"/>
                  </a:cubicBezTo>
                  <a:lnTo>
                    <a:pt x="66895" y="103391"/>
                  </a:lnTo>
                  <a:lnTo>
                    <a:pt x="66895" y="151995"/>
                  </a:lnTo>
                  <a:cubicBezTo>
                    <a:pt x="67085" y="154463"/>
                    <a:pt x="61186" y="156077"/>
                    <a:pt x="57094" y="156741"/>
                  </a:cubicBezTo>
                  <a:lnTo>
                    <a:pt x="52336" y="157691"/>
                  </a:lnTo>
                  <a:cubicBezTo>
                    <a:pt x="51480" y="157691"/>
                    <a:pt x="50813" y="158355"/>
                    <a:pt x="50718" y="159115"/>
                  </a:cubicBezTo>
                  <a:cubicBezTo>
                    <a:pt x="50718" y="159115"/>
                    <a:pt x="50718" y="159115"/>
                    <a:pt x="50623" y="159115"/>
                  </a:cubicBezTo>
                  <a:lnTo>
                    <a:pt x="50623" y="159399"/>
                  </a:lnTo>
                  <a:lnTo>
                    <a:pt x="50623" y="183606"/>
                  </a:lnTo>
                  <a:lnTo>
                    <a:pt x="50623" y="183891"/>
                  </a:lnTo>
                  <a:lnTo>
                    <a:pt x="50718" y="183891"/>
                  </a:lnTo>
                  <a:cubicBezTo>
                    <a:pt x="50813" y="184745"/>
                    <a:pt x="51480" y="185315"/>
                    <a:pt x="52336" y="185315"/>
                  </a:cubicBezTo>
                  <a:lnTo>
                    <a:pt x="131506" y="185315"/>
                  </a:lnTo>
                  <a:cubicBezTo>
                    <a:pt x="132362" y="185315"/>
                    <a:pt x="133029" y="184651"/>
                    <a:pt x="133124" y="183891"/>
                  </a:cubicBezTo>
                  <a:lnTo>
                    <a:pt x="133219" y="183891"/>
                  </a:lnTo>
                  <a:lnTo>
                    <a:pt x="133219" y="183606"/>
                  </a:lnTo>
                  <a:lnTo>
                    <a:pt x="133219" y="159399"/>
                  </a:lnTo>
                  <a:lnTo>
                    <a:pt x="133219" y="159115"/>
                  </a:lnTo>
                  <a:cubicBezTo>
                    <a:pt x="133219" y="159115"/>
                    <a:pt x="133219" y="159115"/>
                    <a:pt x="133124" y="159115"/>
                  </a:cubicBezTo>
                  <a:cubicBezTo>
                    <a:pt x="133029" y="158355"/>
                    <a:pt x="132362" y="157691"/>
                    <a:pt x="131506" y="157691"/>
                  </a:cubicBezTo>
                  <a:lnTo>
                    <a:pt x="129508" y="157691"/>
                  </a:lnTo>
                  <a:cubicBezTo>
                    <a:pt x="123323" y="156741"/>
                    <a:pt x="115044" y="152944"/>
                    <a:pt x="114663" y="149906"/>
                  </a:cubicBezTo>
                  <a:lnTo>
                    <a:pt x="114663" y="107758"/>
                  </a:lnTo>
                  <a:lnTo>
                    <a:pt x="156056" y="43870"/>
                  </a:lnTo>
                  <a:cubicBezTo>
                    <a:pt x="156056" y="43870"/>
                    <a:pt x="163288" y="34093"/>
                    <a:pt x="165572" y="31530"/>
                  </a:cubicBezTo>
                  <a:cubicBezTo>
                    <a:pt x="168141" y="28587"/>
                    <a:pt x="170901" y="27068"/>
                    <a:pt x="173280" y="26308"/>
                  </a:cubicBezTo>
                  <a:lnTo>
                    <a:pt x="179560" y="25359"/>
                  </a:lnTo>
                  <a:cubicBezTo>
                    <a:pt x="184318" y="25644"/>
                    <a:pt x="184223" y="23745"/>
                    <a:pt x="184223" y="20613"/>
                  </a:cubicBezTo>
                  <a:lnTo>
                    <a:pt x="184223" y="5899"/>
                  </a:lnTo>
                  <a:cubicBezTo>
                    <a:pt x="184413" y="488"/>
                    <a:pt x="182891" y="-82"/>
                    <a:pt x="178513" y="13"/>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8" name="Freeform 17">
              <a:extLst>
                <a:ext uri="{FF2B5EF4-FFF2-40B4-BE49-F238E27FC236}">
                  <a16:creationId xmlns:a16="http://schemas.microsoft.com/office/drawing/2014/main" id="{D0D09628-8FD4-704E-ADBE-8645FFF8EBA8}"/>
                </a:ext>
              </a:extLst>
            </p:cNvPr>
            <p:cNvSpPr/>
            <p:nvPr/>
          </p:nvSpPr>
          <p:spPr>
            <a:xfrm>
              <a:off x="10253829" y="-1393553"/>
              <a:ext cx="151203" cy="183783"/>
            </a:xfrm>
            <a:custGeom>
              <a:avLst/>
              <a:gdLst>
                <a:gd name="connsiteX0" fmla="*/ 150537 w 151203"/>
                <a:gd name="connsiteY0" fmla="*/ 155115 h 183783"/>
                <a:gd name="connsiteX1" fmla="*/ 150537 w 151203"/>
                <a:gd name="connsiteY1" fmla="*/ 116763 h 183783"/>
                <a:gd name="connsiteX2" fmla="*/ 144828 w 151203"/>
                <a:gd name="connsiteY2" fmla="*/ 111067 h 183783"/>
                <a:gd name="connsiteX3" fmla="*/ 130079 w 151203"/>
                <a:gd name="connsiteY3" fmla="*/ 111067 h 183783"/>
                <a:gd name="connsiteX4" fmla="*/ 124369 w 151203"/>
                <a:gd name="connsiteY4" fmla="*/ 116763 h 183783"/>
                <a:gd name="connsiteX5" fmla="*/ 124369 w 151203"/>
                <a:gd name="connsiteY5" fmla="*/ 124073 h 183783"/>
                <a:gd name="connsiteX6" fmla="*/ 121990 w 151203"/>
                <a:gd name="connsiteY6" fmla="*/ 133850 h 183783"/>
                <a:gd name="connsiteX7" fmla="*/ 104862 w 151203"/>
                <a:gd name="connsiteY7" fmla="*/ 149514 h 183783"/>
                <a:gd name="connsiteX8" fmla="*/ 83452 w 151203"/>
                <a:gd name="connsiteY8" fmla="*/ 151887 h 183783"/>
                <a:gd name="connsiteX9" fmla="*/ 83452 w 151203"/>
                <a:gd name="connsiteY9" fmla="*/ 151982 h 183783"/>
                <a:gd name="connsiteX10" fmla="*/ 63850 w 151203"/>
                <a:gd name="connsiteY10" fmla="*/ 151982 h 183783"/>
                <a:gd name="connsiteX11" fmla="*/ 60139 w 151203"/>
                <a:gd name="connsiteY11" fmla="*/ 147140 h 183783"/>
                <a:gd name="connsiteX12" fmla="*/ 60139 w 151203"/>
                <a:gd name="connsiteY12" fmla="*/ 36738 h 183783"/>
                <a:gd name="connsiteX13" fmla="*/ 78028 w 151203"/>
                <a:gd name="connsiteY13" fmla="*/ 26675 h 183783"/>
                <a:gd name="connsiteX14" fmla="*/ 79836 w 151203"/>
                <a:gd name="connsiteY14" fmla="*/ 25916 h 183783"/>
                <a:gd name="connsiteX15" fmla="*/ 80217 w 151203"/>
                <a:gd name="connsiteY15" fmla="*/ 24112 h 183783"/>
                <a:gd name="connsiteX16" fmla="*/ 80027 w 151203"/>
                <a:gd name="connsiteY16" fmla="*/ 1709 h 183783"/>
                <a:gd name="connsiteX17" fmla="*/ 78314 w 151203"/>
                <a:gd name="connsiteY17" fmla="*/ 0 h 183783"/>
                <a:gd name="connsiteX18" fmla="*/ 1903 w 151203"/>
                <a:gd name="connsiteY18" fmla="*/ 0 h 183783"/>
                <a:gd name="connsiteX19" fmla="*/ 190 w 151203"/>
                <a:gd name="connsiteY19" fmla="*/ 1709 h 183783"/>
                <a:gd name="connsiteX20" fmla="*/ 0 w 151203"/>
                <a:gd name="connsiteY20" fmla="*/ 24112 h 183783"/>
                <a:gd name="connsiteX21" fmla="*/ 381 w 151203"/>
                <a:gd name="connsiteY21" fmla="*/ 25916 h 183783"/>
                <a:gd name="connsiteX22" fmla="*/ 2189 w 151203"/>
                <a:gd name="connsiteY22" fmla="*/ 26675 h 183783"/>
                <a:gd name="connsiteX23" fmla="*/ 20078 w 151203"/>
                <a:gd name="connsiteY23" fmla="*/ 36738 h 183783"/>
                <a:gd name="connsiteX24" fmla="*/ 20078 w 151203"/>
                <a:gd name="connsiteY24" fmla="*/ 147140 h 183783"/>
                <a:gd name="connsiteX25" fmla="*/ 2189 w 151203"/>
                <a:gd name="connsiteY25" fmla="*/ 157203 h 183783"/>
                <a:gd name="connsiteX26" fmla="*/ 381 w 151203"/>
                <a:gd name="connsiteY26" fmla="*/ 157867 h 183783"/>
                <a:gd name="connsiteX27" fmla="*/ 0 w 151203"/>
                <a:gd name="connsiteY27" fmla="*/ 159671 h 183783"/>
                <a:gd name="connsiteX28" fmla="*/ 190 w 151203"/>
                <a:gd name="connsiteY28" fmla="*/ 182074 h 183783"/>
                <a:gd name="connsiteX29" fmla="*/ 1903 w 151203"/>
                <a:gd name="connsiteY29" fmla="*/ 183783 h 183783"/>
                <a:gd name="connsiteX30" fmla="*/ 63089 w 151203"/>
                <a:gd name="connsiteY30" fmla="*/ 183783 h 183783"/>
                <a:gd name="connsiteX31" fmla="*/ 63184 w 151203"/>
                <a:gd name="connsiteY31" fmla="*/ 183783 h 183783"/>
                <a:gd name="connsiteX32" fmla="*/ 145494 w 151203"/>
                <a:gd name="connsiteY32" fmla="*/ 183783 h 183783"/>
                <a:gd name="connsiteX33" fmla="*/ 151203 w 151203"/>
                <a:gd name="connsiteY33" fmla="*/ 178087 h 183783"/>
                <a:gd name="connsiteX34" fmla="*/ 151203 w 151203"/>
                <a:gd name="connsiteY34" fmla="*/ 157678 h 183783"/>
                <a:gd name="connsiteX35" fmla="*/ 150537 w 151203"/>
                <a:gd name="connsiteY35" fmla="*/ 155115 h 18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203" h="183783">
                  <a:moveTo>
                    <a:pt x="150537" y="155115"/>
                  </a:moveTo>
                  <a:lnTo>
                    <a:pt x="150537" y="116763"/>
                  </a:lnTo>
                  <a:cubicBezTo>
                    <a:pt x="150537" y="113630"/>
                    <a:pt x="147968" y="111067"/>
                    <a:pt x="144828" y="111067"/>
                  </a:cubicBezTo>
                  <a:lnTo>
                    <a:pt x="130079" y="111067"/>
                  </a:lnTo>
                  <a:cubicBezTo>
                    <a:pt x="126939" y="111067"/>
                    <a:pt x="124369" y="113630"/>
                    <a:pt x="124369" y="116763"/>
                  </a:cubicBezTo>
                  <a:lnTo>
                    <a:pt x="124369" y="124073"/>
                  </a:lnTo>
                  <a:cubicBezTo>
                    <a:pt x="124179" y="127395"/>
                    <a:pt x="123323" y="131097"/>
                    <a:pt x="121990" y="133850"/>
                  </a:cubicBezTo>
                  <a:cubicBezTo>
                    <a:pt x="118184" y="141445"/>
                    <a:pt x="108669" y="148090"/>
                    <a:pt x="104862" y="149514"/>
                  </a:cubicBezTo>
                  <a:cubicBezTo>
                    <a:pt x="95537" y="153026"/>
                    <a:pt x="83452" y="151887"/>
                    <a:pt x="83452" y="151887"/>
                  </a:cubicBezTo>
                  <a:lnTo>
                    <a:pt x="83452" y="151982"/>
                  </a:lnTo>
                  <a:lnTo>
                    <a:pt x="63850" y="151982"/>
                  </a:lnTo>
                  <a:cubicBezTo>
                    <a:pt x="61566" y="150463"/>
                    <a:pt x="60139" y="148849"/>
                    <a:pt x="60139" y="147140"/>
                  </a:cubicBezTo>
                  <a:lnTo>
                    <a:pt x="60139" y="36738"/>
                  </a:lnTo>
                  <a:cubicBezTo>
                    <a:pt x="60139" y="32371"/>
                    <a:pt x="70225" y="27909"/>
                    <a:pt x="78028" y="26675"/>
                  </a:cubicBezTo>
                  <a:cubicBezTo>
                    <a:pt x="78028" y="26675"/>
                    <a:pt x="79265" y="26675"/>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147140"/>
                  </a:lnTo>
                  <a:cubicBezTo>
                    <a:pt x="20078" y="151507"/>
                    <a:pt x="9991" y="155969"/>
                    <a:pt x="2189" y="157203"/>
                  </a:cubicBezTo>
                  <a:cubicBezTo>
                    <a:pt x="2189" y="157203"/>
                    <a:pt x="952" y="157108"/>
                    <a:pt x="381" y="157867"/>
                  </a:cubicBezTo>
                  <a:cubicBezTo>
                    <a:pt x="-190" y="158627"/>
                    <a:pt x="95" y="159671"/>
                    <a:pt x="0" y="159671"/>
                  </a:cubicBezTo>
                  <a:lnTo>
                    <a:pt x="190" y="182074"/>
                  </a:lnTo>
                  <a:cubicBezTo>
                    <a:pt x="190" y="183024"/>
                    <a:pt x="952" y="183783"/>
                    <a:pt x="1903" y="183783"/>
                  </a:cubicBezTo>
                  <a:lnTo>
                    <a:pt x="63089" y="183783"/>
                  </a:lnTo>
                  <a:cubicBezTo>
                    <a:pt x="63089" y="183783"/>
                    <a:pt x="63184" y="183783"/>
                    <a:pt x="63184" y="183783"/>
                  </a:cubicBezTo>
                  <a:lnTo>
                    <a:pt x="145494" y="183783"/>
                  </a:lnTo>
                  <a:cubicBezTo>
                    <a:pt x="148634" y="183783"/>
                    <a:pt x="151203" y="181220"/>
                    <a:pt x="151203" y="178087"/>
                  </a:cubicBezTo>
                  <a:lnTo>
                    <a:pt x="151203" y="157678"/>
                  </a:lnTo>
                  <a:cubicBezTo>
                    <a:pt x="151203" y="156728"/>
                    <a:pt x="150918" y="155874"/>
                    <a:pt x="150537" y="15511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9" name="Freeform 18">
              <a:extLst>
                <a:ext uri="{FF2B5EF4-FFF2-40B4-BE49-F238E27FC236}">
                  <a16:creationId xmlns:a16="http://schemas.microsoft.com/office/drawing/2014/main" id="{75E3A93E-3DD2-5449-8673-7FCFEC5BF714}"/>
                </a:ext>
              </a:extLst>
            </p:cNvPr>
            <p:cNvSpPr/>
            <p:nvPr/>
          </p:nvSpPr>
          <p:spPr>
            <a:xfrm>
              <a:off x="9671473" y="-1393173"/>
              <a:ext cx="151203" cy="183403"/>
            </a:xfrm>
            <a:custGeom>
              <a:avLst/>
              <a:gdLst>
                <a:gd name="connsiteX0" fmla="*/ 150537 w 151203"/>
                <a:gd name="connsiteY0" fmla="*/ 154735 h 183403"/>
                <a:gd name="connsiteX1" fmla="*/ 150537 w 151203"/>
                <a:gd name="connsiteY1" fmla="*/ 116383 h 183403"/>
                <a:gd name="connsiteX2" fmla="*/ 144828 w 151203"/>
                <a:gd name="connsiteY2" fmla="*/ 110688 h 183403"/>
                <a:gd name="connsiteX3" fmla="*/ 130079 w 151203"/>
                <a:gd name="connsiteY3" fmla="*/ 110688 h 183403"/>
                <a:gd name="connsiteX4" fmla="*/ 124369 w 151203"/>
                <a:gd name="connsiteY4" fmla="*/ 116383 h 183403"/>
                <a:gd name="connsiteX5" fmla="*/ 124369 w 151203"/>
                <a:gd name="connsiteY5" fmla="*/ 123693 h 183403"/>
                <a:gd name="connsiteX6" fmla="*/ 121991 w 151203"/>
                <a:gd name="connsiteY6" fmla="*/ 133471 h 183403"/>
                <a:gd name="connsiteX7" fmla="*/ 104862 w 151203"/>
                <a:gd name="connsiteY7" fmla="*/ 149134 h 183403"/>
                <a:gd name="connsiteX8" fmla="*/ 83452 w 151203"/>
                <a:gd name="connsiteY8" fmla="*/ 151507 h 183403"/>
                <a:gd name="connsiteX9" fmla="*/ 83452 w 151203"/>
                <a:gd name="connsiteY9" fmla="*/ 151602 h 183403"/>
                <a:gd name="connsiteX10" fmla="*/ 63850 w 151203"/>
                <a:gd name="connsiteY10" fmla="*/ 151602 h 183403"/>
                <a:gd name="connsiteX11" fmla="*/ 60139 w 151203"/>
                <a:gd name="connsiteY11" fmla="*/ 146761 h 183403"/>
                <a:gd name="connsiteX12" fmla="*/ 60139 w 151203"/>
                <a:gd name="connsiteY12" fmla="*/ 36738 h 183403"/>
                <a:gd name="connsiteX13" fmla="*/ 78028 w 151203"/>
                <a:gd name="connsiteY13" fmla="*/ 26675 h 183403"/>
                <a:gd name="connsiteX14" fmla="*/ 79836 w 151203"/>
                <a:gd name="connsiteY14" fmla="*/ 25916 h 183403"/>
                <a:gd name="connsiteX15" fmla="*/ 80217 w 151203"/>
                <a:gd name="connsiteY15" fmla="*/ 24112 h 183403"/>
                <a:gd name="connsiteX16" fmla="*/ 80027 w 151203"/>
                <a:gd name="connsiteY16" fmla="*/ 1709 h 183403"/>
                <a:gd name="connsiteX17" fmla="*/ 78314 w 151203"/>
                <a:gd name="connsiteY17" fmla="*/ 0 h 183403"/>
                <a:gd name="connsiteX18" fmla="*/ 1903 w 151203"/>
                <a:gd name="connsiteY18" fmla="*/ 0 h 183403"/>
                <a:gd name="connsiteX19" fmla="*/ 190 w 151203"/>
                <a:gd name="connsiteY19" fmla="*/ 1709 h 183403"/>
                <a:gd name="connsiteX20" fmla="*/ 0 w 151203"/>
                <a:gd name="connsiteY20" fmla="*/ 24112 h 183403"/>
                <a:gd name="connsiteX21" fmla="*/ 381 w 151203"/>
                <a:gd name="connsiteY21" fmla="*/ 25916 h 183403"/>
                <a:gd name="connsiteX22" fmla="*/ 2189 w 151203"/>
                <a:gd name="connsiteY22" fmla="*/ 26675 h 183403"/>
                <a:gd name="connsiteX23" fmla="*/ 20078 w 151203"/>
                <a:gd name="connsiteY23" fmla="*/ 36738 h 183403"/>
                <a:gd name="connsiteX24" fmla="*/ 20078 w 151203"/>
                <a:gd name="connsiteY24" fmla="*/ 146761 h 183403"/>
                <a:gd name="connsiteX25" fmla="*/ 2189 w 151203"/>
                <a:gd name="connsiteY25" fmla="*/ 156823 h 183403"/>
                <a:gd name="connsiteX26" fmla="*/ 381 w 151203"/>
                <a:gd name="connsiteY26" fmla="*/ 157488 h 183403"/>
                <a:gd name="connsiteX27" fmla="*/ 0 w 151203"/>
                <a:gd name="connsiteY27" fmla="*/ 159291 h 183403"/>
                <a:gd name="connsiteX28" fmla="*/ 190 w 151203"/>
                <a:gd name="connsiteY28" fmla="*/ 181695 h 183403"/>
                <a:gd name="connsiteX29" fmla="*/ 1903 w 151203"/>
                <a:gd name="connsiteY29" fmla="*/ 183403 h 183403"/>
                <a:gd name="connsiteX30" fmla="*/ 63089 w 151203"/>
                <a:gd name="connsiteY30" fmla="*/ 183403 h 183403"/>
                <a:gd name="connsiteX31" fmla="*/ 63184 w 151203"/>
                <a:gd name="connsiteY31" fmla="*/ 183403 h 183403"/>
                <a:gd name="connsiteX32" fmla="*/ 145494 w 151203"/>
                <a:gd name="connsiteY32" fmla="*/ 183403 h 183403"/>
                <a:gd name="connsiteX33" fmla="*/ 151203 w 151203"/>
                <a:gd name="connsiteY33" fmla="*/ 177708 h 183403"/>
                <a:gd name="connsiteX34" fmla="*/ 151203 w 151203"/>
                <a:gd name="connsiteY34" fmla="*/ 157298 h 183403"/>
                <a:gd name="connsiteX35" fmla="*/ 150537 w 151203"/>
                <a:gd name="connsiteY35" fmla="*/ 154735 h 18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203" h="183403">
                  <a:moveTo>
                    <a:pt x="150537" y="154735"/>
                  </a:moveTo>
                  <a:lnTo>
                    <a:pt x="150537" y="116383"/>
                  </a:lnTo>
                  <a:cubicBezTo>
                    <a:pt x="150537" y="113251"/>
                    <a:pt x="147968" y="110688"/>
                    <a:pt x="144828" y="110688"/>
                  </a:cubicBezTo>
                  <a:lnTo>
                    <a:pt x="130079" y="110688"/>
                  </a:lnTo>
                  <a:cubicBezTo>
                    <a:pt x="126939" y="110688"/>
                    <a:pt x="124369" y="113251"/>
                    <a:pt x="124369" y="116383"/>
                  </a:cubicBezTo>
                  <a:lnTo>
                    <a:pt x="124369" y="123693"/>
                  </a:lnTo>
                  <a:cubicBezTo>
                    <a:pt x="124179" y="127015"/>
                    <a:pt x="123323" y="130718"/>
                    <a:pt x="121991" y="133471"/>
                  </a:cubicBezTo>
                  <a:cubicBezTo>
                    <a:pt x="118184" y="141065"/>
                    <a:pt x="108669" y="147710"/>
                    <a:pt x="104862" y="149134"/>
                  </a:cubicBezTo>
                  <a:cubicBezTo>
                    <a:pt x="95537" y="152646"/>
                    <a:pt x="83452" y="151507"/>
                    <a:pt x="83452" y="151507"/>
                  </a:cubicBezTo>
                  <a:lnTo>
                    <a:pt x="83452" y="151602"/>
                  </a:lnTo>
                  <a:lnTo>
                    <a:pt x="63850" y="151602"/>
                  </a:lnTo>
                  <a:cubicBezTo>
                    <a:pt x="61566" y="150083"/>
                    <a:pt x="60139" y="148469"/>
                    <a:pt x="60139" y="146761"/>
                  </a:cubicBezTo>
                  <a:lnTo>
                    <a:pt x="60139" y="36738"/>
                  </a:lnTo>
                  <a:cubicBezTo>
                    <a:pt x="60139" y="32371"/>
                    <a:pt x="70225" y="28004"/>
                    <a:pt x="78028" y="26675"/>
                  </a:cubicBezTo>
                  <a:cubicBezTo>
                    <a:pt x="78028" y="26675"/>
                    <a:pt x="79265" y="26770"/>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146761"/>
                  </a:lnTo>
                  <a:cubicBezTo>
                    <a:pt x="20078" y="151127"/>
                    <a:pt x="9991" y="155589"/>
                    <a:pt x="2189" y="156823"/>
                  </a:cubicBezTo>
                  <a:cubicBezTo>
                    <a:pt x="2189" y="156823"/>
                    <a:pt x="952" y="156728"/>
                    <a:pt x="381" y="157488"/>
                  </a:cubicBezTo>
                  <a:cubicBezTo>
                    <a:pt x="-190" y="158247"/>
                    <a:pt x="95" y="159291"/>
                    <a:pt x="0" y="159291"/>
                  </a:cubicBezTo>
                  <a:lnTo>
                    <a:pt x="190" y="181695"/>
                  </a:lnTo>
                  <a:cubicBezTo>
                    <a:pt x="190" y="182644"/>
                    <a:pt x="952" y="183403"/>
                    <a:pt x="1903" y="183403"/>
                  </a:cubicBezTo>
                  <a:lnTo>
                    <a:pt x="63089" y="183403"/>
                  </a:lnTo>
                  <a:cubicBezTo>
                    <a:pt x="63089" y="183403"/>
                    <a:pt x="63184" y="183403"/>
                    <a:pt x="63184" y="183403"/>
                  </a:cubicBezTo>
                  <a:lnTo>
                    <a:pt x="145494" y="183403"/>
                  </a:lnTo>
                  <a:cubicBezTo>
                    <a:pt x="148634" y="183403"/>
                    <a:pt x="151203" y="180840"/>
                    <a:pt x="151203" y="177708"/>
                  </a:cubicBezTo>
                  <a:lnTo>
                    <a:pt x="151203" y="157298"/>
                  </a:lnTo>
                  <a:cubicBezTo>
                    <a:pt x="151108" y="156349"/>
                    <a:pt x="150918" y="155494"/>
                    <a:pt x="150537" y="15473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0" name="Freeform 19">
              <a:extLst>
                <a:ext uri="{FF2B5EF4-FFF2-40B4-BE49-F238E27FC236}">
                  <a16:creationId xmlns:a16="http://schemas.microsoft.com/office/drawing/2014/main" id="{1B81F822-23C9-8F4A-91D7-2E619B0EC39C}"/>
                </a:ext>
              </a:extLst>
            </p:cNvPr>
            <p:cNvSpPr/>
            <p:nvPr/>
          </p:nvSpPr>
          <p:spPr>
            <a:xfrm>
              <a:off x="10395041" y="-1393553"/>
              <a:ext cx="207155" cy="186726"/>
            </a:xfrm>
            <a:custGeom>
              <a:avLst/>
              <a:gdLst>
                <a:gd name="connsiteX0" fmla="*/ 103340 w 207155"/>
                <a:gd name="connsiteY0" fmla="*/ 154165 h 186726"/>
                <a:gd name="connsiteX1" fmla="*/ 84499 w 207155"/>
                <a:gd name="connsiteY1" fmla="*/ 153311 h 186726"/>
                <a:gd name="connsiteX2" fmla="*/ 69083 w 207155"/>
                <a:gd name="connsiteY2" fmla="*/ 143818 h 186726"/>
                <a:gd name="connsiteX3" fmla="*/ 67466 w 207155"/>
                <a:gd name="connsiteY3" fmla="*/ 118946 h 186726"/>
                <a:gd name="connsiteX4" fmla="*/ 67466 w 207155"/>
                <a:gd name="connsiteY4" fmla="*/ 36738 h 186726"/>
                <a:gd name="connsiteX5" fmla="*/ 85355 w 207155"/>
                <a:gd name="connsiteY5" fmla="*/ 26675 h 186726"/>
                <a:gd name="connsiteX6" fmla="*/ 87163 w 207155"/>
                <a:gd name="connsiteY6" fmla="*/ 25916 h 186726"/>
                <a:gd name="connsiteX7" fmla="*/ 87544 w 207155"/>
                <a:gd name="connsiteY7" fmla="*/ 24112 h 186726"/>
                <a:gd name="connsiteX8" fmla="*/ 87353 w 207155"/>
                <a:gd name="connsiteY8" fmla="*/ 1709 h 186726"/>
                <a:gd name="connsiteX9" fmla="*/ 85641 w 207155"/>
                <a:gd name="connsiteY9" fmla="*/ 0 h 186726"/>
                <a:gd name="connsiteX10" fmla="*/ 1903 w 207155"/>
                <a:gd name="connsiteY10" fmla="*/ 0 h 186726"/>
                <a:gd name="connsiteX11" fmla="*/ 190 w 207155"/>
                <a:gd name="connsiteY11" fmla="*/ 1709 h 186726"/>
                <a:gd name="connsiteX12" fmla="*/ 0 w 207155"/>
                <a:gd name="connsiteY12" fmla="*/ 24112 h 186726"/>
                <a:gd name="connsiteX13" fmla="*/ 380 w 207155"/>
                <a:gd name="connsiteY13" fmla="*/ 25916 h 186726"/>
                <a:gd name="connsiteX14" fmla="*/ 2188 w 207155"/>
                <a:gd name="connsiteY14" fmla="*/ 26675 h 186726"/>
                <a:gd name="connsiteX15" fmla="*/ 20078 w 207155"/>
                <a:gd name="connsiteY15" fmla="*/ 36738 h 186726"/>
                <a:gd name="connsiteX16" fmla="*/ 20078 w 207155"/>
                <a:gd name="connsiteY16" fmla="*/ 114770 h 186726"/>
                <a:gd name="connsiteX17" fmla="*/ 19983 w 207155"/>
                <a:gd name="connsiteY17" fmla="*/ 114865 h 186726"/>
                <a:gd name="connsiteX18" fmla="*/ 19983 w 207155"/>
                <a:gd name="connsiteY18" fmla="*/ 131002 h 186726"/>
                <a:gd name="connsiteX19" fmla="*/ 23884 w 207155"/>
                <a:gd name="connsiteY19" fmla="*/ 161000 h 186726"/>
                <a:gd name="connsiteX20" fmla="*/ 97821 w 207155"/>
                <a:gd name="connsiteY20" fmla="*/ 186726 h 186726"/>
                <a:gd name="connsiteX21" fmla="*/ 107051 w 207155"/>
                <a:gd name="connsiteY21" fmla="*/ 186726 h 186726"/>
                <a:gd name="connsiteX22" fmla="*/ 183271 w 207155"/>
                <a:gd name="connsiteY22" fmla="*/ 161000 h 186726"/>
                <a:gd name="connsiteX23" fmla="*/ 187172 w 207155"/>
                <a:gd name="connsiteY23" fmla="*/ 131002 h 186726"/>
                <a:gd name="connsiteX24" fmla="*/ 187172 w 207155"/>
                <a:gd name="connsiteY24" fmla="*/ 114865 h 186726"/>
                <a:gd name="connsiteX25" fmla="*/ 187077 w 207155"/>
                <a:gd name="connsiteY25" fmla="*/ 114770 h 186726"/>
                <a:gd name="connsiteX26" fmla="*/ 187077 w 207155"/>
                <a:gd name="connsiteY26" fmla="*/ 36738 h 186726"/>
                <a:gd name="connsiteX27" fmla="*/ 204967 w 207155"/>
                <a:gd name="connsiteY27" fmla="*/ 26675 h 186726"/>
                <a:gd name="connsiteX28" fmla="*/ 206775 w 207155"/>
                <a:gd name="connsiteY28" fmla="*/ 25916 h 186726"/>
                <a:gd name="connsiteX29" fmla="*/ 207155 w 207155"/>
                <a:gd name="connsiteY29" fmla="*/ 24112 h 186726"/>
                <a:gd name="connsiteX30" fmla="*/ 206965 w 207155"/>
                <a:gd name="connsiteY30" fmla="*/ 1709 h 186726"/>
                <a:gd name="connsiteX31" fmla="*/ 205252 w 207155"/>
                <a:gd name="connsiteY31" fmla="*/ 0 h 186726"/>
                <a:gd name="connsiteX32" fmla="*/ 121515 w 207155"/>
                <a:gd name="connsiteY32" fmla="*/ 0 h 186726"/>
                <a:gd name="connsiteX33" fmla="*/ 119802 w 207155"/>
                <a:gd name="connsiteY33" fmla="*/ 1709 h 186726"/>
                <a:gd name="connsiteX34" fmla="*/ 119611 w 207155"/>
                <a:gd name="connsiteY34" fmla="*/ 24112 h 186726"/>
                <a:gd name="connsiteX35" fmla="*/ 119992 w 207155"/>
                <a:gd name="connsiteY35" fmla="*/ 25916 h 186726"/>
                <a:gd name="connsiteX36" fmla="*/ 121800 w 207155"/>
                <a:gd name="connsiteY36" fmla="*/ 26675 h 186726"/>
                <a:gd name="connsiteX37" fmla="*/ 139689 w 207155"/>
                <a:gd name="connsiteY37" fmla="*/ 36738 h 186726"/>
                <a:gd name="connsiteX38" fmla="*/ 139689 w 207155"/>
                <a:gd name="connsiteY38" fmla="*/ 118946 h 186726"/>
                <a:gd name="connsiteX39" fmla="*/ 138072 w 207155"/>
                <a:gd name="connsiteY39" fmla="*/ 143818 h 186726"/>
                <a:gd name="connsiteX40" fmla="*/ 122656 w 207155"/>
                <a:gd name="connsiteY40" fmla="*/ 153311 h 186726"/>
                <a:gd name="connsiteX41" fmla="*/ 103340 w 207155"/>
                <a:gd name="connsiteY41" fmla="*/ 154165 h 18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7155" h="186726">
                  <a:moveTo>
                    <a:pt x="103340" y="154165"/>
                  </a:moveTo>
                  <a:cubicBezTo>
                    <a:pt x="98201" y="154070"/>
                    <a:pt x="87734" y="153880"/>
                    <a:pt x="84499" y="153311"/>
                  </a:cubicBezTo>
                  <a:cubicBezTo>
                    <a:pt x="79075" y="152362"/>
                    <a:pt x="72414" y="149514"/>
                    <a:pt x="69083" y="143818"/>
                  </a:cubicBezTo>
                  <a:cubicBezTo>
                    <a:pt x="66419" y="139356"/>
                    <a:pt x="67751" y="124073"/>
                    <a:pt x="67466" y="118946"/>
                  </a:cubicBezTo>
                  <a:lnTo>
                    <a:pt x="67466" y="36738"/>
                  </a:lnTo>
                  <a:cubicBezTo>
                    <a:pt x="67466" y="32371"/>
                    <a:pt x="77552" y="27909"/>
                    <a:pt x="85355" y="26675"/>
                  </a:cubicBezTo>
                  <a:cubicBezTo>
                    <a:pt x="85355" y="26675"/>
                    <a:pt x="86592" y="26675"/>
                    <a:pt x="87163" y="25916"/>
                  </a:cubicBezTo>
                  <a:cubicBezTo>
                    <a:pt x="87734" y="25156"/>
                    <a:pt x="87449" y="24112"/>
                    <a:pt x="87544" y="24112"/>
                  </a:cubicBezTo>
                  <a:lnTo>
                    <a:pt x="87353" y="1709"/>
                  </a:lnTo>
                  <a:cubicBezTo>
                    <a:pt x="87353" y="759"/>
                    <a:pt x="86592" y="0"/>
                    <a:pt x="85641" y="0"/>
                  </a:cubicBezTo>
                  <a:lnTo>
                    <a:pt x="1903" y="0"/>
                  </a:lnTo>
                  <a:cubicBezTo>
                    <a:pt x="952" y="0"/>
                    <a:pt x="190" y="759"/>
                    <a:pt x="190" y="1709"/>
                  </a:cubicBezTo>
                  <a:lnTo>
                    <a:pt x="0" y="24112"/>
                  </a:lnTo>
                  <a:cubicBezTo>
                    <a:pt x="95" y="24112"/>
                    <a:pt x="-190" y="25156"/>
                    <a:pt x="380" y="25916"/>
                  </a:cubicBezTo>
                  <a:cubicBezTo>
                    <a:pt x="952" y="26675"/>
                    <a:pt x="2188" y="26675"/>
                    <a:pt x="2188" y="26675"/>
                  </a:cubicBezTo>
                  <a:cubicBezTo>
                    <a:pt x="9896" y="27909"/>
                    <a:pt x="20078" y="32371"/>
                    <a:pt x="20078" y="36738"/>
                  </a:cubicBezTo>
                  <a:lnTo>
                    <a:pt x="20078" y="114770"/>
                  </a:lnTo>
                  <a:lnTo>
                    <a:pt x="19983" y="114865"/>
                  </a:lnTo>
                  <a:lnTo>
                    <a:pt x="19983" y="131002"/>
                  </a:lnTo>
                  <a:cubicBezTo>
                    <a:pt x="19983" y="131002"/>
                    <a:pt x="19697" y="154450"/>
                    <a:pt x="23884" y="161000"/>
                  </a:cubicBezTo>
                  <a:cubicBezTo>
                    <a:pt x="34351" y="177423"/>
                    <a:pt x="50243" y="186726"/>
                    <a:pt x="97821" y="186726"/>
                  </a:cubicBezTo>
                  <a:cubicBezTo>
                    <a:pt x="98201" y="186726"/>
                    <a:pt x="106670" y="186726"/>
                    <a:pt x="107051" y="186726"/>
                  </a:cubicBezTo>
                  <a:cubicBezTo>
                    <a:pt x="154629" y="186726"/>
                    <a:pt x="172804" y="177423"/>
                    <a:pt x="183271" y="161000"/>
                  </a:cubicBezTo>
                  <a:cubicBezTo>
                    <a:pt x="187458" y="154450"/>
                    <a:pt x="187172" y="131002"/>
                    <a:pt x="187172" y="131002"/>
                  </a:cubicBezTo>
                  <a:lnTo>
                    <a:pt x="187172" y="114865"/>
                  </a:lnTo>
                  <a:lnTo>
                    <a:pt x="187077" y="114770"/>
                  </a:lnTo>
                  <a:lnTo>
                    <a:pt x="187077" y="36738"/>
                  </a:lnTo>
                  <a:cubicBezTo>
                    <a:pt x="187077" y="32371"/>
                    <a:pt x="197164" y="27909"/>
                    <a:pt x="204967" y="26675"/>
                  </a:cubicBezTo>
                  <a:cubicBezTo>
                    <a:pt x="204967" y="26675"/>
                    <a:pt x="206204" y="26675"/>
                    <a:pt x="206775" y="25916"/>
                  </a:cubicBezTo>
                  <a:cubicBezTo>
                    <a:pt x="207345" y="25156"/>
                    <a:pt x="207060" y="24112"/>
                    <a:pt x="207155" y="24112"/>
                  </a:cubicBezTo>
                  <a:lnTo>
                    <a:pt x="206965" y="1709"/>
                  </a:lnTo>
                  <a:cubicBezTo>
                    <a:pt x="206965" y="759"/>
                    <a:pt x="206204" y="0"/>
                    <a:pt x="205252" y="0"/>
                  </a:cubicBezTo>
                  <a:lnTo>
                    <a:pt x="121515" y="0"/>
                  </a:lnTo>
                  <a:cubicBezTo>
                    <a:pt x="120563" y="0"/>
                    <a:pt x="119802" y="759"/>
                    <a:pt x="119802" y="1709"/>
                  </a:cubicBezTo>
                  <a:lnTo>
                    <a:pt x="119611" y="24112"/>
                  </a:lnTo>
                  <a:cubicBezTo>
                    <a:pt x="119707" y="24112"/>
                    <a:pt x="119421" y="25156"/>
                    <a:pt x="119992" y="25916"/>
                  </a:cubicBezTo>
                  <a:cubicBezTo>
                    <a:pt x="120563" y="26675"/>
                    <a:pt x="121800" y="26675"/>
                    <a:pt x="121800" y="26675"/>
                  </a:cubicBezTo>
                  <a:cubicBezTo>
                    <a:pt x="129508" y="27909"/>
                    <a:pt x="139689" y="32371"/>
                    <a:pt x="139689" y="36738"/>
                  </a:cubicBezTo>
                  <a:lnTo>
                    <a:pt x="139689" y="118946"/>
                  </a:lnTo>
                  <a:cubicBezTo>
                    <a:pt x="139404" y="124073"/>
                    <a:pt x="140736" y="139261"/>
                    <a:pt x="138072" y="143818"/>
                  </a:cubicBezTo>
                  <a:cubicBezTo>
                    <a:pt x="134741" y="149514"/>
                    <a:pt x="128080" y="152362"/>
                    <a:pt x="122656" y="153311"/>
                  </a:cubicBezTo>
                  <a:cubicBezTo>
                    <a:pt x="118945" y="153880"/>
                    <a:pt x="108478" y="154070"/>
                    <a:pt x="103340" y="154165"/>
                  </a:cubicBezTo>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1" name="Freeform 20">
              <a:extLst>
                <a:ext uri="{FF2B5EF4-FFF2-40B4-BE49-F238E27FC236}">
                  <a16:creationId xmlns:a16="http://schemas.microsoft.com/office/drawing/2014/main" id="{3A747DE8-2A78-3E4F-979B-D71DDE4B5289}"/>
                </a:ext>
              </a:extLst>
            </p:cNvPr>
            <p:cNvSpPr/>
            <p:nvPr/>
          </p:nvSpPr>
          <p:spPr>
            <a:xfrm>
              <a:off x="10071224" y="-1397359"/>
              <a:ext cx="171091" cy="192394"/>
            </a:xfrm>
            <a:custGeom>
              <a:avLst/>
              <a:gdLst>
                <a:gd name="connsiteX0" fmla="*/ 170901 w 171091"/>
                <a:gd name="connsiteY0" fmla="*/ 136233 h 192394"/>
                <a:gd name="connsiteX1" fmla="*/ 165191 w 171091"/>
                <a:gd name="connsiteY1" fmla="*/ 130537 h 192394"/>
                <a:gd name="connsiteX2" fmla="*/ 150442 w 171091"/>
                <a:gd name="connsiteY2" fmla="*/ 130537 h 192394"/>
                <a:gd name="connsiteX3" fmla="*/ 144733 w 171091"/>
                <a:gd name="connsiteY3" fmla="*/ 136233 h 192394"/>
                <a:gd name="connsiteX4" fmla="*/ 144733 w 171091"/>
                <a:gd name="connsiteY4" fmla="*/ 138226 h 192394"/>
                <a:gd name="connsiteX5" fmla="*/ 129032 w 171091"/>
                <a:gd name="connsiteY5" fmla="*/ 158067 h 192394"/>
                <a:gd name="connsiteX6" fmla="*/ 102864 w 171091"/>
                <a:gd name="connsiteY6" fmla="*/ 162338 h 192394"/>
                <a:gd name="connsiteX7" fmla="*/ 102293 w 171091"/>
                <a:gd name="connsiteY7" fmla="*/ 162338 h 192394"/>
                <a:gd name="connsiteX8" fmla="*/ 102198 w 171091"/>
                <a:gd name="connsiteY8" fmla="*/ 162338 h 192394"/>
                <a:gd name="connsiteX9" fmla="*/ 76030 w 171091"/>
                <a:gd name="connsiteY9" fmla="*/ 158067 h 192394"/>
                <a:gd name="connsiteX10" fmla="*/ 56904 w 171091"/>
                <a:gd name="connsiteY10" fmla="*/ 136613 h 192394"/>
                <a:gd name="connsiteX11" fmla="*/ 51575 w 171091"/>
                <a:gd name="connsiteY11" fmla="*/ 94274 h 192394"/>
                <a:gd name="connsiteX12" fmla="*/ 56904 w 171091"/>
                <a:gd name="connsiteY12" fmla="*/ 48708 h 192394"/>
                <a:gd name="connsiteX13" fmla="*/ 95061 w 171091"/>
                <a:gd name="connsiteY13" fmla="*/ 29153 h 192394"/>
                <a:gd name="connsiteX14" fmla="*/ 129698 w 171091"/>
                <a:gd name="connsiteY14" fmla="*/ 42633 h 192394"/>
                <a:gd name="connsiteX15" fmla="*/ 136074 w 171091"/>
                <a:gd name="connsiteY15" fmla="*/ 54594 h 192394"/>
                <a:gd name="connsiteX16" fmla="*/ 136074 w 171091"/>
                <a:gd name="connsiteY16" fmla="*/ 56587 h 192394"/>
                <a:gd name="connsiteX17" fmla="*/ 141783 w 171091"/>
                <a:gd name="connsiteY17" fmla="*/ 62283 h 192394"/>
                <a:gd name="connsiteX18" fmla="*/ 156532 w 171091"/>
                <a:gd name="connsiteY18" fmla="*/ 62283 h 192394"/>
                <a:gd name="connsiteX19" fmla="*/ 162242 w 171091"/>
                <a:gd name="connsiteY19" fmla="*/ 56587 h 192394"/>
                <a:gd name="connsiteX20" fmla="*/ 162717 w 171091"/>
                <a:gd name="connsiteY20" fmla="*/ 12445 h 192394"/>
                <a:gd name="connsiteX21" fmla="*/ 159577 w 171091"/>
                <a:gd name="connsiteY21" fmla="*/ 6085 h 192394"/>
                <a:gd name="connsiteX22" fmla="*/ 102483 w 171091"/>
                <a:gd name="connsiteY22" fmla="*/ 9 h 192394"/>
                <a:gd name="connsiteX23" fmla="*/ 36064 w 171091"/>
                <a:gd name="connsiteY23" fmla="*/ 14249 h 192394"/>
                <a:gd name="connsiteX24" fmla="*/ 0 w 171091"/>
                <a:gd name="connsiteY24" fmla="*/ 91521 h 192394"/>
                <a:gd name="connsiteX25" fmla="*/ 22838 w 171091"/>
                <a:gd name="connsiteY25" fmla="*/ 166990 h 192394"/>
                <a:gd name="connsiteX26" fmla="*/ 79646 w 171091"/>
                <a:gd name="connsiteY26" fmla="*/ 190722 h 192394"/>
                <a:gd name="connsiteX27" fmla="*/ 95537 w 171091"/>
                <a:gd name="connsiteY27" fmla="*/ 192051 h 192394"/>
                <a:gd name="connsiteX28" fmla="*/ 102008 w 171091"/>
                <a:gd name="connsiteY28" fmla="*/ 192336 h 192394"/>
                <a:gd name="connsiteX29" fmla="*/ 119136 w 171091"/>
                <a:gd name="connsiteY29" fmla="*/ 191672 h 192394"/>
                <a:gd name="connsiteX30" fmla="*/ 165382 w 171091"/>
                <a:gd name="connsiteY30" fmla="*/ 186261 h 192394"/>
                <a:gd name="connsiteX31" fmla="*/ 171091 w 171091"/>
                <a:gd name="connsiteY31" fmla="*/ 180565 h 192394"/>
                <a:gd name="connsiteX32" fmla="*/ 170901 w 171091"/>
                <a:gd name="connsiteY32" fmla="*/ 136233 h 19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1091" h="192394">
                  <a:moveTo>
                    <a:pt x="170901" y="136233"/>
                  </a:moveTo>
                  <a:cubicBezTo>
                    <a:pt x="170901" y="133100"/>
                    <a:pt x="168332" y="130537"/>
                    <a:pt x="165191" y="130537"/>
                  </a:cubicBezTo>
                  <a:lnTo>
                    <a:pt x="150442" y="130537"/>
                  </a:lnTo>
                  <a:cubicBezTo>
                    <a:pt x="147302" y="130537"/>
                    <a:pt x="144733" y="133100"/>
                    <a:pt x="144733" y="136233"/>
                  </a:cubicBezTo>
                  <a:lnTo>
                    <a:pt x="144733" y="138226"/>
                  </a:lnTo>
                  <a:cubicBezTo>
                    <a:pt x="144352" y="146390"/>
                    <a:pt x="134361" y="155978"/>
                    <a:pt x="129032" y="158067"/>
                  </a:cubicBezTo>
                  <a:cubicBezTo>
                    <a:pt x="119516" y="161864"/>
                    <a:pt x="116186" y="161864"/>
                    <a:pt x="102864" y="162338"/>
                  </a:cubicBezTo>
                  <a:cubicBezTo>
                    <a:pt x="102674" y="162338"/>
                    <a:pt x="102483" y="162338"/>
                    <a:pt x="102293" y="162338"/>
                  </a:cubicBezTo>
                  <a:lnTo>
                    <a:pt x="102198" y="162338"/>
                  </a:lnTo>
                  <a:cubicBezTo>
                    <a:pt x="88876" y="161864"/>
                    <a:pt x="85546" y="161864"/>
                    <a:pt x="76030" y="158067"/>
                  </a:cubicBezTo>
                  <a:cubicBezTo>
                    <a:pt x="70701" y="155978"/>
                    <a:pt x="60139" y="145156"/>
                    <a:pt x="56904" y="136613"/>
                  </a:cubicBezTo>
                  <a:cubicBezTo>
                    <a:pt x="54620" y="130062"/>
                    <a:pt x="51575" y="121614"/>
                    <a:pt x="51575" y="94274"/>
                  </a:cubicBezTo>
                  <a:cubicBezTo>
                    <a:pt x="51575" y="66839"/>
                    <a:pt x="53478" y="54119"/>
                    <a:pt x="56904" y="48708"/>
                  </a:cubicBezTo>
                  <a:cubicBezTo>
                    <a:pt x="62994" y="39120"/>
                    <a:pt x="72604" y="29153"/>
                    <a:pt x="95061" y="29153"/>
                  </a:cubicBezTo>
                  <a:cubicBezTo>
                    <a:pt x="117518" y="29153"/>
                    <a:pt x="125797" y="37316"/>
                    <a:pt x="129698" y="42633"/>
                  </a:cubicBezTo>
                  <a:cubicBezTo>
                    <a:pt x="129698" y="42633"/>
                    <a:pt x="135788" y="47664"/>
                    <a:pt x="136074" y="54594"/>
                  </a:cubicBezTo>
                  <a:lnTo>
                    <a:pt x="136074" y="56587"/>
                  </a:lnTo>
                  <a:cubicBezTo>
                    <a:pt x="136074" y="59720"/>
                    <a:pt x="138643" y="62283"/>
                    <a:pt x="141783" y="62283"/>
                  </a:cubicBezTo>
                  <a:lnTo>
                    <a:pt x="156532" y="62283"/>
                  </a:lnTo>
                  <a:cubicBezTo>
                    <a:pt x="159672" y="62283"/>
                    <a:pt x="162242" y="59720"/>
                    <a:pt x="162242" y="56587"/>
                  </a:cubicBezTo>
                  <a:lnTo>
                    <a:pt x="162717" y="12445"/>
                  </a:lnTo>
                  <a:cubicBezTo>
                    <a:pt x="162717" y="12445"/>
                    <a:pt x="163574" y="9217"/>
                    <a:pt x="159577" y="6085"/>
                  </a:cubicBezTo>
                  <a:cubicBezTo>
                    <a:pt x="159577" y="6085"/>
                    <a:pt x="138167" y="-275"/>
                    <a:pt x="102483" y="9"/>
                  </a:cubicBezTo>
                  <a:cubicBezTo>
                    <a:pt x="72890" y="294"/>
                    <a:pt x="48625" y="6370"/>
                    <a:pt x="36064" y="14249"/>
                  </a:cubicBezTo>
                  <a:cubicBezTo>
                    <a:pt x="23599" y="22128"/>
                    <a:pt x="0" y="44911"/>
                    <a:pt x="0" y="91521"/>
                  </a:cubicBezTo>
                  <a:cubicBezTo>
                    <a:pt x="0" y="138131"/>
                    <a:pt x="10372" y="155219"/>
                    <a:pt x="22838" y="166990"/>
                  </a:cubicBezTo>
                  <a:cubicBezTo>
                    <a:pt x="33115" y="176673"/>
                    <a:pt x="48530" y="186830"/>
                    <a:pt x="79646" y="190722"/>
                  </a:cubicBezTo>
                  <a:cubicBezTo>
                    <a:pt x="80597" y="191482"/>
                    <a:pt x="88971" y="192051"/>
                    <a:pt x="95537" y="192051"/>
                  </a:cubicBezTo>
                  <a:cubicBezTo>
                    <a:pt x="97631" y="192146"/>
                    <a:pt x="99819" y="192241"/>
                    <a:pt x="102008" y="192336"/>
                  </a:cubicBezTo>
                  <a:cubicBezTo>
                    <a:pt x="108573" y="192526"/>
                    <a:pt x="114188" y="192241"/>
                    <a:pt x="119136" y="191672"/>
                  </a:cubicBezTo>
                  <a:cubicBezTo>
                    <a:pt x="156627" y="190248"/>
                    <a:pt x="165382" y="186261"/>
                    <a:pt x="165382" y="186261"/>
                  </a:cubicBezTo>
                  <a:cubicBezTo>
                    <a:pt x="168522" y="186261"/>
                    <a:pt x="171091" y="183698"/>
                    <a:pt x="171091" y="180565"/>
                  </a:cubicBezTo>
                  <a:lnTo>
                    <a:pt x="170901" y="136233"/>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2" name="Freeform 21">
              <a:extLst>
                <a:ext uri="{FF2B5EF4-FFF2-40B4-BE49-F238E27FC236}">
                  <a16:creationId xmlns:a16="http://schemas.microsoft.com/office/drawing/2014/main" id="{3A9148F0-C863-BD44-9CF4-F49FFD6BA0DD}"/>
                </a:ext>
              </a:extLst>
            </p:cNvPr>
            <p:cNvSpPr/>
            <p:nvPr/>
          </p:nvSpPr>
          <p:spPr>
            <a:xfrm>
              <a:off x="9172092" y="-1397264"/>
              <a:ext cx="179655" cy="192394"/>
            </a:xfrm>
            <a:custGeom>
              <a:avLst/>
              <a:gdLst>
                <a:gd name="connsiteX0" fmla="*/ 179084 w 179655"/>
                <a:gd name="connsiteY0" fmla="*/ 135663 h 192394"/>
                <a:gd name="connsiteX1" fmla="*/ 179655 w 179655"/>
                <a:gd name="connsiteY1" fmla="*/ 134714 h 192394"/>
                <a:gd name="connsiteX2" fmla="*/ 179179 w 179655"/>
                <a:gd name="connsiteY2" fmla="*/ 90572 h 192394"/>
                <a:gd name="connsiteX3" fmla="*/ 173470 w 179655"/>
                <a:gd name="connsiteY3" fmla="*/ 84876 h 192394"/>
                <a:gd name="connsiteX4" fmla="*/ 106861 w 179655"/>
                <a:gd name="connsiteY4" fmla="*/ 84876 h 192394"/>
                <a:gd name="connsiteX5" fmla="*/ 101151 w 179655"/>
                <a:gd name="connsiteY5" fmla="*/ 90572 h 192394"/>
                <a:gd name="connsiteX6" fmla="*/ 101151 w 179655"/>
                <a:gd name="connsiteY6" fmla="*/ 92565 h 192394"/>
                <a:gd name="connsiteX7" fmla="*/ 101151 w 179655"/>
                <a:gd name="connsiteY7" fmla="*/ 107849 h 192394"/>
                <a:gd name="connsiteX8" fmla="*/ 101151 w 179655"/>
                <a:gd name="connsiteY8" fmla="*/ 109843 h 192394"/>
                <a:gd name="connsiteX9" fmla="*/ 106861 w 179655"/>
                <a:gd name="connsiteY9" fmla="*/ 115538 h 192394"/>
                <a:gd name="connsiteX10" fmla="*/ 132553 w 179655"/>
                <a:gd name="connsiteY10" fmla="*/ 115538 h 192394"/>
                <a:gd name="connsiteX11" fmla="*/ 132553 w 179655"/>
                <a:gd name="connsiteY11" fmla="*/ 155978 h 192394"/>
                <a:gd name="connsiteX12" fmla="*/ 128937 w 179655"/>
                <a:gd name="connsiteY12" fmla="*/ 158067 h 192394"/>
                <a:gd name="connsiteX13" fmla="*/ 102769 w 179655"/>
                <a:gd name="connsiteY13" fmla="*/ 162338 h 192394"/>
                <a:gd name="connsiteX14" fmla="*/ 102198 w 179655"/>
                <a:gd name="connsiteY14" fmla="*/ 162338 h 192394"/>
                <a:gd name="connsiteX15" fmla="*/ 102103 w 179655"/>
                <a:gd name="connsiteY15" fmla="*/ 162338 h 192394"/>
                <a:gd name="connsiteX16" fmla="*/ 75935 w 179655"/>
                <a:gd name="connsiteY16" fmla="*/ 158067 h 192394"/>
                <a:gd name="connsiteX17" fmla="*/ 56808 w 179655"/>
                <a:gd name="connsiteY17" fmla="*/ 136613 h 192394"/>
                <a:gd name="connsiteX18" fmla="*/ 51479 w 179655"/>
                <a:gd name="connsiteY18" fmla="*/ 94274 h 192394"/>
                <a:gd name="connsiteX19" fmla="*/ 56808 w 179655"/>
                <a:gd name="connsiteY19" fmla="*/ 48708 h 192394"/>
                <a:gd name="connsiteX20" fmla="*/ 94966 w 179655"/>
                <a:gd name="connsiteY20" fmla="*/ 29153 h 192394"/>
                <a:gd name="connsiteX21" fmla="*/ 129603 w 179655"/>
                <a:gd name="connsiteY21" fmla="*/ 42633 h 192394"/>
                <a:gd name="connsiteX22" fmla="*/ 135978 w 179655"/>
                <a:gd name="connsiteY22" fmla="*/ 54594 h 192394"/>
                <a:gd name="connsiteX23" fmla="*/ 135978 w 179655"/>
                <a:gd name="connsiteY23" fmla="*/ 56587 h 192394"/>
                <a:gd name="connsiteX24" fmla="*/ 141688 w 179655"/>
                <a:gd name="connsiteY24" fmla="*/ 62283 h 192394"/>
                <a:gd name="connsiteX25" fmla="*/ 156437 w 179655"/>
                <a:gd name="connsiteY25" fmla="*/ 62283 h 192394"/>
                <a:gd name="connsiteX26" fmla="*/ 162146 w 179655"/>
                <a:gd name="connsiteY26" fmla="*/ 56587 h 192394"/>
                <a:gd name="connsiteX27" fmla="*/ 162622 w 179655"/>
                <a:gd name="connsiteY27" fmla="*/ 12445 h 192394"/>
                <a:gd name="connsiteX28" fmla="*/ 159577 w 179655"/>
                <a:gd name="connsiteY28" fmla="*/ 6085 h 192394"/>
                <a:gd name="connsiteX29" fmla="*/ 102483 w 179655"/>
                <a:gd name="connsiteY29" fmla="*/ 9 h 192394"/>
                <a:gd name="connsiteX30" fmla="*/ 36064 w 179655"/>
                <a:gd name="connsiteY30" fmla="*/ 14249 h 192394"/>
                <a:gd name="connsiteX31" fmla="*/ 0 w 179655"/>
                <a:gd name="connsiteY31" fmla="*/ 91521 h 192394"/>
                <a:gd name="connsiteX32" fmla="*/ 22837 w 179655"/>
                <a:gd name="connsiteY32" fmla="*/ 166990 h 192394"/>
                <a:gd name="connsiteX33" fmla="*/ 79646 w 179655"/>
                <a:gd name="connsiteY33" fmla="*/ 190722 h 192394"/>
                <a:gd name="connsiteX34" fmla="*/ 95537 w 179655"/>
                <a:gd name="connsiteY34" fmla="*/ 192051 h 192394"/>
                <a:gd name="connsiteX35" fmla="*/ 102008 w 179655"/>
                <a:gd name="connsiteY35" fmla="*/ 192336 h 192394"/>
                <a:gd name="connsiteX36" fmla="*/ 119136 w 179655"/>
                <a:gd name="connsiteY36" fmla="*/ 191672 h 192394"/>
                <a:gd name="connsiteX37" fmla="*/ 173755 w 179655"/>
                <a:gd name="connsiteY37" fmla="*/ 186261 h 192394"/>
                <a:gd name="connsiteX38" fmla="*/ 179465 w 179655"/>
                <a:gd name="connsiteY38" fmla="*/ 180565 h 192394"/>
                <a:gd name="connsiteX39" fmla="*/ 178989 w 179655"/>
                <a:gd name="connsiteY39" fmla="*/ 136423 h 192394"/>
                <a:gd name="connsiteX40" fmla="*/ 179084 w 179655"/>
                <a:gd name="connsiteY40" fmla="*/ 135663 h 19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9655" h="192394">
                  <a:moveTo>
                    <a:pt x="179084" y="135663"/>
                  </a:moveTo>
                  <a:lnTo>
                    <a:pt x="179655" y="134714"/>
                  </a:lnTo>
                  <a:lnTo>
                    <a:pt x="179179" y="90572"/>
                  </a:lnTo>
                  <a:cubicBezTo>
                    <a:pt x="179179" y="87439"/>
                    <a:pt x="176610" y="84876"/>
                    <a:pt x="173470" y="84876"/>
                  </a:cubicBezTo>
                  <a:lnTo>
                    <a:pt x="106861" y="84876"/>
                  </a:lnTo>
                  <a:cubicBezTo>
                    <a:pt x="103720" y="84876"/>
                    <a:pt x="101151" y="87439"/>
                    <a:pt x="101151" y="90572"/>
                  </a:cubicBezTo>
                  <a:lnTo>
                    <a:pt x="101151" y="92565"/>
                  </a:lnTo>
                  <a:lnTo>
                    <a:pt x="101151" y="107849"/>
                  </a:lnTo>
                  <a:lnTo>
                    <a:pt x="101151" y="109843"/>
                  </a:lnTo>
                  <a:cubicBezTo>
                    <a:pt x="101151" y="112975"/>
                    <a:pt x="103720" y="115538"/>
                    <a:pt x="106861" y="115538"/>
                  </a:cubicBezTo>
                  <a:lnTo>
                    <a:pt x="132553" y="115538"/>
                  </a:lnTo>
                  <a:lnTo>
                    <a:pt x="132553" y="155978"/>
                  </a:lnTo>
                  <a:cubicBezTo>
                    <a:pt x="131221" y="156927"/>
                    <a:pt x="129983" y="157592"/>
                    <a:pt x="128937" y="158067"/>
                  </a:cubicBezTo>
                  <a:cubicBezTo>
                    <a:pt x="119421" y="161864"/>
                    <a:pt x="116091" y="161864"/>
                    <a:pt x="102769" y="162338"/>
                  </a:cubicBezTo>
                  <a:cubicBezTo>
                    <a:pt x="102579" y="162338"/>
                    <a:pt x="102388" y="162338"/>
                    <a:pt x="102198" y="162338"/>
                  </a:cubicBezTo>
                  <a:lnTo>
                    <a:pt x="102103" y="162338"/>
                  </a:lnTo>
                  <a:cubicBezTo>
                    <a:pt x="88781" y="161864"/>
                    <a:pt x="85450" y="161864"/>
                    <a:pt x="75935" y="158067"/>
                  </a:cubicBezTo>
                  <a:cubicBezTo>
                    <a:pt x="70606" y="155978"/>
                    <a:pt x="60044" y="145156"/>
                    <a:pt x="56808" y="136613"/>
                  </a:cubicBezTo>
                  <a:cubicBezTo>
                    <a:pt x="54525" y="130063"/>
                    <a:pt x="51479" y="121614"/>
                    <a:pt x="51479" y="94274"/>
                  </a:cubicBezTo>
                  <a:cubicBezTo>
                    <a:pt x="51479" y="66840"/>
                    <a:pt x="53383" y="54119"/>
                    <a:pt x="56808" y="48708"/>
                  </a:cubicBezTo>
                  <a:cubicBezTo>
                    <a:pt x="62898" y="39120"/>
                    <a:pt x="72509" y="29153"/>
                    <a:pt x="94966" y="29153"/>
                  </a:cubicBezTo>
                  <a:cubicBezTo>
                    <a:pt x="117423" y="29153"/>
                    <a:pt x="125701" y="37317"/>
                    <a:pt x="129603" y="42633"/>
                  </a:cubicBezTo>
                  <a:cubicBezTo>
                    <a:pt x="129603" y="42633"/>
                    <a:pt x="135693" y="47664"/>
                    <a:pt x="135978" y="54594"/>
                  </a:cubicBezTo>
                  <a:lnTo>
                    <a:pt x="135978" y="56587"/>
                  </a:lnTo>
                  <a:cubicBezTo>
                    <a:pt x="135978" y="59720"/>
                    <a:pt x="138548" y="62283"/>
                    <a:pt x="141688" y="62283"/>
                  </a:cubicBezTo>
                  <a:lnTo>
                    <a:pt x="156437" y="62283"/>
                  </a:lnTo>
                  <a:cubicBezTo>
                    <a:pt x="159577" y="62283"/>
                    <a:pt x="162146" y="59720"/>
                    <a:pt x="162146" y="56587"/>
                  </a:cubicBezTo>
                  <a:lnTo>
                    <a:pt x="162622" y="12445"/>
                  </a:lnTo>
                  <a:cubicBezTo>
                    <a:pt x="162622" y="12445"/>
                    <a:pt x="163479" y="9217"/>
                    <a:pt x="159577" y="6085"/>
                  </a:cubicBezTo>
                  <a:cubicBezTo>
                    <a:pt x="159577" y="6085"/>
                    <a:pt x="138167" y="-275"/>
                    <a:pt x="102483" y="9"/>
                  </a:cubicBezTo>
                  <a:cubicBezTo>
                    <a:pt x="72890" y="294"/>
                    <a:pt x="48625" y="6370"/>
                    <a:pt x="36064" y="14249"/>
                  </a:cubicBezTo>
                  <a:cubicBezTo>
                    <a:pt x="23599" y="22128"/>
                    <a:pt x="0" y="44911"/>
                    <a:pt x="0" y="91521"/>
                  </a:cubicBezTo>
                  <a:cubicBezTo>
                    <a:pt x="0" y="138131"/>
                    <a:pt x="10372" y="155219"/>
                    <a:pt x="22837" y="166990"/>
                  </a:cubicBezTo>
                  <a:cubicBezTo>
                    <a:pt x="33114" y="176673"/>
                    <a:pt x="48530" y="186830"/>
                    <a:pt x="79646" y="190722"/>
                  </a:cubicBezTo>
                  <a:cubicBezTo>
                    <a:pt x="80597" y="191482"/>
                    <a:pt x="88971" y="192051"/>
                    <a:pt x="95537" y="192051"/>
                  </a:cubicBezTo>
                  <a:cubicBezTo>
                    <a:pt x="97630" y="192146"/>
                    <a:pt x="99724" y="192241"/>
                    <a:pt x="102008" y="192336"/>
                  </a:cubicBezTo>
                  <a:cubicBezTo>
                    <a:pt x="108573" y="192526"/>
                    <a:pt x="114188" y="192241"/>
                    <a:pt x="119136" y="191672"/>
                  </a:cubicBezTo>
                  <a:cubicBezTo>
                    <a:pt x="156627" y="190248"/>
                    <a:pt x="173755" y="186261"/>
                    <a:pt x="173755" y="186261"/>
                  </a:cubicBezTo>
                  <a:cubicBezTo>
                    <a:pt x="176896" y="186261"/>
                    <a:pt x="179465" y="183698"/>
                    <a:pt x="179465" y="180565"/>
                  </a:cubicBezTo>
                  <a:lnTo>
                    <a:pt x="178989" y="136423"/>
                  </a:lnTo>
                  <a:cubicBezTo>
                    <a:pt x="179179" y="135948"/>
                    <a:pt x="179084" y="135758"/>
                    <a:pt x="179084" y="135663"/>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3" name="Freeform 22">
              <a:extLst>
                <a:ext uri="{FF2B5EF4-FFF2-40B4-BE49-F238E27FC236}">
                  <a16:creationId xmlns:a16="http://schemas.microsoft.com/office/drawing/2014/main" id="{27A2C532-4DA5-DA49-AA47-5EEBC30043BF}"/>
                </a:ext>
              </a:extLst>
            </p:cNvPr>
            <p:cNvSpPr/>
            <p:nvPr/>
          </p:nvSpPr>
          <p:spPr>
            <a:xfrm>
              <a:off x="8267346" y="-1397445"/>
              <a:ext cx="202587" cy="192231"/>
            </a:xfrm>
            <a:custGeom>
              <a:avLst/>
              <a:gdLst>
                <a:gd name="connsiteX0" fmla="*/ 166619 w 202587"/>
                <a:gd name="connsiteY0" fmla="*/ 14239 h 192231"/>
                <a:gd name="connsiteX1" fmla="*/ 103816 w 202587"/>
                <a:gd name="connsiteY1" fmla="*/ 95 h 192231"/>
                <a:gd name="connsiteX2" fmla="*/ 103816 w 202587"/>
                <a:gd name="connsiteY2" fmla="*/ 0 h 192231"/>
                <a:gd name="connsiteX3" fmla="*/ 98867 w 202587"/>
                <a:gd name="connsiteY3" fmla="*/ 0 h 192231"/>
                <a:gd name="connsiteX4" fmla="*/ 98867 w 202587"/>
                <a:gd name="connsiteY4" fmla="*/ 95 h 192231"/>
                <a:gd name="connsiteX5" fmla="*/ 36064 w 202587"/>
                <a:gd name="connsiteY5" fmla="*/ 14239 h 192231"/>
                <a:gd name="connsiteX6" fmla="*/ 0 w 202587"/>
                <a:gd name="connsiteY6" fmla="*/ 91512 h 192231"/>
                <a:gd name="connsiteX7" fmla="*/ 22838 w 202587"/>
                <a:gd name="connsiteY7" fmla="*/ 166981 h 192231"/>
                <a:gd name="connsiteX8" fmla="*/ 79646 w 202587"/>
                <a:gd name="connsiteY8" fmla="*/ 190713 h 192231"/>
                <a:gd name="connsiteX9" fmla="*/ 95537 w 202587"/>
                <a:gd name="connsiteY9" fmla="*/ 192042 h 192231"/>
                <a:gd name="connsiteX10" fmla="*/ 103816 w 202587"/>
                <a:gd name="connsiteY10" fmla="*/ 192232 h 192231"/>
                <a:gd name="connsiteX11" fmla="*/ 122942 w 202587"/>
                <a:gd name="connsiteY11" fmla="*/ 190713 h 192231"/>
                <a:gd name="connsiteX12" fmla="*/ 179750 w 202587"/>
                <a:gd name="connsiteY12" fmla="*/ 166981 h 192231"/>
                <a:gd name="connsiteX13" fmla="*/ 202588 w 202587"/>
                <a:gd name="connsiteY13" fmla="*/ 91512 h 192231"/>
                <a:gd name="connsiteX14" fmla="*/ 166619 w 202587"/>
                <a:gd name="connsiteY14" fmla="*/ 14239 h 192231"/>
                <a:gd name="connsiteX15" fmla="*/ 145875 w 202587"/>
                <a:gd name="connsiteY15" fmla="*/ 136698 h 192231"/>
                <a:gd name="connsiteX16" fmla="*/ 126748 w 202587"/>
                <a:gd name="connsiteY16" fmla="*/ 158152 h 192231"/>
                <a:gd name="connsiteX17" fmla="*/ 101246 w 202587"/>
                <a:gd name="connsiteY17" fmla="*/ 162424 h 192231"/>
                <a:gd name="connsiteX18" fmla="*/ 75744 w 202587"/>
                <a:gd name="connsiteY18" fmla="*/ 158152 h 192231"/>
                <a:gd name="connsiteX19" fmla="*/ 56618 w 202587"/>
                <a:gd name="connsiteY19" fmla="*/ 136698 h 192231"/>
                <a:gd name="connsiteX20" fmla="*/ 51289 w 202587"/>
                <a:gd name="connsiteY20" fmla="*/ 94360 h 192231"/>
                <a:gd name="connsiteX21" fmla="*/ 56618 w 202587"/>
                <a:gd name="connsiteY21" fmla="*/ 48794 h 192231"/>
                <a:gd name="connsiteX22" fmla="*/ 94776 w 202587"/>
                <a:gd name="connsiteY22" fmla="*/ 29238 h 192231"/>
                <a:gd name="connsiteX23" fmla="*/ 107622 w 202587"/>
                <a:gd name="connsiteY23" fmla="*/ 29238 h 192231"/>
                <a:gd name="connsiteX24" fmla="*/ 145780 w 202587"/>
                <a:gd name="connsiteY24" fmla="*/ 48794 h 192231"/>
                <a:gd name="connsiteX25" fmla="*/ 151108 w 202587"/>
                <a:gd name="connsiteY25" fmla="*/ 94360 h 192231"/>
                <a:gd name="connsiteX26" fmla="*/ 145875 w 202587"/>
                <a:gd name="connsiteY26" fmla="*/ 136698 h 192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2587" h="192231">
                  <a:moveTo>
                    <a:pt x="166619" y="14239"/>
                  </a:moveTo>
                  <a:cubicBezTo>
                    <a:pt x="154629" y="6740"/>
                    <a:pt x="131792" y="759"/>
                    <a:pt x="103816" y="95"/>
                  </a:cubicBezTo>
                  <a:lnTo>
                    <a:pt x="103816" y="0"/>
                  </a:lnTo>
                  <a:cubicBezTo>
                    <a:pt x="103340" y="0"/>
                    <a:pt x="99343" y="0"/>
                    <a:pt x="98867" y="0"/>
                  </a:cubicBezTo>
                  <a:lnTo>
                    <a:pt x="98867" y="95"/>
                  </a:lnTo>
                  <a:cubicBezTo>
                    <a:pt x="70891" y="854"/>
                    <a:pt x="48054" y="6740"/>
                    <a:pt x="36064" y="14239"/>
                  </a:cubicBezTo>
                  <a:cubicBezTo>
                    <a:pt x="23599" y="22119"/>
                    <a:pt x="0" y="44902"/>
                    <a:pt x="0" y="91512"/>
                  </a:cubicBezTo>
                  <a:cubicBezTo>
                    <a:pt x="0" y="138122"/>
                    <a:pt x="10372" y="155209"/>
                    <a:pt x="22838" y="166981"/>
                  </a:cubicBezTo>
                  <a:cubicBezTo>
                    <a:pt x="33114" y="176663"/>
                    <a:pt x="48530" y="186821"/>
                    <a:pt x="79646" y="190713"/>
                  </a:cubicBezTo>
                  <a:cubicBezTo>
                    <a:pt x="80597" y="191472"/>
                    <a:pt x="88971" y="192042"/>
                    <a:pt x="95537" y="192042"/>
                  </a:cubicBezTo>
                  <a:cubicBezTo>
                    <a:pt x="96584" y="192137"/>
                    <a:pt x="103816" y="192232"/>
                    <a:pt x="103816" y="192232"/>
                  </a:cubicBezTo>
                  <a:cubicBezTo>
                    <a:pt x="104957" y="192232"/>
                    <a:pt x="121990" y="191567"/>
                    <a:pt x="122942" y="190713"/>
                  </a:cubicBezTo>
                  <a:cubicBezTo>
                    <a:pt x="154153" y="186821"/>
                    <a:pt x="169473" y="176663"/>
                    <a:pt x="179750" y="166981"/>
                  </a:cubicBezTo>
                  <a:cubicBezTo>
                    <a:pt x="192216" y="155209"/>
                    <a:pt x="202588" y="138122"/>
                    <a:pt x="202588" y="91512"/>
                  </a:cubicBezTo>
                  <a:cubicBezTo>
                    <a:pt x="202588" y="44807"/>
                    <a:pt x="179084" y="22024"/>
                    <a:pt x="166619" y="14239"/>
                  </a:cubicBezTo>
                  <a:close/>
                  <a:moveTo>
                    <a:pt x="145875" y="136698"/>
                  </a:moveTo>
                  <a:cubicBezTo>
                    <a:pt x="142639" y="145242"/>
                    <a:pt x="132077" y="156064"/>
                    <a:pt x="126748" y="158152"/>
                  </a:cubicBezTo>
                  <a:cubicBezTo>
                    <a:pt x="117423" y="161854"/>
                    <a:pt x="113997" y="161949"/>
                    <a:pt x="101246" y="162424"/>
                  </a:cubicBezTo>
                  <a:cubicBezTo>
                    <a:pt x="88495" y="161949"/>
                    <a:pt x="85070" y="161949"/>
                    <a:pt x="75744" y="158152"/>
                  </a:cubicBezTo>
                  <a:cubicBezTo>
                    <a:pt x="70416" y="156064"/>
                    <a:pt x="59853" y="145242"/>
                    <a:pt x="56618" y="136698"/>
                  </a:cubicBezTo>
                  <a:cubicBezTo>
                    <a:pt x="54334" y="130148"/>
                    <a:pt x="51289" y="121699"/>
                    <a:pt x="51289" y="94360"/>
                  </a:cubicBezTo>
                  <a:cubicBezTo>
                    <a:pt x="51289" y="66925"/>
                    <a:pt x="53192" y="54205"/>
                    <a:pt x="56618" y="48794"/>
                  </a:cubicBezTo>
                  <a:cubicBezTo>
                    <a:pt x="62708" y="39206"/>
                    <a:pt x="72319" y="29238"/>
                    <a:pt x="94776" y="29238"/>
                  </a:cubicBezTo>
                  <a:cubicBezTo>
                    <a:pt x="96108" y="29238"/>
                    <a:pt x="106290" y="29238"/>
                    <a:pt x="107622" y="29238"/>
                  </a:cubicBezTo>
                  <a:cubicBezTo>
                    <a:pt x="133695" y="29143"/>
                    <a:pt x="139785" y="39206"/>
                    <a:pt x="145780" y="48794"/>
                  </a:cubicBezTo>
                  <a:cubicBezTo>
                    <a:pt x="149205" y="54205"/>
                    <a:pt x="151108" y="66925"/>
                    <a:pt x="151108" y="94360"/>
                  </a:cubicBezTo>
                  <a:cubicBezTo>
                    <a:pt x="151203" y="121699"/>
                    <a:pt x="148158" y="130053"/>
                    <a:pt x="145875" y="13669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4" name="Freeform 23">
              <a:extLst>
                <a:ext uri="{FF2B5EF4-FFF2-40B4-BE49-F238E27FC236}">
                  <a16:creationId xmlns:a16="http://schemas.microsoft.com/office/drawing/2014/main" id="{29C7795A-2D3A-3F47-A8BE-2201823E9DE6}"/>
                </a:ext>
              </a:extLst>
            </p:cNvPr>
            <p:cNvSpPr/>
            <p:nvPr/>
          </p:nvSpPr>
          <p:spPr>
            <a:xfrm>
              <a:off x="9370683" y="-1393268"/>
              <a:ext cx="80247" cy="183403"/>
            </a:xfrm>
            <a:custGeom>
              <a:avLst/>
              <a:gdLst>
                <a:gd name="connsiteX0" fmla="*/ 79836 w 80247"/>
                <a:gd name="connsiteY0" fmla="*/ 157488 h 183403"/>
                <a:gd name="connsiteX1" fmla="*/ 78028 w 80247"/>
                <a:gd name="connsiteY1" fmla="*/ 156728 h 183403"/>
                <a:gd name="connsiteX2" fmla="*/ 60139 w 80247"/>
                <a:gd name="connsiteY2" fmla="*/ 146666 h 183403"/>
                <a:gd name="connsiteX3" fmla="*/ 60139 w 80247"/>
                <a:gd name="connsiteY3" fmla="*/ 106985 h 183403"/>
                <a:gd name="connsiteX4" fmla="*/ 60139 w 80247"/>
                <a:gd name="connsiteY4" fmla="*/ 77842 h 183403"/>
                <a:gd name="connsiteX5" fmla="*/ 60139 w 80247"/>
                <a:gd name="connsiteY5" fmla="*/ 36738 h 183403"/>
                <a:gd name="connsiteX6" fmla="*/ 78028 w 80247"/>
                <a:gd name="connsiteY6" fmla="*/ 26675 h 183403"/>
                <a:gd name="connsiteX7" fmla="*/ 79836 w 80247"/>
                <a:gd name="connsiteY7" fmla="*/ 25916 h 183403"/>
                <a:gd name="connsiteX8" fmla="*/ 80217 w 80247"/>
                <a:gd name="connsiteY8" fmla="*/ 24112 h 183403"/>
                <a:gd name="connsiteX9" fmla="*/ 80027 w 80247"/>
                <a:gd name="connsiteY9" fmla="*/ 1709 h 183403"/>
                <a:gd name="connsiteX10" fmla="*/ 78314 w 80247"/>
                <a:gd name="connsiteY10" fmla="*/ 0 h 183403"/>
                <a:gd name="connsiteX11" fmla="*/ 1903 w 80247"/>
                <a:gd name="connsiteY11" fmla="*/ 0 h 183403"/>
                <a:gd name="connsiteX12" fmla="*/ 190 w 80247"/>
                <a:gd name="connsiteY12" fmla="*/ 1709 h 183403"/>
                <a:gd name="connsiteX13" fmla="*/ 0 w 80247"/>
                <a:gd name="connsiteY13" fmla="*/ 24112 h 183403"/>
                <a:gd name="connsiteX14" fmla="*/ 381 w 80247"/>
                <a:gd name="connsiteY14" fmla="*/ 25916 h 183403"/>
                <a:gd name="connsiteX15" fmla="*/ 2189 w 80247"/>
                <a:gd name="connsiteY15" fmla="*/ 26675 h 183403"/>
                <a:gd name="connsiteX16" fmla="*/ 20078 w 80247"/>
                <a:gd name="connsiteY16" fmla="*/ 36738 h 183403"/>
                <a:gd name="connsiteX17" fmla="*/ 20078 w 80247"/>
                <a:gd name="connsiteY17" fmla="*/ 77842 h 183403"/>
                <a:gd name="connsiteX18" fmla="*/ 20078 w 80247"/>
                <a:gd name="connsiteY18" fmla="*/ 106985 h 183403"/>
                <a:gd name="connsiteX19" fmla="*/ 20078 w 80247"/>
                <a:gd name="connsiteY19" fmla="*/ 146666 h 183403"/>
                <a:gd name="connsiteX20" fmla="*/ 2189 w 80247"/>
                <a:gd name="connsiteY20" fmla="*/ 156728 h 183403"/>
                <a:gd name="connsiteX21" fmla="*/ 381 w 80247"/>
                <a:gd name="connsiteY21" fmla="*/ 157488 h 183403"/>
                <a:gd name="connsiteX22" fmla="*/ 0 w 80247"/>
                <a:gd name="connsiteY22" fmla="*/ 159291 h 183403"/>
                <a:gd name="connsiteX23" fmla="*/ 190 w 80247"/>
                <a:gd name="connsiteY23" fmla="*/ 181695 h 183403"/>
                <a:gd name="connsiteX24" fmla="*/ 1903 w 80247"/>
                <a:gd name="connsiteY24" fmla="*/ 183403 h 183403"/>
                <a:gd name="connsiteX25" fmla="*/ 78314 w 80247"/>
                <a:gd name="connsiteY25" fmla="*/ 183403 h 183403"/>
                <a:gd name="connsiteX26" fmla="*/ 80027 w 80247"/>
                <a:gd name="connsiteY26" fmla="*/ 181695 h 183403"/>
                <a:gd name="connsiteX27" fmla="*/ 80217 w 80247"/>
                <a:gd name="connsiteY27" fmla="*/ 159291 h 183403"/>
                <a:gd name="connsiteX28" fmla="*/ 79836 w 80247"/>
                <a:gd name="connsiteY28" fmla="*/ 157488 h 18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247" h="183403">
                  <a:moveTo>
                    <a:pt x="79836" y="157488"/>
                  </a:moveTo>
                  <a:cubicBezTo>
                    <a:pt x="79265" y="156728"/>
                    <a:pt x="78028" y="156728"/>
                    <a:pt x="78028" y="156728"/>
                  </a:cubicBezTo>
                  <a:cubicBezTo>
                    <a:pt x="70321" y="155494"/>
                    <a:pt x="60139" y="151033"/>
                    <a:pt x="60139" y="146666"/>
                  </a:cubicBezTo>
                  <a:lnTo>
                    <a:pt x="60139" y="106985"/>
                  </a:lnTo>
                  <a:lnTo>
                    <a:pt x="60139" y="77842"/>
                  </a:lnTo>
                  <a:lnTo>
                    <a:pt x="60139" y="36738"/>
                  </a:lnTo>
                  <a:cubicBezTo>
                    <a:pt x="60139" y="32371"/>
                    <a:pt x="70225" y="28004"/>
                    <a:pt x="78028" y="26675"/>
                  </a:cubicBezTo>
                  <a:cubicBezTo>
                    <a:pt x="78028" y="26675"/>
                    <a:pt x="79265" y="26675"/>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77842"/>
                  </a:lnTo>
                  <a:lnTo>
                    <a:pt x="20078" y="106985"/>
                  </a:lnTo>
                  <a:lnTo>
                    <a:pt x="20078" y="146666"/>
                  </a:lnTo>
                  <a:cubicBezTo>
                    <a:pt x="20078" y="151033"/>
                    <a:pt x="9991" y="155399"/>
                    <a:pt x="2189" y="156728"/>
                  </a:cubicBezTo>
                  <a:cubicBezTo>
                    <a:pt x="2189" y="156728"/>
                    <a:pt x="952" y="156728"/>
                    <a:pt x="381" y="157488"/>
                  </a:cubicBezTo>
                  <a:cubicBezTo>
                    <a:pt x="-190" y="158247"/>
                    <a:pt x="95" y="159291"/>
                    <a:pt x="0" y="159291"/>
                  </a:cubicBezTo>
                  <a:lnTo>
                    <a:pt x="190" y="181695"/>
                  </a:lnTo>
                  <a:cubicBezTo>
                    <a:pt x="190" y="182644"/>
                    <a:pt x="952" y="183403"/>
                    <a:pt x="1903" y="183403"/>
                  </a:cubicBezTo>
                  <a:lnTo>
                    <a:pt x="78314" y="183403"/>
                  </a:lnTo>
                  <a:cubicBezTo>
                    <a:pt x="79265" y="183403"/>
                    <a:pt x="80027" y="182644"/>
                    <a:pt x="80027" y="181695"/>
                  </a:cubicBezTo>
                  <a:lnTo>
                    <a:pt x="80217" y="159291"/>
                  </a:lnTo>
                  <a:cubicBezTo>
                    <a:pt x="80217" y="159291"/>
                    <a:pt x="80407" y="158342"/>
                    <a:pt x="79836" y="15748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5" name="Freeform 24">
              <a:extLst>
                <a:ext uri="{FF2B5EF4-FFF2-40B4-BE49-F238E27FC236}">
                  <a16:creationId xmlns:a16="http://schemas.microsoft.com/office/drawing/2014/main" id="{AEA782B2-CCD5-DE48-BC1B-7BFACE342066}"/>
                </a:ext>
              </a:extLst>
            </p:cNvPr>
            <p:cNvSpPr/>
            <p:nvPr/>
          </p:nvSpPr>
          <p:spPr>
            <a:xfrm>
              <a:off x="9463270" y="-1393268"/>
              <a:ext cx="200222" cy="183688"/>
            </a:xfrm>
            <a:custGeom>
              <a:avLst/>
              <a:gdLst>
                <a:gd name="connsiteX0" fmla="*/ 199924 w 200222"/>
                <a:gd name="connsiteY0" fmla="*/ 157488 h 183688"/>
                <a:gd name="connsiteX1" fmla="*/ 198116 w 200222"/>
                <a:gd name="connsiteY1" fmla="*/ 156728 h 183688"/>
                <a:gd name="connsiteX2" fmla="*/ 180226 w 200222"/>
                <a:gd name="connsiteY2" fmla="*/ 146666 h 183688"/>
                <a:gd name="connsiteX3" fmla="*/ 180131 w 200222"/>
                <a:gd name="connsiteY3" fmla="*/ 121605 h 183688"/>
                <a:gd name="connsiteX4" fmla="*/ 143305 w 200222"/>
                <a:gd name="connsiteY4" fmla="*/ 86386 h 183688"/>
                <a:gd name="connsiteX5" fmla="*/ 142259 w 200222"/>
                <a:gd name="connsiteY5" fmla="*/ 86386 h 183688"/>
                <a:gd name="connsiteX6" fmla="*/ 142259 w 200222"/>
                <a:gd name="connsiteY6" fmla="*/ 86101 h 183688"/>
                <a:gd name="connsiteX7" fmla="*/ 142069 w 200222"/>
                <a:gd name="connsiteY7" fmla="*/ 86101 h 183688"/>
                <a:gd name="connsiteX8" fmla="*/ 139880 w 200222"/>
                <a:gd name="connsiteY8" fmla="*/ 83918 h 183688"/>
                <a:gd name="connsiteX9" fmla="*/ 142069 w 200222"/>
                <a:gd name="connsiteY9" fmla="*/ 81829 h 183688"/>
                <a:gd name="connsiteX10" fmla="*/ 147302 w 200222"/>
                <a:gd name="connsiteY10" fmla="*/ 81829 h 183688"/>
                <a:gd name="connsiteX11" fmla="*/ 178609 w 200222"/>
                <a:gd name="connsiteY11" fmla="*/ 45471 h 183688"/>
                <a:gd name="connsiteX12" fmla="*/ 178609 w 200222"/>
                <a:gd name="connsiteY12" fmla="*/ 35219 h 183688"/>
                <a:gd name="connsiteX13" fmla="*/ 143305 w 200222"/>
                <a:gd name="connsiteY13" fmla="*/ 0 h 183688"/>
                <a:gd name="connsiteX14" fmla="*/ 66705 w 200222"/>
                <a:gd name="connsiteY14" fmla="*/ 95 h 183688"/>
                <a:gd name="connsiteX15" fmla="*/ 66705 w 200222"/>
                <a:gd name="connsiteY15" fmla="*/ 285 h 183688"/>
                <a:gd name="connsiteX16" fmla="*/ 1903 w 200222"/>
                <a:gd name="connsiteY16" fmla="*/ 285 h 183688"/>
                <a:gd name="connsiteX17" fmla="*/ 190 w 200222"/>
                <a:gd name="connsiteY17" fmla="*/ 1994 h 183688"/>
                <a:gd name="connsiteX18" fmla="*/ 0 w 200222"/>
                <a:gd name="connsiteY18" fmla="*/ 24397 h 183688"/>
                <a:gd name="connsiteX19" fmla="*/ 381 w 200222"/>
                <a:gd name="connsiteY19" fmla="*/ 26201 h 183688"/>
                <a:gd name="connsiteX20" fmla="*/ 2189 w 200222"/>
                <a:gd name="connsiteY20" fmla="*/ 26960 h 183688"/>
                <a:gd name="connsiteX21" fmla="*/ 20078 w 200222"/>
                <a:gd name="connsiteY21" fmla="*/ 37023 h 183688"/>
                <a:gd name="connsiteX22" fmla="*/ 20078 w 200222"/>
                <a:gd name="connsiteY22" fmla="*/ 78127 h 183688"/>
                <a:gd name="connsiteX23" fmla="*/ 20078 w 200222"/>
                <a:gd name="connsiteY23" fmla="*/ 107270 h 183688"/>
                <a:gd name="connsiteX24" fmla="*/ 20078 w 200222"/>
                <a:gd name="connsiteY24" fmla="*/ 146951 h 183688"/>
                <a:gd name="connsiteX25" fmla="*/ 2189 w 200222"/>
                <a:gd name="connsiteY25" fmla="*/ 157013 h 183688"/>
                <a:gd name="connsiteX26" fmla="*/ 381 w 200222"/>
                <a:gd name="connsiteY26" fmla="*/ 157773 h 183688"/>
                <a:gd name="connsiteX27" fmla="*/ 0 w 200222"/>
                <a:gd name="connsiteY27" fmla="*/ 159576 h 183688"/>
                <a:gd name="connsiteX28" fmla="*/ 190 w 200222"/>
                <a:gd name="connsiteY28" fmla="*/ 181980 h 183688"/>
                <a:gd name="connsiteX29" fmla="*/ 1903 w 200222"/>
                <a:gd name="connsiteY29" fmla="*/ 183688 h 183688"/>
                <a:gd name="connsiteX30" fmla="*/ 78314 w 200222"/>
                <a:gd name="connsiteY30" fmla="*/ 183688 h 183688"/>
                <a:gd name="connsiteX31" fmla="*/ 80027 w 200222"/>
                <a:gd name="connsiteY31" fmla="*/ 181980 h 183688"/>
                <a:gd name="connsiteX32" fmla="*/ 80217 w 200222"/>
                <a:gd name="connsiteY32" fmla="*/ 159576 h 183688"/>
                <a:gd name="connsiteX33" fmla="*/ 79836 w 200222"/>
                <a:gd name="connsiteY33" fmla="*/ 157773 h 183688"/>
                <a:gd name="connsiteX34" fmla="*/ 78028 w 200222"/>
                <a:gd name="connsiteY34" fmla="*/ 157013 h 183688"/>
                <a:gd name="connsiteX35" fmla="*/ 60139 w 200222"/>
                <a:gd name="connsiteY35" fmla="*/ 146951 h 183688"/>
                <a:gd name="connsiteX36" fmla="*/ 60139 w 200222"/>
                <a:gd name="connsiteY36" fmla="*/ 107270 h 183688"/>
                <a:gd name="connsiteX37" fmla="*/ 60139 w 200222"/>
                <a:gd name="connsiteY37" fmla="*/ 78127 h 183688"/>
                <a:gd name="connsiteX38" fmla="*/ 60139 w 200222"/>
                <a:gd name="connsiteY38" fmla="*/ 37023 h 183688"/>
                <a:gd name="connsiteX39" fmla="*/ 66990 w 200222"/>
                <a:gd name="connsiteY39" fmla="*/ 30472 h 183688"/>
                <a:gd name="connsiteX40" fmla="*/ 111047 w 200222"/>
                <a:gd name="connsiteY40" fmla="*/ 30472 h 183688"/>
                <a:gd name="connsiteX41" fmla="*/ 128651 w 200222"/>
                <a:gd name="connsiteY41" fmla="*/ 46326 h 183688"/>
                <a:gd name="connsiteX42" fmla="*/ 128651 w 200222"/>
                <a:gd name="connsiteY42" fmla="*/ 54300 h 183688"/>
                <a:gd name="connsiteX43" fmla="*/ 110667 w 200222"/>
                <a:gd name="connsiteY43" fmla="*/ 73191 h 183688"/>
                <a:gd name="connsiteX44" fmla="*/ 110001 w 200222"/>
                <a:gd name="connsiteY44" fmla="*/ 73380 h 183688"/>
                <a:gd name="connsiteX45" fmla="*/ 83547 w 200222"/>
                <a:gd name="connsiteY45" fmla="*/ 73380 h 183688"/>
                <a:gd name="connsiteX46" fmla="*/ 77838 w 200222"/>
                <a:gd name="connsiteY46" fmla="*/ 79076 h 183688"/>
                <a:gd name="connsiteX47" fmla="*/ 77838 w 200222"/>
                <a:gd name="connsiteY47" fmla="*/ 99011 h 183688"/>
                <a:gd name="connsiteX48" fmla="*/ 83547 w 200222"/>
                <a:gd name="connsiteY48" fmla="*/ 104707 h 183688"/>
                <a:gd name="connsiteX49" fmla="*/ 112855 w 200222"/>
                <a:gd name="connsiteY49" fmla="*/ 104707 h 183688"/>
                <a:gd name="connsiteX50" fmla="*/ 131696 w 200222"/>
                <a:gd name="connsiteY50" fmla="*/ 121699 h 183688"/>
                <a:gd name="connsiteX51" fmla="*/ 131316 w 200222"/>
                <a:gd name="connsiteY51" fmla="*/ 173246 h 183688"/>
                <a:gd name="connsiteX52" fmla="*/ 131982 w 200222"/>
                <a:gd name="connsiteY52" fmla="*/ 179132 h 183688"/>
                <a:gd name="connsiteX53" fmla="*/ 140070 w 200222"/>
                <a:gd name="connsiteY53" fmla="*/ 183403 h 183688"/>
                <a:gd name="connsiteX54" fmla="*/ 198116 w 200222"/>
                <a:gd name="connsiteY54" fmla="*/ 183403 h 183688"/>
                <a:gd name="connsiteX55" fmla="*/ 199828 w 200222"/>
                <a:gd name="connsiteY55" fmla="*/ 181695 h 183688"/>
                <a:gd name="connsiteX56" fmla="*/ 200019 w 200222"/>
                <a:gd name="connsiteY56" fmla="*/ 159291 h 183688"/>
                <a:gd name="connsiteX57" fmla="*/ 199924 w 200222"/>
                <a:gd name="connsiteY57" fmla="*/ 157488 h 18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0222" h="183688">
                  <a:moveTo>
                    <a:pt x="199924" y="157488"/>
                  </a:moveTo>
                  <a:cubicBezTo>
                    <a:pt x="199353" y="156728"/>
                    <a:pt x="198116" y="156728"/>
                    <a:pt x="198116" y="156728"/>
                  </a:cubicBezTo>
                  <a:cubicBezTo>
                    <a:pt x="190408" y="155494"/>
                    <a:pt x="180226" y="151033"/>
                    <a:pt x="180226" y="146666"/>
                  </a:cubicBezTo>
                  <a:lnTo>
                    <a:pt x="180131" y="121605"/>
                  </a:lnTo>
                  <a:cubicBezTo>
                    <a:pt x="180131" y="102144"/>
                    <a:pt x="174802" y="86386"/>
                    <a:pt x="143305" y="86386"/>
                  </a:cubicBezTo>
                  <a:lnTo>
                    <a:pt x="142259" y="86386"/>
                  </a:lnTo>
                  <a:lnTo>
                    <a:pt x="142259" y="86101"/>
                  </a:lnTo>
                  <a:lnTo>
                    <a:pt x="142069" y="86101"/>
                  </a:lnTo>
                  <a:cubicBezTo>
                    <a:pt x="140927" y="86101"/>
                    <a:pt x="139880" y="85152"/>
                    <a:pt x="139880" y="83918"/>
                  </a:cubicBezTo>
                  <a:cubicBezTo>
                    <a:pt x="139880" y="82778"/>
                    <a:pt x="140831" y="81829"/>
                    <a:pt x="142069" y="81829"/>
                  </a:cubicBezTo>
                  <a:lnTo>
                    <a:pt x="147302" y="81829"/>
                  </a:lnTo>
                  <a:cubicBezTo>
                    <a:pt x="164906" y="79836"/>
                    <a:pt x="178609" y="63508"/>
                    <a:pt x="178609" y="45471"/>
                  </a:cubicBezTo>
                  <a:lnTo>
                    <a:pt x="178609" y="35219"/>
                  </a:lnTo>
                  <a:cubicBezTo>
                    <a:pt x="178609" y="15758"/>
                    <a:pt x="162813" y="0"/>
                    <a:pt x="143305" y="0"/>
                  </a:cubicBezTo>
                  <a:lnTo>
                    <a:pt x="66705" y="95"/>
                  </a:lnTo>
                  <a:lnTo>
                    <a:pt x="66705" y="285"/>
                  </a:lnTo>
                  <a:lnTo>
                    <a:pt x="1903" y="285"/>
                  </a:lnTo>
                  <a:cubicBezTo>
                    <a:pt x="952" y="285"/>
                    <a:pt x="190" y="1044"/>
                    <a:pt x="190" y="1994"/>
                  </a:cubicBezTo>
                  <a:lnTo>
                    <a:pt x="0" y="24397"/>
                  </a:lnTo>
                  <a:cubicBezTo>
                    <a:pt x="95" y="24397"/>
                    <a:pt x="-190" y="25441"/>
                    <a:pt x="381" y="26201"/>
                  </a:cubicBezTo>
                  <a:cubicBezTo>
                    <a:pt x="952" y="26960"/>
                    <a:pt x="2189" y="26960"/>
                    <a:pt x="2189" y="26960"/>
                  </a:cubicBezTo>
                  <a:cubicBezTo>
                    <a:pt x="9896" y="28194"/>
                    <a:pt x="20078" y="32656"/>
                    <a:pt x="20078" y="37023"/>
                  </a:cubicBezTo>
                  <a:lnTo>
                    <a:pt x="20078" y="78127"/>
                  </a:lnTo>
                  <a:lnTo>
                    <a:pt x="20078" y="107270"/>
                  </a:lnTo>
                  <a:lnTo>
                    <a:pt x="20078" y="146951"/>
                  </a:lnTo>
                  <a:cubicBezTo>
                    <a:pt x="20078" y="151317"/>
                    <a:pt x="9991" y="155684"/>
                    <a:pt x="2189" y="157013"/>
                  </a:cubicBezTo>
                  <a:cubicBezTo>
                    <a:pt x="2189" y="157013"/>
                    <a:pt x="952" y="157013"/>
                    <a:pt x="381" y="157773"/>
                  </a:cubicBezTo>
                  <a:cubicBezTo>
                    <a:pt x="-190" y="158532"/>
                    <a:pt x="95" y="159576"/>
                    <a:pt x="0" y="159576"/>
                  </a:cubicBezTo>
                  <a:lnTo>
                    <a:pt x="190" y="181980"/>
                  </a:lnTo>
                  <a:cubicBezTo>
                    <a:pt x="190" y="182929"/>
                    <a:pt x="952" y="183688"/>
                    <a:pt x="1903" y="183688"/>
                  </a:cubicBezTo>
                  <a:lnTo>
                    <a:pt x="78314" y="183688"/>
                  </a:lnTo>
                  <a:cubicBezTo>
                    <a:pt x="79265" y="183688"/>
                    <a:pt x="80027" y="182929"/>
                    <a:pt x="80027" y="181980"/>
                  </a:cubicBezTo>
                  <a:lnTo>
                    <a:pt x="80217" y="159576"/>
                  </a:lnTo>
                  <a:cubicBezTo>
                    <a:pt x="80122" y="159576"/>
                    <a:pt x="80407" y="158532"/>
                    <a:pt x="79836" y="157773"/>
                  </a:cubicBezTo>
                  <a:cubicBezTo>
                    <a:pt x="79265" y="157013"/>
                    <a:pt x="78028" y="157013"/>
                    <a:pt x="78028" y="157013"/>
                  </a:cubicBezTo>
                  <a:cubicBezTo>
                    <a:pt x="70321" y="155779"/>
                    <a:pt x="60139" y="151317"/>
                    <a:pt x="60139" y="146951"/>
                  </a:cubicBezTo>
                  <a:lnTo>
                    <a:pt x="60139" y="107270"/>
                  </a:lnTo>
                  <a:lnTo>
                    <a:pt x="60139" y="78127"/>
                  </a:lnTo>
                  <a:lnTo>
                    <a:pt x="60139" y="37023"/>
                  </a:lnTo>
                  <a:cubicBezTo>
                    <a:pt x="60139" y="34649"/>
                    <a:pt x="63089" y="32276"/>
                    <a:pt x="66990" y="30472"/>
                  </a:cubicBezTo>
                  <a:lnTo>
                    <a:pt x="111047" y="30472"/>
                  </a:lnTo>
                  <a:cubicBezTo>
                    <a:pt x="119802" y="30472"/>
                    <a:pt x="128651" y="37592"/>
                    <a:pt x="128651" y="46326"/>
                  </a:cubicBezTo>
                  <a:lnTo>
                    <a:pt x="128651" y="54300"/>
                  </a:lnTo>
                  <a:cubicBezTo>
                    <a:pt x="128842" y="59331"/>
                    <a:pt x="121039" y="73855"/>
                    <a:pt x="110667" y="73191"/>
                  </a:cubicBezTo>
                  <a:lnTo>
                    <a:pt x="110001" y="73380"/>
                  </a:lnTo>
                  <a:lnTo>
                    <a:pt x="83547" y="73380"/>
                  </a:lnTo>
                  <a:cubicBezTo>
                    <a:pt x="80407" y="73380"/>
                    <a:pt x="77838" y="75943"/>
                    <a:pt x="77838" y="79076"/>
                  </a:cubicBezTo>
                  <a:lnTo>
                    <a:pt x="77838" y="99011"/>
                  </a:lnTo>
                  <a:cubicBezTo>
                    <a:pt x="77838" y="102144"/>
                    <a:pt x="80407" y="104707"/>
                    <a:pt x="83547" y="104707"/>
                  </a:cubicBezTo>
                  <a:lnTo>
                    <a:pt x="112855" y="104707"/>
                  </a:lnTo>
                  <a:cubicBezTo>
                    <a:pt x="132363" y="105846"/>
                    <a:pt x="131506" y="116953"/>
                    <a:pt x="131696" y="121699"/>
                  </a:cubicBezTo>
                  <a:lnTo>
                    <a:pt x="131316" y="173246"/>
                  </a:lnTo>
                  <a:cubicBezTo>
                    <a:pt x="131316" y="173246"/>
                    <a:pt x="131411" y="177138"/>
                    <a:pt x="131982" y="179132"/>
                  </a:cubicBezTo>
                  <a:cubicBezTo>
                    <a:pt x="133124" y="182929"/>
                    <a:pt x="140070" y="183403"/>
                    <a:pt x="140070" y="183403"/>
                  </a:cubicBezTo>
                  <a:lnTo>
                    <a:pt x="198116" y="183403"/>
                  </a:lnTo>
                  <a:cubicBezTo>
                    <a:pt x="199067" y="183403"/>
                    <a:pt x="199828" y="182644"/>
                    <a:pt x="199828" y="181695"/>
                  </a:cubicBezTo>
                  <a:lnTo>
                    <a:pt x="200019" y="159291"/>
                  </a:lnTo>
                  <a:cubicBezTo>
                    <a:pt x="200209" y="159291"/>
                    <a:pt x="200399" y="158342"/>
                    <a:pt x="199924" y="15748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6" name="Freeform 25">
              <a:extLst>
                <a:ext uri="{FF2B5EF4-FFF2-40B4-BE49-F238E27FC236}">
                  <a16:creationId xmlns:a16="http://schemas.microsoft.com/office/drawing/2014/main" id="{4445F3C3-6BE4-EE42-8092-3050BE21A829}"/>
                </a:ext>
              </a:extLst>
            </p:cNvPr>
            <p:cNvSpPr/>
            <p:nvPr/>
          </p:nvSpPr>
          <p:spPr>
            <a:xfrm>
              <a:off x="8650126" y="-1394977"/>
              <a:ext cx="151270" cy="186554"/>
            </a:xfrm>
            <a:custGeom>
              <a:avLst/>
              <a:gdLst>
                <a:gd name="connsiteX0" fmla="*/ 29342 w 151270"/>
                <a:gd name="connsiteY0" fmla="*/ 96828 h 186554"/>
                <a:gd name="connsiteX1" fmla="*/ 87863 w 151270"/>
                <a:gd name="connsiteY1" fmla="*/ 111827 h 186554"/>
                <a:gd name="connsiteX2" fmla="*/ 110701 w 151270"/>
                <a:gd name="connsiteY2" fmla="*/ 138882 h 186554"/>
                <a:gd name="connsiteX3" fmla="*/ 80631 w 151270"/>
                <a:gd name="connsiteY3" fmla="*/ 157583 h 186554"/>
                <a:gd name="connsiteX4" fmla="*/ 48468 w 151270"/>
                <a:gd name="connsiteY4" fmla="*/ 155210 h 186554"/>
                <a:gd name="connsiteX5" fmla="*/ 32101 w 151270"/>
                <a:gd name="connsiteY5" fmla="*/ 138312 h 186554"/>
                <a:gd name="connsiteX6" fmla="*/ 28390 w 151270"/>
                <a:gd name="connsiteY6" fmla="*/ 129199 h 186554"/>
                <a:gd name="connsiteX7" fmla="*/ 23252 w 151270"/>
                <a:gd name="connsiteY7" fmla="*/ 126161 h 186554"/>
                <a:gd name="connsiteX8" fmla="*/ 6980 w 151270"/>
                <a:gd name="connsiteY8" fmla="*/ 126161 h 186554"/>
                <a:gd name="connsiteX9" fmla="*/ 2793 w 151270"/>
                <a:gd name="connsiteY9" fmla="*/ 129199 h 186554"/>
                <a:gd name="connsiteX10" fmla="*/ 2888 w 151270"/>
                <a:gd name="connsiteY10" fmla="*/ 164798 h 186554"/>
                <a:gd name="connsiteX11" fmla="*/ 2888 w 151270"/>
                <a:gd name="connsiteY11" fmla="*/ 180556 h 186554"/>
                <a:gd name="connsiteX12" fmla="*/ 30674 w 151270"/>
                <a:gd name="connsiteY12" fmla="*/ 186536 h 186554"/>
                <a:gd name="connsiteX13" fmla="*/ 85103 w 151270"/>
                <a:gd name="connsiteY13" fmla="*/ 186536 h 186554"/>
                <a:gd name="connsiteX14" fmla="*/ 125545 w 151270"/>
                <a:gd name="connsiteY14" fmla="*/ 177233 h 186554"/>
                <a:gd name="connsiteX15" fmla="*/ 151237 w 151270"/>
                <a:gd name="connsiteY15" fmla="*/ 130243 h 186554"/>
                <a:gd name="connsiteX16" fmla="*/ 133348 w 151270"/>
                <a:gd name="connsiteY16" fmla="*/ 80405 h 186554"/>
                <a:gd name="connsiteX17" fmla="*/ 74827 w 151270"/>
                <a:gd name="connsiteY17" fmla="*/ 65501 h 186554"/>
                <a:gd name="connsiteX18" fmla="*/ 41998 w 151270"/>
                <a:gd name="connsiteY18" fmla="*/ 44142 h 186554"/>
                <a:gd name="connsiteX19" fmla="*/ 72067 w 151270"/>
                <a:gd name="connsiteY19" fmla="*/ 25441 h 186554"/>
                <a:gd name="connsiteX20" fmla="*/ 93477 w 151270"/>
                <a:gd name="connsiteY20" fmla="*/ 27815 h 186554"/>
                <a:gd name="connsiteX21" fmla="*/ 106228 w 151270"/>
                <a:gd name="connsiteY21" fmla="*/ 37023 h 186554"/>
                <a:gd name="connsiteX22" fmla="*/ 112984 w 151270"/>
                <a:gd name="connsiteY22" fmla="*/ 50598 h 186554"/>
                <a:gd name="connsiteX23" fmla="*/ 118694 w 151270"/>
                <a:gd name="connsiteY23" fmla="*/ 56293 h 186554"/>
                <a:gd name="connsiteX24" fmla="*/ 133443 w 151270"/>
                <a:gd name="connsiteY24" fmla="*/ 56293 h 186554"/>
                <a:gd name="connsiteX25" fmla="*/ 139152 w 151270"/>
                <a:gd name="connsiteY25" fmla="*/ 50598 h 186554"/>
                <a:gd name="connsiteX26" fmla="*/ 139057 w 151270"/>
                <a:gd name="connsiteY26" fmla="*/ 3133 h 186554"/>
                <a:gd name="connsiteX27" fmla="*/ 111176 w 151270"/>
                <a:gd name="connsiteY27" fmla="*/ 0 h 186554"/>
                <a:gd name="connsiteX28" fmla="*/ 51228 w 151270"/>
                <a:gd name="connsiteY28" fmla="*/ 0 h 186554"/>
                <a:gd name="connsiteX29" fmla="*/ 17923 w 151270"/>
                <a:gd name="connsiteY29" fmla="*/ 12056 h 186554"/>
                <a:gd name="connsiteX30" fmla="*/ 34 w 151270"/>
                <a:gd name="connsiteY30" fmla="*/ 54110 h 186554"/>
                <a:gd name="connsiteX31" fmla="*/ 29342 w 151270"/>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270" h="186554">
                  <a:moveTo>
                    <a:pt x="29342" y="96828"/>
                  </a:moveTo>
                  <a:cubicBezTo>
                    <a:pt x="44281" y="101385"/>
                    <a:pt x="69974" y="108884"/>
                    <a:pt x="87863" y="111827"/>
                  </a:cubicBezTo>
                  <a:cubicBezTo>
                    <a:pt x="105657" y="114675"/>
                    <a:pt x="113555" y="123218"/>
                    <a:pt x="110701" y="138882"/>
                  </a:cubicBezTo>
                  <a:cubicBezTo>
                    <a:pt x="107846" y="154260"/>
                    <a:pt x="89956" y="157393"/>
                    <a:pt x="80631" y="157583"/>
                  </a:cubicBezTo>
                  <a:cubicBezTo>
                    <a:pt x="80631" y="157583"/>
                    <a:pt x="57794" y="158722"/>
                    <a:pt x="48468" y="155210"/>
                  </a:cubicBezTo>
                  <a:cubicBezTo>
                    <a:pt x="44662" y="153786"/>
                    <a:pt x="34005" y="141730"/>
                    <a:pt x="32101" y="138312"/>
                  </a:cubicBezTo>
                  <a:lnTo>
                    <a:pt x="28390" y="129199"/>
                  </a:lnTo>
                  <a:cubicBezTo>
                    <a:pt x="28390" y="127680"/>
                    <a:pt x="26392" y="126161"/>
                    <a:pt x="23252" y="126161"/>
                  </a:cubicBezTo>
                  <a:lnTo>
                    <a:pt x="6980" y="126161"/>
                  </a:lnTo>
                  <a:cubicBezTo>
                    <a:pt x="3840" y="126161"/>
                    <a:pt x="2793" y="126066"/>
                    <a:pt x="2793" y="129199"/>
                  </a:cubicBezTo>
                  <a:lnTo>
                    <a:pt x="2888" y="164798"/>
                  </a:lnTo>
                  <a:lnTo>
                    <a:pt x="2888" y="180556"/>
                  </a:lnTo>
                  <a:cubicBezTo>
                    <a:pt x="2888" y="185397"/>
                    <a:pt x="10215" y="186536"/>
                    <a:pt x="30674" y="186536"/>
                  </a:cubicBezTo>
                  <a:lnTo>
                    <a:pt x="85103" y="186536"/>
                  </a:lnTo>
                  <a:cubicBezTo>
                    <a:pt x="85103" y="186536"/>
                    <a:pt x="108322" y="187391"/>
                    <a:pt x="125545" y="177233"/>
                  </a:cubicBezTo>
                  <a:cubicBezTo>
                    <a:pt x="139628" y="168974"/>
                    <a:pt x="151998" y="146666"/>
                    <a:pt x="151237" y="130243"/>
                  </a:cubicBezTo>
                  <a:cubicBezTo>
                    <a:pt x="150095" y="103853"/>
                    <a:pt x="148382" y="89708"/>
                    <a:pt x="133348" y="80405"/>
                  </a:cubicBezTo>
                  <a:cubicBezTo>
                    <a:pt x="120026" y="72147"/>
                    <a:pt x="92716" y="68349"/>
                    <a:pt x="74827" y="65501"/>
                  </a:cubicBezTo>
                  <a:cubicBezTo>
                    <a:pt x="56937" y="62654"/>
                    <a:pt x="41998" y="59806"/>
                    <a:pt x="41998" y="44142"/>
                  </a:cubicBezTo>
                  <a:cubicBezTo>
                    <a:pt x="41998" y="28479"/>
                    <a:pt x="62647" y="25631"/>
                    <a:pt x="72067" y="25441"/>
                  </a:cubicBezTo>
                  <a:cubicBezTo>
                    <a:pt x="72067" y="25441"/>
                    <a:pt x="84152" y="24302"/>
                    <a:pt x="93477" y="27815"/>
                  </a:cubicBezTo>
                  <a:cubicBezTo>
                    <a:pt x="97283" y="29239"/>
                    <a:pt x="100899" y="30473"/>
                    <a:pt x="106228" y="37023"/>
                  </a:cubicBezTo>
                  <a:cubicBezTo>
                    <a:pt x="108797" y="40250"/>
                    <a:pt x="112984" y="50598"/>
                    <a:pt x="112984" y="50598"/>
                  </a:cubicBezTo>
                  <a:cubicBezTo>
                    <a:pt x="112984" y="53730"/>
                    <a:pt x="115553" y="56293"/>
                    <a:pt x="118694" y="56293"/>
                  </a:cubicBezTo>
                  <a:lnTo>
                    <a:pt x="133443" y="56293"/>
                  </a:lnTo>
                  <a:cubicBezTo>
                    <a:pt x="138010" y="56863"/>
                    <a:pt x="139152" y="55629"/>
                    <a:pt x="139152" y="50598"/>
                  </a:cubicBezTo>
                  <a:lnTo>
                    <a:pt x="139057" y="3133"/>
                  </a:lnTo>
                  <a:cubicBezTo>
                    <a:pt x="139057" y="-95"/>
                    <a:pt x="120502" y="0"/>
                    <a:pt x="111176" y="0"/>
                  </a:cubicBezTo>
                  <a:lnTo>
                    <a:pt x="51228" y="0"/>
                  </a:lnTo>
                  <a:cubicBezTo>
                    <a:pt x="51228" y="0"/>
                    <a:pt x="30484" y="190"/>
                    <a:pt x="17923" y="12056"/>
                  </a:cubicBezTo>
                  <a:cubicBezTo>
                    <a:pt x="8693" y="20790"/>
                    <a:pt x="-632" y="37687"/>
                    <a:pt x="34" y="54110"/>
                  </a:cubicBezTo>
                  <a:cubicBezTo>
                    <a:pt x="795" y="70438"/>
                    <a:pt x="3650" y="88949"/>
                    <a:pt x="29342"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7" name="Freeform 26">
              <a:extLst>
                <a:ext uri="{FF2B5EF4-FFF2-40B4-BE49-F238E27FC236}">
                  <a16:creationId xmlns:a16="http://schemas.microsoft.com/office/drawing/2014/main" id="{4D988231-4B94-6B4E-ACF0-48C947B81C92}"/>
                </a:ext>
              </a:extLst>
            </p:cNvPr>
            <p:cNvSpPr/>
            <p:nvPr/>
          </p:nvSpPr>
          <p:spPr>
            <a:xfrm>
              <a:off x="9830350" y="-1394977"/>
              <a:ext cx="151555" cy="186554"/>
            </a:xfrm>
            <a:custGeom>
              <a:avLst/>
              <a:gdLst>
                <a:gd name="connsiteX0" fmla="*/ 29627 w 151555"/>
                <a:gd name="connsiteY0" fmla="*/ 96828 h 186554"/>
                <a:gd name="connsiteX1" fmla="*/ 88149 w 151555"/>
                <a:gd name="connsiteY1" fmla="*/ 111827 h 186554"/>
                <a:gd name="connsiteX2" fmla="*/ 110986 w 151555"/>
                <a:gd name="connsiteY2" fmla="*/ 138882 h 186554"/>
                <a:gd name="connsiteX3" fmla="*/ 80917 w 151555"/>
                <a:gd name="connsiteY3" fmla="*/ 157583 h 186554"/>
                <a:gd name="connsiteX4" fmla="*/ 48754 w 151555"/>
                <a:gd name="connsiteY4" fmla="*/ 155210 h 186554"/>
                <a:gd name="connsiteX5" fmla="*/ 32387 w 151555"/>
                <a:gd name="connsiteY5" fmla="*/ 138312 h 186554"/>
                <a:gd name="connsiteX6" fmla="*/ 28676 w 151555"/>
                <a:gd name="connsiteY6" fmla="*/ 129199 h 186554"/>
                <a:gd name="connsiteX7" fmla="*/ 23537 w 151555"/>
                <a:gd name="connsiteY7" fmla="*/ 126161 h 186554"/>
                <a:gd name="connsiteX8" fmla="*/ 7266 w 151555"/>
                <a:gd name="connsiteY8" fmla="*/ 126161 h 186554"/>
                <a:gd name="connsiteX9" fmla="*/ 3079 w 151555"/>
                <a:gd name="connsiteY9" fmla="*/ 129199 h 186554"/>
                <a:gd name="connsiteX10" fmla="*/ 3174 w 151555"/>
                <a:gd name="connsiteY10" fmla="*/ 164798 h 186554"/>
                <a:gd name="connsiteX11" fmla="*/ 3174 w 151555"/>
                <a:gd name="connsiteY11" fmla="*/ 180556 h 186554"/>
                <a:gd name="connsiteX12" fmla="*/ 30959 w 151555"/>
                <a:gd name="connsiteY12" fmla="*/ 186536 h 186554"/>
                <a:gd name="connsiteX13" fmla="*/ 85389 w 151555"/>
                <a:gd name="connsiteY13" fmla="*/ 186536 h 186554"/>
                <a:gd name="connsiteX14" fmla="*/ 125830 w 151555"/>
                <a:gd name="connsiteY14" fmla="*/ 177233 h 186554"/>
                <a:gd name="connsiteX15" fmla="*/ 151523 w 151555"/>
                <a:gd name="connsiteY15" fmla="*/ 130243 h 186554"/>
                <a:gd name="connsiteX16" fmla="*/ 133633 w 151555"/>
                <a:gd name="connsiteY16" fmla="*/ 80405 h 186554"/>
                <a:gd name="connsiteX17" fmla="*/ 75112 w 151555"/>
                <a:gd name="connsiteY17" fmla="*/ 65501 h 186554"/>
                <a:gd name="connsiteX18" fmla="*/ 42283 w 151555"/>
                <a:gd name="connsiteY18" fmla="*/ 44142 h 186554"/>
                <a:gd name="connsiteX19" fmla="*/ 72353 w 151555"/>
                <a:gd name="connsiteY19" fmla="*/ 25441 h 186554"/>
                <a:gd name="connsiteX20" fmla="*/ 93763 w 151555"/>
                <a:gd name="connsiteY20" fmla="*/ 27815 h 186554"/>
                <a:gd name="connsiteX21" fmla="*/ 106514 w 151555"/>
                <a:gd name="connsiteY21" fmla="*/ 37023 h 186554"/>
                <a:gd name="connsiteX22" fmla="*/ 113270 w 151555"/>
                <a:gd name="connsiteY22" fmla="*/ 50598 h 186554"/>
                <a:gd name="connsiteX23" fmla="*/ 118979 w 151555"/>
                <a:gd name="connsiteY23" fmla="*/ 56293 h 186554"/>
                <a:gd name="connsiteX24" fmla="*/ 133728 w 151555"/>
                <a:gd name="connsiteY24" fmla="*/ 56293 h 186554"/>
                <a:gd name="connsiteX25" fmla="*/ 139438 w 151555"/>
                <a:gd name="connsiteY25" fmla="*/ 50598 h 186554"/>
                <a:gd name="connsiteX26" fmla="*/ 139343 w 151555"/>
                <a:gd name="connsiteY26" fmla="*/ 3133 h 186554"/>
                <a:gd name="connsiteX27" fmla="*/ 111462 w 151555"/>
                <a:gd name="connsiteY27" fmla="*/ 0 h 186554"/>
                <a:gd name="connsiteX28" fmla="*/ 51228 w 151555"/>
                <a:gd name="connsiteY28" fmla="*/ 0 h 186554"/>
                <a:gd name="connsiteX29" fmla="*/ 17923 w 151555"/>
                <a:gd name="connsiteY29" fmla="*/ 12056 h 186554"/>
                <a:gd name="connsiteX30" fmla="*/ 34 w 151555"/>
                <a:gd name="connsiteY30" fmla="*/ 54110 h 186554"/>
                <a:gd name="connsiteX31" fmla="*/ 29627 w 151555"/>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555" h="186554">
                  <a:moveTo>
                    <a:pt x="29627" y="96828"/>
                  </a:moveTo>
                  <a:cubicBezTo>
                    <a:pt x="44567" y="101385"/>
                    <a:pt x="70259" y="108884"/>
                    <a:pt x="88149" y="111827"/>
                  </a:cubicBezTo>
                  <a:cubicBezTo>
                    <a:pt x="106038" y="114675"/>
                    <a:pt x="113841" y="123218"/>
                    <a:pt x="110986" y="138882"/>
                  </a:cubicBezTo>
                  <a:cubicBezTo>
                    <a:pt x="108131" y="154260"/>
                    <a:pt x="90242" y="157393"/>
                    <a:pt x="80917" y="157583"/>
                  </a:cubicBezTo>
                  <a:cubicBezTo>
                    <a:pt x="80917" y="157583"/>
                    <a:pt x="58079" y="158722"/>
                    <a:pt x="48754" y="155210"/>
                  </a:cubicBezTo>
                  <a:cubicBezTo>
                    <a:pt x="44947" y="153786"/>
                    <a:pt x="34290" y="141730"/>
                    <a:pt x="32387" y="138312"/>
                  </a:cubicBezTo>
                  <a:lnTo>
                    <a:pt x="28676" y="129199"/>
                  </a:lnTo>
                  <a:cubicBezTo>
                    <a:pt x="28676" y="127680"/>
                    <a:pt x="26677" y="126161"/>
                    <a:pt x="23537" y="126161"/>
                  </a:cubicBezTo>
                  <a:lnTo>
                    <a:pt x="7266" y="126161"/>
                  </a:lnTo>
                  <a:cubicBezTo>
                    <a:pt x="4125" y="126161"/>
                    <a:pt x="3079" y="126066"/>
                    <a:pt x="3079" y="129199"/>
                  </a:cubicBezTo>
                  <a:lnTo>
                    <a:pt x="3174" y="164798"/>
                  </a:lnTo>
                  <a:lnTo>
                    <a:pt x="3174" y="180556"/>
                  </a:lnTo>
                  <a:cubicBezTo>
                    <a:pt x="3174" y="185397"/>
                    <a:pt x="10501" y="186536"/>
                    <a:pt x="30959" y="186536"/>
                  </a:cubicBezTo>
                  <a:lnTo>
                    <a:pt x="85389" y="186536"/>
                  </a:lnTo>
                  <a:cubicBezTo>
                    <a:pt x="85389" y="186536"/>
                    <a:pt x="108607" y="187391"/>
                    <a:pt x="125830" y="177233"/>
                  </a:cubicBezTo>
                  <a:cubicBezTo>
                    <a:pt x="139913" y="168974"/>
                    <a:pt x="152284" y="146666"/>
                    <a:pt x="151523" y="130243"/>
                  </a:cubicBezTo>
                  <a:cubicBezTo>
                    <a:pt x="150381" y="103853"/>
                    <a:pt x="148668" y="89708"/>
                    <a:pt x="133633" y="80405"/>
                  </a:cubicBezTo>
                  <a:cubicBezTo>
                    <a:pt x="120311" y="72147"/>
                    <a:pt x="93001" y="68349"/>
                    <a:pt x="75112" y="65501"/>
                  </a:cubicBezTo>
                  <a:cubicBezTo>
                    <a:pt x="57223" y="62654"/>
                    <a:pt x="42283" y="59806"/>
                    <a:pt x="42283" y="44142"/>
                  </a:cubicBezTo>
                  <a:cubicBezTo>
                    <a:pt x="42283" y="28479"/>
                    <a:pt x="62932" y="25631"/>
                    <a:pt x="72353" y="25441"/>
                  </a:cubicBezTo>
                  <a:cubicBezTo>
                    <a:pt x="72353" y="25441"/>
                    <a:pt x="84437" y="24302"/>
                    <a:pt x="93763" y="27815"/>
                  </a:cubicBezTo>
                  <a:cubicBezTo>
                    <a:pt x="97569" y="29239"/>
                    <a:pt x="101185" y="30473"/>
                    <a:pt x="106514" y="37023"/>
                  </a:cubicBezTo>
                  <a:cubicBezTo>
                    <a:pt x="109083" y="40250"/>
                    <a:pt x="113270" y="50598"/>
                    <a:pt x="113270" y="50598"/>
                  </a:cubicBezTo>
                  <a:cubicBezTo>
                    <a:pt x="113270" y="53730"/>
                    <a:pt x="115839" y="56293"/>
                    <a:pt x="118979" y="56293"/>
                  </a:cubicBezTo>
                  <a:lnTo>
                    <a:pt x="133728" y="56293"/>
                  </a:lnTo>
                  <a:cubicBezTo>
                    <a:pt x="138296" y="56863"/>
                    <a:pt x="139438" y="55629"/>
                    <a:pt x="139438" y="50598"/>
                  </a:cubicBezTo>
                  <a:lnTo>
                    <a:pt x="139343" y="3133"/>
                  </a:lnTo>
                  <a:cubicBezTo>
                    <a:pt x="139343" y="-95"/>
                    <a:pt x="120787" y="0"/>
                    <a:pt x="111462" y="0"/>
                  </a:cubicBezTo>
                  <a:lnTo>
                    <a:pt x="51228" y="0"/>
                  </a:lnTo>
                  <a:cubicBezTo>
                    <a:pt x="51228" y="0"/>
                    <a:pt x="30484" y="190"/>
                    <a:pt x="17923" y="12056"/>
                  </a:cubicBezTo>
                  <a:cubicBezTo>
                    <a:pt x="8693" y="20790"/>
                    <a:pt x="-632" y="37687"/>
                    <a:pt x="34" y="54110"/>
                  </a:cubicBezTo>
                  <a:cubicBezTo>
                    <a:pt x="1080" y="70438"/>
                    <a:pt x="3935" y="88949"/>
                    <a:pt x="29627"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8" name="Freeform 27">
              <a:extLst>
                <a:ext uri="{FF2B5EF4-FFF2-40B4-BE49-F238E27FC236}">
                  <a16:creationId xmlns:a16="http://schemas.microsoft.com/office/drawing/2014/main" id="{2EE4C108-1879-904F-AC21-0FA3C3DA3E41}"/>
                </a:ext>
              </a:extLst>
            </p:cNvPr>
            <p:cNvSpPr/>
            <p:nvPr/>
          </p:nvSpPr>
          <p:spPr>
            <a:xfrm>
              <a:off x="10808081" y="-1394977"/>
              <a:ext cx="151555" cy="186554"/>
            </a:xfrm>
            <a:custGeom>
              <a:avLst/>
              <a:gdLst>
                <a:gd name="connsiteX0" fmla="*/ 29627 w 151555"/>
                <a:gd name="connsiteY0" fmla="*/ 96828 h 186554"/>
                <a:gd name="connsiteX1" fmla="*/ 88148 w 151555"/>
                <a:gd name="connsiteY1" fmla="*/ 111827 h 186554"/>
                <a:gd name="connsiteX2" fmla="*/ 110986 w 151555"/>
                <a:gd name="connsiteY2" fmla="*/ 138882 h 186554"/>
                <a:gd name="connsiteX3" fmla="*/ 80917 w 151555"/>
                <a:gd name="connsiteY3" fmla="*/ 157583 h 186554"/>
                <a:gd name="connsiteX4" fmla="*/ 48754 w 151555"/>
                <a:gd name="connsiteY4" fmla="*/ 155210 h 186554"/>
                <a:gd name="connsiteX5" fmla="*/ 32387 w 151555"/>
                <a:gd name="connsiteY5" fmla="*/ 138312 h 186554"/>
                <a:gd name="connsiteX6" fmla="*/ 28676 w 151555"/>
                <a:gd name="connsiteY6" fmla="*/ 129199 h 186554"/>
                <a:gd name="connsiteX7" fmla="*/ 23537 w 151555"/>
                <a:gd name="connsiteY7" fmla="*/ 126161 h 186554"/>
                <a:gd name="connsiteX8" fmla="*/ 7265 w 151555"/>
                <a:gd name="connsiteY8" fmla="*/ 126161 h 186554"/>
                <a:gd name="connsiteX9" fmla="*/ 3078 w 151555"/>
                <a:gd name="connsiteY9" fmla="*/ 129199 h 186554"/>
                <a:gd name="connsiteX10" fmla="*/ 3174 w 151555"/>
                <a:gd name="connsiteY10" fmla="*/ 164798 h 186554"/>
                <a:gd name="connsiteX11" fmla="*/ 3174 w 151555"/>
                <a:gd name="connsiteY11" fmla="*/ 180556 h 186554"/>
                <a:gd name="connsiteX12" fmla="*/ 30960 w 151555"/>
                <a:gd name="connsiteY12" fmla="*/ 186536 h 186554"/>
                <a:gd name="connsiteX13" fmla="*/ 85389 w 151555"/>
                <a:gd name="connsiteY13" fmla="*/ 186536 h 186554"/>
                <a:gd name="connsiteX14" fmla="*/ 125830 w 151555"/>
                <a:gd name="connsiteY14" fmla="*/ 177233 h 186554"/>
                <a:gd name="connsiteX15" fmla="*/ 151522 w 151555"/>
                <a:gd name="connsiteY15" fmla="*/ 130243 h 186554"/>
                <a:gd name="connsiteX16" fmla="*/ 133633 w 151555"/>
                <a:gd name="connsiteY16" fmla="*/ 80405 h 186554"/>
                <a:gd name="connsiteX17" fmla="*/ 75112 w 151555"/>
                <a:gd name="connsiteY17" fmla="*/ 65501 h 186554"/>
                <a:gd name="connsiteX18" fmla="*/ 42283 w 151555"/>
                <a:gd name="connsiteY18" fmla="*/ 44142 h 186554"/>
                <a:gd name="connsiteX19" fmla="*/ 72352 w 151555"/>
                <a:gd name="connsiteY19" fmla="*/ 25441 h 186554"/>
                <a:gd name="connsiteX20" fmla="*/ 93762 w 151555"/>
                <a:gd name="connsiteY20" fmla="*/ 27815 h 186554"/>
                <a:gd name="connsiteX21" fmla="*/ 106514 w 151555"/>
                <a:gd name="connsiteY21" fmla="*/ 37023 h 186554"/>
                <a:gd name="connsiteX22" fmla="*/ 113270 w 151555"/>
                <a:gd name="connsiteY22" fmla="*/ 50598 h 186554"/>
                <a:gd name="connsiteX23" fmla="*/ 118979 w 151555"/>
                <a:gd name="connsiteY23" fmla="*/ 56293 h 186554"/>
                <a:gd name="connsiteX24" fmla="*/ 133728 w 151555"/>
                <a:gd name="connsiteY24" fmla="*/ 56293 h 186554"/>
                <a:gd name="connsiteX25" fmla="*/ 139438 w 151555"/>
                <a:gd name="connsiteY25" fmla="*/ 50598 h 186554"/>
                <a:gd name="connsiteX26" fmla="*/ 139342 w 151555"/>
                <a:gd name="connsiteY26" fmla="*/ 3133 h 186554"/>
                <a:gd name="connsiteX27" fmla="*/ 111462 w 151555"/>
                <a:gd name="connsiteY27" fmla="*/ 0 h 186554"/>
                <a:gd name="connsiteX28" fmla="*/ 51228 w 151555"/>
                <a:gd name="connsiteY28" fmla="*/ 0 h 186554"/>
                <a:gd name="connsiteX29" fmla="*/ 17923 w 151555"/>
                <a:gd name="connsiteY29" fmla="*/ 12056 h 186554"/>
                <a:gd name="connsiteX30" fmla="*/ 34 w 151555"/>
                <a:gd name="connsiteY30" fmla="*/ 54110 h 186554"/>
                <a:gd name="connsiteX31" fmla="*/ 29627 w 151555"/>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555" h="186554">
                  <a:moveTo>
                    <a:pt x="29627" y="96828"/>
                  </a:moveTo>
                  <a:cubicBezTo>
                    <a:pt x="44567" y="101385"/>
                    <a:pt x="70259" y="108884"/>
                    <a:pt x="88148" y="111827"/>
                  </a:cubicBezTo>
                  <a:cubicBezTo>
                    <a:pt x="106038" y="114675"/>
                    <a:pt x="113841" y="123218"/>
                    <a:pt x="110986" y="138882"/>
                  </a:cubicBezTo>
                  <a:cubicBezTo>
                    <a:pt x="108226" y="154260"/>
                    <a:pt x="90242" y="157393"/>
                    <a:pt x="80917" y="157583"/>
                  </a:cubicBezTo>
                  <a:cubicBezTo>
                    <a:pt x="80917" y="157583"/>
                    <a:pt x="58079" y="158722"/>
                    <a:pt x="48754" y="155210"/>
                  </a:cubicBezTo>
                  <a:cubicBezTo>
                    <a:pt x="44948" y="153786"/>
                    <a:pt x="34290" y="141730"/>
                    <a:pt x="32387" y="138312"/>
                  </a:cubicBezTo>
                  <a:lnTo>
                    <a:pt x="28676" y="129199"/>
                  </a:lnTo>
                  <a:cubicBezTo>
                    <a:pt x="28676" y="127680"/>
                    <a:pt x="26677" y="126161"/>
                    <a:pt x="23537" y="126161"/>
                  </a:cubicBezTo>
                  <a:lnTo>
                    <a:pt x="7265" y="126161"/>
                  </a:lnTo>
                  <a:cubicBezTo>
                    <a:pt x="4125" y="126161"/>
                    <a:pt x="3078" y="126066"/>
                    <a:pt x="3078" y="129199"/>
                  </a:cubicBezTo>
                  <a:lnTo>
                    <a:pt x="3174" y="164798"/>
                  </a:lnTo>
                  <a:lnTo>
                    <a:pt x="3174" y="180556"/>
                  </a:lnTo>
                  <a:cubicBezTo>
                    <a:pt x="3174" y="185397"/>
                    <a:pt x="10501" y="186536"/>
                    <a:pt x="30960" y="186536"/>
                  </a:cubicBezTo>
                  <a:lnTo>
                    <a:pt x="85389" y="186536"/>
                  </a:lnTo>
                  <a:cubicBezTo>
                    <a:pt x="85389" y="186536"/>
                    <a:pt x="108607" y="187391"/>
                    <a:pt x="125830" y="177233"/>
                  </a:cubicBezTo>
                  <a:cubicBezTo>
                    <a:pt x="139913" y="168974"/>
                    <a:pt x="152284" y="146666"/>
                    <a:pt x="151522" y="130243"/>
                  </a:cubicBezTo>
                  <a:cubicBezTo>
                    <a:pt x="150381" y="103853"/>
                    <a:pt x="148668" y="89708"/>
                    <a:pt x="133633" y="80405"/>
                  </a:cubicBezTo>
                  <a:cubicBezTo>
                    <a:pt x="120311" y="72147"/>
                    <a:pt x="93001" y="68349"/>
                    <a:pt x="75112" y="65501"/>
                  </a:cubicBezTo>
                  <a:cubicBezTo>
                    <a:pt x="57222" y="62654"/>
                    <a:pt x="42283" y="59806"/>
                    <a:pt x="42283" y="44142"/>
                  </a:cubicBezTo>
                  <a:cubicBezTo>
                    <a:pt x="42283" y="28479"/>
                    <a:pt x="62932" y="25631"/>
                    <a:pt x="72352" y="25441"/>
                  </a:cubicBezTo>
                  <a:cubicBezTo>
                    <a:pt x="72352" y="25441"/>
                    <a:pt x="84437" y="24302"/>
                    <a:pt x="93762" y="27815"/>
                  </a:cubicBezTo>
                  <a:cubicBezTo>
                    <a:pt x="97569" y="29239"/>
                    <a:pt x="101185" y="30473"/>
                    <a:pt x="106514" y="37023"/>
                  </a:cubicBezTo>
                  <a:cubicBezTo>
                    <a:pt x="109083" y="40250"/>
                    <a:pt x="113270" y="50598"/>
                    <a:pt x="113270" y="50598"/>
                  </a:cubicBezTo>
                  <a:cubicBezTo>
                    <a:pt x="113270" y="53730"/>
                    <a:pt x="115839" y="56293"/>
                    <a:pt x="118979" y="56293"/>
                  </a:cubicBezTo>
                  <a:lnTo>
                    <a:pt x="133728" y="56293"/>
                  </a:lnTo>
                  <a:cubicBezTo>
                    <a:pt x="138296" y="56863"/>
                    <a:pt x="139438" y="55629"/>
                    <a:pt x="139438" y="50598"/>
                  </a:cubicBezTo>
                  <a:lnTo>
                    <a:pt x="139342" y="3133"/>
                  </a:lnTo>
                  <a:cubicBezTo>
                    <a:pt x="139342" y="-95"/>
                    <a:pt x="120787" y="0"/>
                    <a:pt x="111462" y="0"/>
                  </a:cubicBezTo>
                  <a:lnTo>
                    <a:pt x="51228" y="0"/>
                  </a:lnTo>
                  <a:cubicBezTo>
                    <a:pt x="51228" y="0"/>
                    <a:pt x="30484" y="190"/>
                    <a:pt x="17923" y="12056"/>
                  </a:cubicBezTo>
                  <a:cubicBezTo>
                    <a:pt x="8693" y="20790"/>
                    <a:pt x="-632" y="37687"/>
                    <a:pt x="34" y="54110"/>
                  </a:cubicBezTo>
                  <a:cubicBezTo>
                    <a:pt x="1080" y="70438"/>
                    <a:pt x="3935" y="88949"/>
                    <a:pt x="29627"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9" name="Freeform 28">
              <a:extLst>
                <a:ext uri="{FF2B5EF4-FFF2-40B4-BE49-F238E27FC236}">
                  <a16:creationId xmlns:a16="http://schemas.microsoft.com/office/drawing/2014/main" id="{8D6F8B41-AE52-0942-A49E-00E7D0ADBE1C}"/>
                </a:ext>
              </a:extLst>
            </p:cNvPr>
            <p:cNvSpPr/>
            <p:nvPr/>
          </p:nvSpPr>
          <p:spPr>
            <a:xfrm>
              <a:off x="8879677" y="-1397944"/>
              <a:ext cx="227328" cy="196684"/>
            </a:xfrm>
            <a:custGeom>
              <a:avLst/>
              <a:gdLst>
                <a:gd name="connsiteX0" fmla="*/ 226567 w 227328"/>
                <a:gd name="connsiteY0" fmla="*/ 174030 h 196684"/>
                <a:gd name="connsiteX1" fmla="*/ 218669 w 227328"/>
                <a:gd name="connsiteY1" fmla="*/ 171847 h 196684"/>
                <a:gd name="connsiteX2" fmla="*/ 211533 w 227328"/>
                <a:gd name="connsiteY2" fmla="*/ 168999 h 196684"/>
                <a:gd name="connsiteX3" fmla="*/ 189171 w 227328"/>
                <a:gd name="connsiteY3" fmla="*/ 153146 h 196684"/>
                <a:gd name="connsiteX4" fmla="*/ 196498 w 227328"/>
                <a:gd name="connsiteY4" fmla="*/ 137482 h 196684"/>
                <a:gd name="connsiteX5" fmla="*/ 200780 w 227328"/>
                <a:gd name="connsiteY5" fmla="*/ 103308 h 196684"/>
                <a:gd name="connsiteX6" fmla="*/ 199924 w 227328"/>
                <a:gd name="connsiteY6" fmla="*/ 81569 h 196684"/>
                <a:gd name="connsiteX7" fmla="*/ 196308 w 227328"/>
                <a:gd name="connsiteY7" fmla="*/ 80525 h 196684"/>
                <a:gd name="connsiteX8" fmla="*/ 165762 w 227328"/>
                <a:gd name="connsiteY8" fmla="*/ 80525 h 196684"/>
                <a:gd name="connsiteX9" fmla="*/ 162908 w 227328"/>
                <a:gd name="connsiteY9" fmla="*/ 81949 h 196684"/>
                <a:gd name="connsiteX10" fmla="*/ 162242 w 227328"/>
                <a:gd name="connsiteY10" fmla="*/ 86885 h 196684"/>
                <a:gd name="connsiteX11" fmla="*/ 162242 w 227328"/>
                <a:gd name="connsiteY11" fmla="*/ 101884 h 196684"/>
                <a:gd name="connsiteX12" fmla="*/ 157389 w 227328"/>
                <a:gd name="connsiteY12" fmla="*/ 126850 h 196684"/>
                <a:gd name="connsiteX13" fmla="*/ 112284 w 227328"/>
                <a:gd name="connsiteY13" fmla="*/ 89448 h 196684"/>
                <a:gd name="connsiteX14" fmla="*/ 153011 w 227328"/>
                <a:gd name="connsiteY14" fmla="*/ 43502 h 196684"/>
                <a:gd name="connsiteX15" fmla="*/ 85926 w 227328"/>
                <a:gd name="connsiteY15" fmla="*/ 25 h 196684"/>
                <a:gd name="connsiteX16" fmla="*/ 13132 w 227328"/>
                <a:gd name="connsiteY16" fmla="*/ 43502 h 196684"/>
                <a:gd name="connsiteX17" fmla="*/ 19031 w 227328"/>
                <a:gd name="connsiteY17" fmla="*/ 64671 h 196684"/>
                <a:gd name="connsiteX18" fmla="*/ 18841 w 227328"/>
                <a:gd name="connsiteY18" fmla="*/ 65526 h 196684"/>
                <a:gd name="connsiteX19" fmla="*/ 20459 w 227328"/>
                <a:gd name="connsiteY19" fmla="*/ 66855 h 196684"/>
                <a:gd name="connsiteX20" fmla="*/ 31116 w 227328"/>
                <a:gd name="connsiteY20" fmla="*/ 77867 h 196684"/>
                <a:gd name="connsiteX21" fmla="*/ 0 w 227328"/>
                <a:gd name="connsiteY21" fmla="*/ 130362 h 196684"/>
                <a:gd name="connsiteX22" fmla="*/ 90969 w 227328"/>
                <a:gd name="connsiteY22" fmla="*/ 196623 h 196684"/>
                <a:gd name="connsiteX23" fmla="*/ 161385 w 227328"/>
                <a:gd name="connsiteY23" fmla="*/ 180010 h 196684"/>
                <a:gd name="connsiteX24" fmla="*/ 168807 w 227328"/>
                <a:gd name="connsiteY24" fmla="*/ 183238 h 196684"/>
                <a:gd name="connsiteX25" fmla="*/ 180416 w 227328"/>
                <a:gd name="connsiteY25" fmla="*/ 188934 h 196684"/>
                <a:gd name="connsiteX26" fmla="*/ 222380 w 227328"/>
                <a:gd name="connsiteY26" fmla="*/ 188744 h 196684"/>
                <a:gd name="connsiteX27" fmla="*/ 227233 w 227328"/>
                <a:gd name="connsiteY27" fmla="*/ 184662 h 196684"/>
                <a:gd name="connsiteX28" fmla="*/ 227329 w 227328"/>
                <a:gd name="connsiteY28" fmla="*/ 182384 h 196684"/>
                <a:gd name="connsiteX29" fmla="*/ 226567 w 227328"/>
                <a:gd name="connsiteY29" fmla="*/ 174030 h 196684"/>
                <a:gd name="connsiteX30" fmla="*/ 85926 w 227328"/>
                <a:gd name="connsiteY30" fmla="*/ 26415 h 196684"/>
                <a:gd name="connsiteX31" fmla="*/ 112380 w 227328"/>
                <a:gd name="connsiteY31" fmla="*/ 43502 h 196684"/>
                <a:gd name="connsiteX32" fmla="*/ 83833 w 227328"/>
                <a:gd name="connsiteY32" fmla="*/ 62678 h 196684"/>
                <a:gd name="connsiteX33" fmla="*/ 80217 w 227328"/>
                <a:gd name="connsiteY33" fmla="*/ 62013 h 196684"/>
                <a:gd name="connsiteX34" fmla="*/ 72319 w 227328"/>
                <a:gd name="connsiteY34" fmla="*/ 58881 h 196684"/>
                <a:gd name="connsiteX35" fmla="*/ 57570 w 227328"/>
                <a:gd name="connsiteY35" fmla="*/ 43502 h 196684"/>
                <a:gd name="connsiteX36" fmla="*/ 85926 w 227328"/>
                <a:gd name="connsiteY36" fmla="*/ 26415 h 196684"/>
                <a:gd name="connsiteX37" fmla="*/ 95252 w 227328"/>
                <a:gd name="connsiteY37" fmla="*/ 164537 h 196684"/>
                <a:gd name="connsiteX38" fmla="*/ 48244 w 227328"/>
                <a:gd name="connsiteY38" fmla="*/ 126945 h 196684"/>
                <a:gd name="connsiteX39" fmla="*/ 61471 w 227328"/>
                <a:gd name="connsiteY39" fmla="*/ 99795 h 196684"/>
                <a:gd name="connsiteX40" fmla="*/ 133409 w 227328"/>
                <a:gd name="connsiteY40" fmla="*/ 157512 h 196684"/>
                <a:gd name="connsiteX41" fmla="*/ 95252 w 227328"/>
                <a:gd name="connsiteY41" fmla="*/ 164537 h 19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328" h="196684">
                  <a:moveTo>
                    <a:pt x="226567" y="174030"/>
                  </a:moveTo>
                  <a:cubicBezTo>
                    <a:pt x="225140" y="171847"/>
                    <a:pt x="222951" y="172606"/>
                    <a:pt x="218669" y="171847"/>
                  </a:cubicBezTo>
                  <a:cubicBezTo>
                    <a:pt x="214387" y="171182"/>
                    <a:pt x="211533" y="168999"/>
                    <a:pt x="211533" y="168999"/>
                  </a:cubicBezTo>
                  <a:lnTo>
                    <a:pt x="189171" y="153146"/>
                  </a:lnTo>
                  <a:cubicBezTo>
                    <a:pt x="192216" y="147545"/>
                    <a:pt x="194690" y="141659"/>
                    <a:pt x="196498" y="137482"/>
                  </a:cubicBezTo>
                  <a:cubicBezTo>
                    <a:pt x="199353" y="131122"/>
                    <a:pt x="200780" y="110427"/>
                    <a:pt x="200780" y="103308"/>
                  </a:cubicBezTo>
                  <a:cubicBezTo>
                    <a:pt x="200780" y="96188"/>
                    <a:pt x="202398" y="83752"/>
                    <a:pt x="199924" y="81569"/>
                  </a:cubicBezTo>
                  <a:cubicBezTo>
                    <a:pt x="199257" y="80999"/>
                    <a:pt x="196308" y="80525"/>
                    <a:pt x="196308" y="80525"/>
                  </a:cubicBezTo>
                  <a:lnTo>
                    <a:pt x="165762" y="80525"/>
                  </a:lnTo>
                  <a:cubicBezTo>
                    <a:pt x="165762" y="80525"/>
                    <a:pt x="163954" y="80904"/>
                    <a:pt x="162908" y="81949"/>
                  </a:cubicBezTo>
                  <a:cubicBezTo>
                    <a:pt x="162051" y="82803"/>
                    <a:pt x="162242" y="86885"/>
                    <a:pt x="162242" y="86885"/>
                  </a:cubicBezTo>
                  <a:cubicBezTo>
                    <a:pt x="162242" y="86885"/>
                    <a:pt x="161861" y="96852"/>
                    <a:pt x="162242" y="101884"/>
                  </a:cubicBezTo>
                  <a:cubicBezTo>
                    <a:pt x="162908" y="111187"/>
                    <a:pt x="160529" y="119730"/>
                    <a:pt x="157389" y="126850"/>
                  </a:cubicBezTo>
                  <a:lnTo>
                    <a:pt x="112284" y="89448"/>
                  </a:lnTo>
                  <a:cubicBezTo>
                    <a:pt x="137120" y="80145"/>
                    <a:pt x="153392" y="59071"/>
                    <a:pt x="153011" y="43502"/>
                  </a:cubicBezTo>
                  <a:cubicBezTo>
                    <a:pt x="152250" y="12840"/>
                    <a:pt x="124940" y="689"/>
                    <a:pt x="85926" y="25"/>
                  </a:cubicBezTo>
                  <a:cubicBezTo>
                    <a:pt x="42440" y="-735"/>
                    <a:pt x="13132" y="16163"/>
                    <a:pt x="13132" y="43502"/>
                  </a:cubicBezTo>
                  <a:cubicBezTo>
                    <a:pt x="13132" y="51381"/>
                    <a:pt x="15225" y="58406"/>
                    <a:pt x="19031" y="64671"/>
                  </a:cubicBezTo>
                  <a:cubicBezTo>
                    <a:pt x="18936" y="64956"/>
                    <a:pt x="18841" y="65241"/>
                    <a:pt x="18841" y="65526"/>
                  </a:cubicBezTo>
                  <a:lnTo>
                    <a:pt x="20459" y="66855"/>
                  </a:lnTo>
                  <a:cubicBezTo>
                    <a:pt x="23313" y="70937"/>
                    <a:pt x="26929" y="74639"/>
                    <a:pt x="31116" y="77867"/>
                  </a:cubicBezTo>
                  <a:cubicBezTo>
                    <a:pt x="11799" y="91347"/>
                    <a:pt x="0" y="110237"/>
                    <a:pt x="0" y="130362"/>
                  </a:cubicBezTo>
                  <a:cubicBezTo>
                    <a:pt x="0" y="168144"/>
                    <a:pt x="17414" y="194440"/>
                    <a:pt x="90969" y="196623"/>
                  </a:cubicBezTo>
                  <a:cubicBezTo>
                    <a:pt x="117423" y="197383"/>
                    <a:pt x="142449" y="191022"/>
                    <a:pt x="161385" y="180010"/>
                  </a:cubicBezTo>
                  <a:lnTo>
                    <a:pt x="168807" y="183238"/>
                  </a:lnTo>
                  <a:cubicBezTo>
                    <a:pt x="171852" y="185706"/>
                    <a:pt x="174326" y="188744"/>
                    <a:pt x="180416" y="188934"/>
                  </a:cubicBezTo>
                  <a:lnTo>
                    <a:pt x="222380" y="188744"/>
                  </a:lnTo>
                  <a:cubicBezTo>
                    <a:pt x="225521" y="188744"/>
                    <a:pt x="227233" y="187795"/>
                    <a:pt x="227233" y="184662"/>
                  </a:cubicBezTo>
                  <a:lnTo>
                    <a:pt x="227329" y="182384"/>
                  </a:lnTo>
                  <a:cubicBezTo>
                    <a:pt x="227138" y="182384"/>
                    <a:pt x="227519" y="175549"/>
                    <a:pt x="226567" y="174030"/>
                  </a:cubicBezTo>
                  <a:close/>
                  <a:moveTo>
                    <a:pt x="85926" y="26415"/>
                  </a:moveTo>
                  <a:cubicBezTo>
                    <a:pt x="103054" y="27174"/>
                    <a:pt x="112380" y="34958"/>
                    <a:pt x="112380" y="43502"/>
                  </a:cubicBezTo>
                  <a:cubicBezTo>
                    <a:pt x="112380" y="53470"/>
                    <a:pt x="89542" y="62678"/>
                    <a:pt x="83833" y="62678"/>
                  </a:cubicBezTo>
                  <a:cubicBezTo>
                    <a:pt x="82976" y="62678"/>
                    <a:pt x="81644" y="62393"/>
                    <a:pt x="80217" y="62013"/>
                  </a:cubicBezTo>
                  <a:cubicBezTo>
                    <a:pt x="77933" y="60684"/>
                    <a:pt x="74793" y="59450"/>
                    <a:pt x="72319" y="58881"/>
                  </a:cubicBezTo>
                  <a:cubicBezTo>
                    <a:pt x="65087" y="55273"/>
                    <a:pt x="57570" y="49483"/>
                    <a:pt x="57570" y="43502"/>
                  </a:cubicBezTo>
                  <a:cubicBezTo>
                    <a:pt x="57570" y="34958"/>
                    <a:pt x="68798" y="25750"/>
                    <a:pt x="85926" y="26415"/>
                  </a:cubicBezTo>
                  <a:close/>
                  <a:moveTo>
                    <a:pt x="95252" y="164537"/>
                  </a:moveTo>
                  <a:cubicBezTo>
                    <a:pt x="54620" y="163778"/>
                    <a:pt x="48244" y="149633"/>
                    <a:pt x="48244" y="126945"/>
                  </a:cubicBezTo>
                  <a:cubicBezTo>
                    <a:pt x="48244" y="116883"/>
                    <a:pt x="53192" y="107295"/>
                    <a:pt x="61471" y="99795"/>
                  </a:cubicBezTo>
                  <a:lnTo>
                    <a:pt x="133409" y="157512"/>
                  </a:lnTo>
                  <a:cubicBezTo>
                    <a:pt x="125892" y="162259"/>
                    <a:pt x="110381" y="164822"/>
                    <a:pt x="95252" y="164537"/>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0" name="Freeform 29">
              <a:extLst>
                <a:ext uri="{FF2B5EF4-FFF2-40B4-BE49-F238E27FC236}">
                  <a16:creationId xmlns:a16="http://schemas.microsoft.com/office/drawing/2014/main" id="{D31C6D59-349E-5146-A437-3E18E78680E4}"/>
                </a:ext>
              </a:extLst>
            </p:cNvPr>
            <p:cNvSpPr/>
            <p:nvPr/>
          </p:nvSpPr>
          <p:spPr>
            <a:xfrm>
              <a:off x="9266868" y="-1120726"/>
              <a:ext cx="3711" cy="3417"/>
            </a:xfrm>
            <a:custGeom>
              <a:avLst/>
              <a:gdLst>
                <a:gd name="connsiteX0" fmla="*/ 3711 w 3711"/>
                <a:gd name="connsiteY0" fmla="*/ 0 h 3417"/>
                <a:gd name="connsiteX1" fmla="*/ 1427 w 3711"/>
                <a:gd name="connsiteY1" fmla="*/ 759 h 3417"/>
                <a:gd name="connsiteX2" fmla="*/ 0 w 3711"/>
                <a:gd name="connsiteY2" fmla="*/ 3417 h 3417"/>
              </a:gdLst>
              <a:ahLst/>
              <a:cxnLst>
                <a:cxn ang="0">
                  <a:pos x="connsiteX0" y="connsiteY0"/>
                </a:cxn>
                <a:cxn ang="0">
                  <a:pos x="connsiteX1" y="connsiteY1"/>
                </a:cxn>
                <a:cxn ang="0">
                  <a:pos x="connsiteX2" y="connsiteY2"/>
                </a:cxn>
              </a:cxnLst>
              <a:rect l="l" t="t" r="r" b="b"/>
              <a:pathLst>
                <a:path w="3711" h="3417">
                  <a:moveTo>
                    <a:pt x="3711" y="0"/>
                  </a:moveTo>
                  <a:cubicBezTo>
                    <a:pt x="3711" y="0"/>
                    <a:pt x="2093" y="0"/>
                    <a:pt x="1427" y="759"/>
                  </a:cubicBezTo>
                  <a:cubicBezTo>
                    <a:pt x="666" y="1519"/>
                    <a:pt x="0" y="3417"/>
                    <a:pt x="0" y="3417"/>
                  </a:cubicBezTo>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2" name="Freeform 31">
              <a:extLst>
                <a:ext uri="{FF2B5EF4-FFF2-40B4-BE49-F238E27FC236}">
                  <a16:creationId xmlns:a16="http://schemas.microsoft.com/office/drawing/2014/main" id="{46A4232B-261C-C343-A364-BF12941C5A88}"/>
                </a:ext>
              </a:extLst>
            </p:cNvPr>
            <p:cNvSpPr/>
            <p:nvPr/>
          </p:nvSpPr>
          <p:spPr>
            <a:xfrm>
              <a:off x="8871683" y="-1122814"/>
              <a:ext cx="156057" cy="148089"/>
            </a:xfrm>
            <a:custGeom>
              <a:avLst/>
              <a:gdLst>
                <a:gd name="connsiteX0" fmla="*/ 128461 w 156057"/>
                <a:gd name="connsiteY0" fmla="*/ 11012 h 148089"/>
                <a:gd name="connsiteX1" fmla="*/ 80122 w 156057"/>
                <a:gd name="connsiteY1" fmla="*/ 95 h 148089"/>
                <a:gd name="connsiteX2" fmla="*/ 80122 w 156057"/>
                <a:gd name="connsiteY2" fmla="*/ 0 h 148089"/>
                <a:gd name="connsiteX3" fmla="*/ 78980 w 156057"/>
                <a:gd name="connsiteY3" fmla="*/ 0 h 148089"/>
                <a:gd name="connsiteX4" fmla="*/ 78123 w 156057"/>
                <a:gd name="connsiteY4" fmla="*/ 0 h 148089"/>
                <a:gd name="connsiteX5" fmla="*/ 77267 w 156057"/>
                <a:gd name="connsiteY5" fmla="*/ 0 h 148089"/>
                <a:gd name="connsiteX6" fmla="*/ 76125 w 156057"/>
                <a:gd name="connsiteY6" fmla="*/ 0 h 148089"/>
                <a:gd name="connsiteX7" fmla="*/ 76125 w 156057"/>
                <a:gd name="connsiteY7" fmla="*/ 95 h 148089"/>
                <a:gd name="connsiteX8" fmla="*/ 27786 w 156057"/>
                <a:gd name="connsiteY8" fmla="*/ 11012 h 148089"/>
                <a:gd name="connsiteX9" fmla="*/ 0 w 156057"/>
                <a:gd name="connsiteY9" fmla="*/ 70533 h 148089"/>
                <a:gd name="connsiteX10" fmla="*/ 17604 w 156057"/>
                <a:gd name="connsiteY10" fmla="*/ 128629 h 148089"/>
                <a:gd name="connsiteX11" fmla="*/ 61376 w 156057"/>
                <a:gd name="connsiteY11" fmla="*/ 146856 h 148089"/>
                <a:gd name="connsiteX12" fmla="*/ 73651 w 156057"/>
                <a:gd name="connsiteY12" fmla="*/ 147900 h 148089"/>
                <a:gd name="connsiteX13" fmla="*/ 76125 w 156057"/>
                <a:gd name="connsiteY13" fmla="*/ 147995 h 148089"/>
                <a:gd name="connsiteX14" fmla="*/ 76125 w 156057"/>
                <a:gd name="connsiteY14" fmla="*/ 148090 h 148089"/>
                <a:gd name="connsiteX15" fmla="*/ 77457 w 156057"/>
                <a:gd name="connsiteY15" fmla="*/ 148090 h 148089"/>
                <a:gd name="connsiteX16" fmla="*/ 78028 w 156057"/>
                <a:gd name="connsiteY16" fmla="*/ 148090 h 148089"/>
                <a:gd name="connsiteX17" fmla="*/ 78599 w 156057"/>
                <a:gd name="connsiteY17" fmla="*/ 148090 h 148089"/>
                <a:gd name="connsiteX18" fmla="*/ 79931 w 156057"/>
                <a:gd name="connsiteY18" fmla="*/ 148090 h 148089"/>
                <a:gd name="connsiteX19" fmla="*/ 79931 w 156057"/>
                <a:gd name="connsiteY19" fmla="*/ 147995 h 148089"/>
                <a:gd name="connsiteX20" fmla="*/ 82405 w 156057"/>
                <a:gd name="connsiteY20" fmla="*/ 147900 h 148089"/>
                <a:gd name="connsiteX21" fmla="*/ 94681 w 156057"/>
                <a:gd name="connsiteY21" fmla="*/ 146856 h 148089"/>
                <a:gd name="connsiteX22" fmla="*/ 138453 w 156057"/>
                <a:gd name="connsiteY22" fmla="*/ 128629 h 148089"/>
                <a:gd name="connsiteX23" fmla="*/ 156056 w 156057"/>
                <a:gd name="connsiteY23" fmla="*/ 70533 h 148089"/>
                <a:gd name="connsiteX24" fmla="*/ 128461 w 156057"/>
                <a:gd name="connsiteY24" fmla="*/ 11012 h 148089"/>
                <a:gd name="connsiteX25" fmla="*/ 112475 w 156057"/>
                <a:gd name="connsiteY25" fmla="*/ 105372 h 148089"/>
                <a:gd name="connsiteX26" fmla="*/ 97821 w 156057"/>
                <a:gd name="connsiteY26" fmla="*/ 121889 h 148089"/>
                <a:gd name="connsiteX27" fmla="*/ 78219 w 156057"/>
                <a:gd name="connsiteY27" fmla="*/ 125117 h 148089"/>
                <a:gd name="connsiteX28" fmla="*/ 58616 w 156057"/>
                <a:gd name="connsiteY28" fmla="*/ 121889 h 148089"/>
                <a:gd name="connsiteX29" fmla="*/ 43962 w 156057"/>
                <a:gd name="connsiteY29" fmla="*/ 105372 h 148089"/>
                <a:gd name="connsiteX30" fmla="*/ 39871 w 156057"/>
                <a:gd name="connsiteY30" fmla="*/ 72716 h 148089"/>
                <a:gd name="connsiteX31" fmla="*/ 43962 w 156057"/>
                <a:gd name="connsiteY31" fmla="*/ 37592 h 148089"/>
                <a:gd name="connsiteX32" fmla="*/ 73366 w 156057"/>
                <a:gd name="connsiteY32" fmla="*/ 22498 h 148089"/>
                <a:gd name="connsiteX33" fmla="*/ 76411 w 156057"/>
                <a:gd name="connsiteY33" fmla="*/ 22593 h 148089"/>
                <a:gd name="connsiteX34" fmla="*/ 76411 w 156057"/>
                <a:gd name="connsiteY34" fmla="*/ 22878 h 148089"/>
                <a:gd name="connsiteX35" fmla="*/ 78314 w 156057"/>
                <a:gd name="connsiteY35" fmla="*/ 22688 h 148089"/>
                <a:gd name="connsiteX36" fmla="*/ 80217 w 156057"/>
                <a:gd name="connsiteY36" fmla="*/ 22878 h 148089"/>
                <a:gd name="connsiteX37" fmla="*/ 80217 w 156057"/>
                <a:gd name="connsiteY37" fmla="*/ 22593 h 148089"/>
                <a:gd name="connsiteX38" fmla="*/ 83262 w 156057"/>
                <a:gd name="connsiteY38" fmla="*/ 22498 h 148089"/>
                <a:gd name="connsiteX39" fmla="*/ 112665 w 156057"/>
                <a:gd name="connsiteY39" fmla="*/ 37592 h 148089"/>
                <a:gd name="connsiteX40" fmla="*/ 116757 w 156057"/>
                <a:gd name="connsiteY40" fmla="*/ 72716 h 148089"/>
                <a:gd name="connsiteX41" fmla="*/ 112475 w 156057"/>
                <a:gd name="connsiteY41" fmla="*/ 105372 h 1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6057" h="148089">
                  <a:moveTo>
                    <a:pt x="128461" y="11012"/>
                  </a:moveTo>
                  <a:cubicBezTo>
                    <a:pt x="119231" y="5221"/>
                    <a:pt x="101627" y="665"/>
                    <a:pt x="80122" y="95"/>
                  </a:cubicBezTo>
                  <a:lnTo>
                    <a:pt x="80122" y="0"/>
                  </a:lnTo>
                  <a:cubicBezTo>
                    <a:pt x="79741" y="0"/>
                    <a:pt x="79360" y="0"/>
                    <a:pt x="78980" y="0"/>
                  </a:cubicBezTo>
                  <a:cubicBezTo>
                    <a:pt x="78694" y="0"/>
                    <a:pt x="78409" y="0"/>
                    <a:pt x="78123" y="0"/>
                  </a:cubicBezTo>
                  <a:cubicBezTo>
                    <a:pt x="77838" y="0"/>
                    <a:pt x="77552" y="0"/>
                    <a:pt x="77267" y="0"/>
                  </a:cubicBezTo>
                  <a:cubicBezTo>
                    <a:pt x="76886" y="0"/>
                    <a:pt x="76506" y="0"/>
                    <a:pt x="76125" y="0"/>
                  </a:cubicBezTo>
                  <a:lnTo>
                    <a:pt x="76125" y="95"/>
                  </a:lnTo>
                  <a:cubicBezTo>
                    <a:pt x="54620" y="665"/>
                    <a:pt x="37016" y="5221"/>
                    <a:pt x="27786" y="11012"/>
                  </a:cubicBezTo>
                  <a:cubicBezTo>
                    <a:pt x="18175" y="17087"/>
                    <a:pt x="0" y="34554"/>
                    <a:pt x="0" y="70533"/>
                  </a:cubicBezTo>
                  <a:cubicBezTo>
                    <a:pt x="0" y="106416"/>
                    <a:pt x="7993" y="119611"/>
                    <a:pt x="17604" y="128629"/>
                  </a:cubicBezTo>
                  <a:cubicBezTo>
                    <a:pt x="25502" y="136034"/>
                    <a:pt x="37396" y="143913"/>
                    <a:pt x="61376" y="146856"/>
                  </a:cubicBezTo>
                  <a:cubicBezTo>
                    <a:pt x="62137" y="147425"/>
                    <a:pt x="68513" y="147900"/>
                    <a:pt x="73651" y="147900"/>
                  </a:cubicBezTo>
                  <a:cubicBezTo>
                    <a:pt x="74507" y="147900"/>
                    <a:pt x="75269" y="147995"/>
                    <a:pt x="76125" y="147995"/>
                  </a:cubicBezTo>
                  <a:lnTo>
                    <a:pt x="76125" y="148090"/>
                  </a:lnTo>
                  <a:cubicBezTo>
                    <a:pt x="76601" y="148090"/>
                    <a:pt x="76982" y="148090"/>
                    <a:pt x="77457" y="148090"/>
                  </a:cubicBezTo>
                  <a:cubicBezTo>
                    <a:pt x="77648" y="148090"/>
                    <a:pt x="77838" y="148090"/>
                    <a:pt x="78028" y="148090"/>
                  </a:cubicBezTo>
                  <a:cubicBezTo>
                    <a:pt x="78219" y="148090"/>
                    <a:pt x="78409" y="148090"/>
                    <a:pt x="78599" y="148090"/>
                  </a:cubicBezTo>
                  <a:cubicBezTo>
                    <a:pt x="79075" y="148090"/>
                    <a:pt x="79551" y="148090"/>
                    <a:pt x="79931" y="148090"/>
                  </a:cubicBezTo>
                  <a:lnTo>
                    <a:pt x="79931" y="147995"/>
                  </a:lnTo>
                  <a:cubicBezTo>
                    <a:pt x="80788" y="147995"/>
                    <a:pt x="81644" y="147900"/>
                    <a:pt x="82405" y="147900"/>
                  </a:cubicBezTo>
                  <a:cubicBezTo>
                    <a:pt x="87449" y="147900"/>
                    <a:pt x="93919" y="147520"/>
                    <a:pt x="94681" y="146856"/>
                  </a:cubicBezTo>
                  <a:cubicBezTo>
                    <a:pt x="118660" y="143818"/>
                    <a:pt x="130555" y="136034"/>
                    <a:pt x="138453" y="128629"/>
                  </a:cubicBezTo>
                  <a:cubicBezTo>
                    <a:pt x="148063" y="119611"/>
                    <a:pt x="156056" y="106416"/>
                    <a:pt x="156056" y="70533"/>
                  </a:cubicBezTo>
                  <a:cubicBezTo>
                    <a:pt x="156247" y="34649"/>
                    <a:pt x="138072" y="17087"/>
                    <a:pt x="128461" y="11012"/>
                  </a:cubicBezTo>
                  <a:close/>
                  <a:moveTo>
                    <a:pt x="112475" y="105372"/>
                  </a:moveTo>
                  <a:cubicBezTo>
                    <a:pt x="110001" y="111922"/>
                    <a:pt x="101913" y="120275"/>
                    <a:pt x="97821" y="121889"/>
                  </a:cubicBezTo>
                  <a:cubicBezTo>
                    <a:pt x="90589" y="124737"/>
                    <a:pt x="88020" y="124832"/>
                    <a:pt x="78219" y="125117"/>
                  </a:cubicBezTo>
                  <a:cubicBezTo>
                    <a:pt x="68417" y="124737"/>
                    <a:pt x="65753" y="124737"/>
                    <a:pt x="58616" y="121889"/>
                  </a:cubicBezTo>
                  <a:cubicBezTo>
                    <a:pt x="54525" y="120275"/>
                    <a:pt x="46341" y="111922"/>
                    <a:pt x="43962" y="105372"/>
                  </a:cubicBezTo>
                  <a:cubicBezTo>
                    <a:pt x="42154" y="100340"/>
                    <a:pt x="39871" y="93885"/>
                    <a:pt x="39871" y="72716"/>
                  </a:cubicBezTo>
                  <a:cubicBezTo>
                    <a:pt x="39871" y="51642"/>
                    <a:pt x="41393" y="41769"/>
                    <a:pt x="43962" y="37592"/>
                  </a:cubicBezTo>
                  <a:cubicBezTo>
                    <a:pt x="48625" y="30188"/>
                    <a:pt x="56047" y="22498"/>
                    <a:pt x="73366" y="22498"/>
                  </a:cubicBezTo>
                  <a:cubicBezTo>
                    <a:pt x="74412" y="22498"/>
                    <a:pt x="75459" y="22498"/>
                    <a:pt x="76411" y="22593"/>
                  </a:cubicBezTo>
                  <a:lnTo>
                    <a:pt x="76411" y="22878"/>
                  </a:lnTo>
                  <a:cubicBezTo>
                    <a:pt x="76982" y="22783"/>
                    <a:pt x="77648" y="22783"/>
                    <a:pt x="78314" y="22688"/>
                  </a:cubicBezTo>
                  <a:cubicBezTo>
                    <a:pt x="78980" y="22688"/>
                    <a:pt x="79646" y="22783"/>
                    <a:pt x="80217" y="22878"/>
                  </a:cubicBezTo>
                  <a:lnTo>
                    <a:pt x="80217" y="22593"/>
                  </a:lnTo>
                  <a:cubicBezTo>
                    <a:pt x="81168" y="22498"/>
                    <a:pt x="82215" y="22498"/>
                    <a:pt x="83262" y="22498"/>
                  </a:cubicBezTo>
                  <a:cubicBezTo>
                    <a:pt x="100580" y="22498"/>
                    <a:pt x="108003" y="30188"/>
                    <a:pt x="112665" y="37592"/>
                  </a:cubicBezTo>
                  <a:cubicBezTo>
                    <a:pt x="115330" y="41769"/>
                    <a:pt x="116757" y="51547"/>
                    <a:pt x="116757" y="72716"/>
                  </a:cubicBezTo>
                  <a:cubicBezTo>
                    <a:pt x="116662" y="93790"/>
                    <a:pt x="114283" y="100245"/>
                    <a:pt x="112475" y="105372"/>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3" name="Freeform 32">
              <a:extLst>
                <a:ext uri="{FF2B5EF4-FFF2-40B4-BE49-F238E27FC236}">
                  <a16:creationId xmlns:a16="http://schemas.microsoft.com/office/drawing/2014/main" id="{164A8B15-621C-8047-9465-A5E6F5E58EFC}"/>
                </a:ext>
              </a:extLst>
            </p:cNvPr>
            <p:cNvSpPr/>
            <p:nvPr/>
          </p:nvSpPr>
          <p:spPr>
            <a:xfrm>
              <a:off x="9838081" y="-1120916"/>
              <a:ext cx="61767" cy="140875"/>
            </a:xfrm>
            <a:custGeom>
              <a:avLst/>
              <a:gdLst>
                <a:gd name="connsiteX0" fmla="*/ 61482 w 61767"/>
                <a:gd name="connsiteY0" fmla="*/ 121035 h 140875"/>
                <a:gd name="connsiteX1" fmla="*/ 60149 w 61767"/>
                <a:gd name="connsiteY1" fmla="*/ 120465 h 140875"/>
                <a:gd name="connsiteX2" fmla="*/ 46447 w 61767"/>
                <a:gd name="connsiteY2" fmla="*/ 112776 h 140875"/>
                <a:gd name="connsiteX3" fmla="*/ 46447 w 61767"/>
                <a:gd name="connsiteY3" fmla="*/ 82304 h 140875"/>
                <a:gd name="connsiteX4" fmla="*/ 46447 w 61767"/>
                <a:gd name="connsiteY4" fmla="*/ 59805 h 140875"/>
                <a:gd name="connsiteX5" fmla="*/ 46447 w 61767"/>
                <a:gd name="connsiteY5" fmla="*/ 28194 h 140875"/>
                <a:gd name="connsiteX6" fmla="*/ 60149 w 61767"/>
                <a:gd name="connsiteY6" fmla="*/ 20410 h 140875"/>
                <a:gd name="connsiteX7" fmla="*/ 61482 w 61767"/>
                <a:gd name="connsiteY7" fmla="*/ 19840 h 140875"/>
                <a:gd name="connsiteX8" fmla="*/ 61767 w 61767"/>
                <a:gd name="connsiteY8" fmla="*/ 18511 h 140875"/>
                <a:gd name="connsiteX9" fmla="*/ 61672 w 61767"/>
                <a:gd name="connsiteY9" fmla="*/ 1329 h 140875"/>
                <a:gd name="connsiteX10" fmla="*/ 60340 w 61767"/>
                <a:gd name="connsiteY10" fmla="*/ 0 h 140875"/>
                <a:gd name="connsiteX11" fmla="*/ 1438 w 61767"/>
                <a:gd name="connsiteY11" fmla="*/ 0 h 140875"/>
                <a:gd name="connsiteX12" fmla="*/ 106 w 61767"/>
                <a:gd name="connsiteY12" fmla="*/ 1329 h 140875"/>
                <a:gd name="connsiteX13" fmla="*/ 11 w 61767"/>
                <a:gd name="connsiteY13" fmla="*/ 18511 h 140875"/>
                <a:gd name="connsiteX14" fmla="*/ 296 w 61767"/>
                <a:gd name="connsiteY14" fmla="*/ 19840 h 140875"/>
                <a:gd name="connsiteX15" fmla="*/ 1628 w 61767"/>
                <a:gd name="connsiteY15" fmla="*/ 20410 h 140875"/>
                <a:gd name="connsiteX16" fmla="*/ 15331 w 61767"/>
                <a:gd name="connsiteY16" fmla="*/ 28194 h 140875"/>
                <a:gd name="connsiteX17" fmla="*/ 15331 w 61767"/>
                <a:gd name="connsiteY17" fmla="*/ 59805 h 140875"/>
                <a:gd name="connsiteX18" fmla="*/ 15331 w 61767"/>
                <a:gd name="connsiteY18" fmla="*/ 82304 h 140875"/>
                <a:gd name="connsiteX19" fmla="*/ 15331 w 61767"/>
                <a:gd name="connsiteY19" fmla="*/ 112776 h 140875"/>
                <a:gd name="connsiteX20" fmla="*/ 1628 w 61767"/>
                <a:gd name="connsiteY20" fmla="*/ 120465 h 140875"/>
                <a:gd name="connsiteX21" fmla="*/ 296 w 61767"/>
                <a:gd name="connsiteY21" fmla="*/ 121035 h 140875"/>
                <a:gd name="connsiteX22" fmla="*/ 11 w 61767"/>
                <a:gd name="connsiteY22" fmla="*/ 122364 h 140875"/>
                <a:gd name="connsiteX23" fmla="*/ 106 w 61767"/>
                <a:gd name="connsiteY23" fmla="*/ 139546 h 140875"/>
                <a:gd name="connsiteX24" fmla="*/ 1438 w 61767"/>
                <a:gd name="connsiteY24" fmla="*/ 140875 h 140875"/>
                <a:gd name="connsiteX25" fmla="*/ 60340 w 61767"/>
                <a:gd name="connsiteY25" fmla="*/ 140875 h 140875"/>
                <a:gd name="connsiteX26" fmla="*/ 61672 w 61767"/>
                <a:gd name="connsiteY26" fmla="*/ 139546 h 140875"/>
                <a:gd name="connsiteX27" fmla="*/ 61767 w 61767"/>
                <a:gd name="connsiteY27" fmla="*/ 122364 h 140875"/>
                <a:gd name="connsiteX28" fmla="*/ 61482 w 61767"/>
                <a:gd name="connsiteY28" fmla="*/ 121035 h 14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767" h="140875">
                  <a:moveTo>
                    <a:pt x="61482" y="121035"/>
                  </a:moveTo>
                  <a:cubicBezTo>
                    <a:pt x="61101" y="120465"/>
                    <a:pt x="60149" y="120465"/>
                    <a:pt x="60149" y="120465"/>
                  </a:cubicBezTo>
                  <a:cubicBezTo>
                    <a:pt x="54155" y="119516"/>
                    <a:pt x="46447" y="116099"/>
                    <a:pt x="46447" y="112776"/>
                  </a:cubicBezTo>
                  <a:lnTo>
                    <a:pt x="46447" y="82304"/>
                  </a:lnTo>
                  <a:lnTo>
                    <a:pt x="46447" y="59805"/>
                  </a:lnTo>
                  <a:lnTo>
                    <a:pt x="46447" y="28194"/>
                  </a:lnTo>
                  <a:cubicBezTo>
                    <a:pt x="46447" y="24872"/>
                    <a:pt x="54250" y="21454"/>
                    <a:pt x="60149" y="20410"/>
                  </a:cubicBezTo>
                  <a:cubicBezTo>
                    <a:pt x="60149" y="20410"/>
                    <a:pt x="61101" y="20410"/>
                    <a:pt x="61482" y="19840"/>
                  </a:cubicBezTo>
                  <a:cubicBezTo>
                    <a:pt x="61862" y="19271"/>
                    <a:pt x="61672" y="18511"/>
                    <a:pt x="61767" y="18511"/>
                  </a:cubicBezTo>
                  <a:lnTo>
                    <a:pt x="61672" y="1329"/>
                  </a:lnTo>
                  <a:cubicBezTo>
                    <a:pt x="61672" y="570"/>
                    <a:pt x="61101" y="0"/>
                    <a:pt x="60340" y="0"/>
                  </a:cubicBez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194"/>
                  </a:cubicBezTo>
                  <a:lnTo>
                    <a:pt x="15331" y="59805"/>
                  </a:lnTo>
                  <a:lnTo>
                    <a:pt x="15331" y="82304"/>
                  </a:lnTo>
                  <a:lnTo>
                    <a:pt x="15331" y="112776"/>
                  </a:lnTo>
                  <a:cubicBezTo>
                    <a:pt x="15331" y="116099"/>
                    <a:pt x="7528" y="119516"/>
                    <a:pt x="1628" y="120465"/>
                  </a:cubicBezTo>
                  <a:cubicBezTo>
                    <a:pt x="1628" y="120465"/>
                    <a:pt x="677" y="120465"/>
                    <a:pt x="296" y="121035"/>
                  </a:cubicBezTo>
                  <a:cubicBezTo>
                    <a:pt x="-85" y="121604"/>
                    <a:pt x="106" y="122364"/>
                    <a:pt x="11" y="122364"/>
                  </a:cubicBezTo>
                  <a:lnTo>
                    <a:pt x="106" y="139546"/>
                  </a:lnTo>
                  <a:cubicBezTo>
                    <a:pt x="106" y="140305"/>
                    <a:pt x="677" y="140875"/>
                    <a:pt x="1438" y="140875"/>
                  </a:cubicBezTo>
                  <a:lnTo>
                    <a:pt x="60340" y="140875"/>
                  </a:lnTo>
                  <a:cubicBezTo>
                    <a:pt x="61101" y="140875"/>
                    <a:pt x="61672" y="140305"/>
                    <a:pt x="61672" y="139546"/>
                  </a:cubicBezTo>
                  <a:lnTo>
                    <a:pt x="61767" y="122364"/>
                  </a:lnTo>
                  <a:cubicBezTo>
                    <a:pt x="61672" y="122459"/>
                    <a:pt x="61862" y="121699"/>
                    <a:pt x="61482" y="12103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4" name="Freeform 33">
              <a:extLst>
                <a:ext uri="{FF2B5EF4-FFF2-40B4-BE49-F238E27FC236}">
                  <a16:creationId xmlns:a16="http://schemas.microsoft.com/office/drawing/2014/main" id="{F813A66D-F57D-3540-8E45-E0A577ADAF10}"/>
                </a:ext>
              </a:extLst>
            </p:cNvPr>
            <p:cNvSpPr/>
            <p:nvPr/>
          </p:nvSpPr>
          <p:spPr>
            <a:xfrm>
              <a:off x="9675934" y="-1120916"/>
              <a:ext cx="154116" cy="141064"/>
            </a:xfrm>
            <a:custGeom>
              <a:avLst/>
              <a:gdLst>
                <a:gd name="connsiteX0" fmla="*/ 153878 w 154116"/>
                <a:gd name="connsiteY0" fmla="*/ 121130 h 141064"/>
                <a:gd name="connsiteX1" fmla="*/ 152546 w 154116"/>
                <a:gd name="connsiteY1" fmla="*/ 120560 h 141064"/>
                <a:gd name="connsiteX2" fmla="*/ 138844 w 154116"/>
                <a:gd name="connsiteY2" fmla="*/ 112871 h 141064"/>
                <a:gd name="connsiteX3" fmla="*/ 138749 w 154116"/>
                <a:gd name="connsiteY3" fmla="*/ 93600 h 141064"/>
                <a:gd name="connsiteX4" fmla="*/ 110392 w 154116"/>
                <a:gd name="connsiteY4" fmla="*/ 66451 h 141064"/>
                <a:gd name="connsiteX5" fmla="*/ 109631 w 154116"/>
                <a:gd name="connsiteY5" fmla="*/ 66451 h 141064"/>
                <a:gd name="connsiteX6" fmla="*/ 109631 w 154116"/>
                <a:gd name="connsiteY6" fmla="*/ 66261 h 141064"/>
                <a:gd name="connsiteX7" fmla="*/ 109440 w 154116"/>
                <a:gd name="connsiteY7" fmla="*/ 66261 h 141064"/>
                <a:gd name="connsiteX8" fmla="*/ 107823 w 154116"/>
                <a:gd name="connsiteY8" fmla="*/ 64647 h 141064"/>
                <a:gd name="connsiteX9" fmla="*/ 109440 w 154116"/>
                <a:gd name="connsiteY9" fmla="*/ 63033 h 141064"/>
                <a:gd name="connsiteX10" fmla="*/ 113437 w 154116"/>
                <a:gd name="connsiteY10" fmla="*/ 63033 h 141064"/>
                <a:gd name="connsiteX11" fmla="*/ 137511 w 154116"/>
                <a:gd name="connsiteY11" fmla="*/ 35029 h 141064"/>
                <a:gd name="connsiteX12" fmla="*/ 137511 w 154116"/>
                <a:gd name="connsiteY12" fmla="*/ 27150 h 141064"/>
                <a:gd name="connsiteX13" fmla="*/ 110297 w 154116"/>
                <a:gd name="connsiteY13" fmla="*/ 0 h 141064"/>
                <a:gd name="connsiteX14" fmla="*/ 51300 w 154116"/>
                <a:gd name="connsiteY14" fmla="*/ 0 h 141064"/>
                <a:gd name="connsiteX15" fmla="*/ 51300 w 154116"/>
                <a:gd name="connsiteY15" fmla="*/ 95 h 141064"/>
                <a:gd name="connsiteX16" fmla="*/ 1438 w 154116"/>
                <a:gd name="connsiteY16" fmla="*/ 95 h 141064"/>
                <a:gd name="connsiteX17" fmla="*/ 106 w 154116"/>
                <a:gd name="connsiteY17" fmla="*/ 1424 h 141064"/>
                <a:gd name="connsiteX18" fmla="*/ 11 w 154116"/>
                <a:gd name="connsiteY18" fmla="*/ 18606 h 141064"/>
                <a:gd name="connsiteX19" fmla="*/ 296 w 154116"/>
                <a:gd name="connsiteY19" fmla="*/ 19935 h 141064"/>
                <a:gd name="connsiteX20" fmla="*/ 1628 w 154116"/>
                <a:gd name="connsiteY20" fmla="*/ 20505 h 141064"/>
                <a:gd name="connsiteX21" fmla="*/ 15331 w 154116"/>
                <a:gd name="connsiteY21" fmla="*/ 28194 h 141064"/>
                <a:gd name="connsiteX22" fmla="*/ 15331 w 154116"/>
                <a:gd name="connsiteY22" fmla="*/ 59805 h 141064"/>
                <a:gd name="connsiteX23" fmla="*/ 15331 w 154116"/>
                <a:gd name="connsiteY23" fmla="*/ 82304 h 141064"/>
                <a:gd name="connsiteX24" fmla="*/ 15331 w 154116"/>
                <a:gd name="connsiteY24" fmla="*/ 112776 h 141064"/>
                <a:gd name="connsiteX25" fmla="*/ 1628 w 154116"/>
                <a:gd name="connsiteY25" fmla="*/ 120465 h 141064"/>
                <a:gd name="connsiteX26" fmla="*/ 296 w 154116"/>
                <a:gd name="connsiteY26" fmla="*/ 121035 h 141064"/>
                <a:gd name="connsiteX27" fmla="*/ 11 w 154116"/>
                <a:gd name="connsiteY27" fmla="*/ 122364 h 141064"/>
                <a:gd name="connsiteX28" fmla="*/ 106 w 154116"/>
                <a:gd name="connsiteY28" fmla="*/ 139641 h 141064"/>
                <a:gd name="connsiteX29" fmla="*/ 1438 w 154116"/>
                <a:gd name="connsiteY29" fmla="*/ 140970 h 141064"/>
                <a:gd name="connsiteX30" fmla="*/ 60340 w 154116"/>
                <a:gd name="connsiteY30" fmla="*/ 140970 h 141064"/>
                <a:gd name="connsiteX31" fmla="*/ 61672 w 154116"/>
                <a:gd name="connsiteY31" fmla="*/ 139641 h 141064"/>
                <a:gd name="connsiteX32" fmla="*/ 61767 w 154116"/>
                <a:gd name="connsiteY32" fmla="*/ 122364 h 141064"/>
                <a:gd name="connsiteX33" fmla="*/ 61481 w 154116"/>
                <a:gd name="connsiteY33" fmla="*/ 121035 h 141064"/>
                <a:gd name="connsiteX34" fmla="*/ 60149 w 154116"/>
                <a:gd name="connsiteY34" fmla="*/ 120465 h 141064"/>
                <a:gd name="connsiteX35" fmla="*/ 46447 w 154116"/>
                <a:gd name="connsiteY35" fmla="*/ 112776 h 141064"/>
                <a:gd name="connsiteX36" fmla="*/ 46447 w 154116"/>
                <a:gd name="connsiteY36" fmla="*/ 82304 h 141064"/>
                <a:gd name="connsiteX37" fmla="*/ 46447 w 154116"/>
                <a:gd name="connsiteY37" fmla="*/ 59805 h 141064"/>
                <a:gd name="connsiteX38" fmla="*/ 46447 w 154116"/>
                <a:gd name="connsiteY38" fmla="*/ 28194 h 141064"/>
                <a:gd name="connsiteX39" fmla="*/ 51680 w 154116"/>
                <a:gd name="connsiteY39" fmla="*/ 23163 h 141064"/>
                <a:gd name="connsiteX40" fmla="*/ 85556 w 154116"/>
                <a:gd name="connsiteY40" fmla="*/ 23163 h 141064"/>
                <a:gd name="connsiteX41" fmla="*/ 99068 w 154116"/>
                <a:gd name="connsiteY41" fmla="*/ 35409 h 141064"/>
                <a:gd name="connsiteX42" fmla="*/ 99068 w 154116"/>
                <a:gd name="connsiteY42" fmla="*/ 41579 h 141064"/>
                <a:gd name="connsiteX43" fmla="*/ 85271 w 154116"/>
                <a:gd name="connsiteY43" fmla="*/ 56198 h 141064"/>
                <a:gd name="connsiteX44" fmla="*/ 84700 w 154116"/>
                <a:gd name="connsiteY44" fmla="*/ 56293 h 141064"/>
                <a:gd name="connsiteX45" fmla="*/ 64527 w 154116"/>
                <a:gd name="connsiteY45" fmla="*/ 56293 h 141064"/>
                <a:gd name="connsiteX46" fmla="*/ 60149 w 154116"/>
                <a:gd name="connsiteY46" fmla="*/ 60660 h 141064"/>
                <a:gd name="connsiteX47" fmla="*/ 60149 w 154116"/>
                <a:gd name="connsiteY47" fmla="*/ 76038 h 141064"/>
                <a:gd name="connsiteX48" fmla="*/ 64527 w 154116"/>
                <a:gd name="connsiteY48" fmla="*/ 80405 h 141064"/>
                <a:gd name="connsiteX49" fmla="*/ 87079 w 154116"/>
                <a:gd name="connsiteY49" fmla="*/ 80405 h 141064"/>
                <a:gd name="connsiteX50" fmla="*/ 101542 w 154116"/>
                <a:gd name="connsiteY50" fmla="*/ 93505 h 141064"/>
                <a:gd name="connsiteX51" fmla="*/ 101257 w 154116"/>
                <a:gd name="connsiteY51" fmla="*/ 133186 h 141064"/>
                <a:gd name="connsiteX52" fmla="*/ 101828 w 154116"/>
                <a:gd name="connsiteY52" fmla="*/ 137743 h 141064"/>
                <a:gd name="connsiteX53" fmla="*/ 108013 w 154116"/>
                <a:gd name="connsiteY53" fmla="*/ 141065 h 141064"/>
                <a:gd name="connsiteX54" fmla="*/ 152641 w 154116"/>
                <a:gd name="connsiteY54" fmla="*/ 141065 h 141064"/>
                <a:gd name="connsiteX55" fmla="*/ 153973 w 154116"/>
                <a:gd name="connsiteY55" fmla="*/ 139736 h 141064"/>
                <a:gd name="connsiteX56" fmla="*/ 154069 w 154116"/>
                <a:gd name="connsiteY56" fmla="*/ 122459 h 141064"/>
                <a:gd name="connsiteX57" fmla="*/ 153878 w 154116"/>
                <a:gd name="connsiteY57" fmla="*/ 121130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4116" h="141064">
                  <a:moveTo>
                    <a:pt x="153878" y="121130"/>
                  </a:moveTo>
                  <a:cubicBezTo>
                    <a:pt x="153498" y="120560"/>
                    <a:pt x="152546" y="120560"/>
                    <a:pt x="152546" y="120560"/>
                  </a:cubicBezTo>
                  <a:cubicBezTo>
                    <a:pt x="146551" y="119611"/>
                    <a:pt x="138844" y="116194"/>
                    <a:pt x="138844" y="112871"/>
                  </a:cubicBezTo>
                  <a:lnTo>
                    <a:pt x="138749" y="93600"/>
                  </a:lnTo>
                  <a:cubicBezTo>
                    <a:pt x="138749" y="78601"/>
                    <a:pt x="134657" y="66451"/>
                    <a:pt x="110392" y="66451"/>
                  </a:cubicBezTo>
                  <a:lnTo>
                    <a:pt x="109631" y="66451"/>
                  </a:lnTo>
                  <a:lnTo>
                    <a:pt x="109631" y="66261"/>
                  </a:lnTo>
                  <a:lnTo>
                    <a:pt x="109440" y="66261"/>
                  </a:lnTo>
                  <a:cubicBezTo>
                    <a:pt x="108489" y="66261"/>
                    <a:pt x="107823" y="65501"/>
                    <a:pt x="107823" y="64647"/>
                  </a:cubicBezTo>
                  <a:cubicBezTo>
                    <a:pt x="107823" y="63698"/>
                    <a:pt x="108584" y="63033"/>
                    <a:pt x="109440" y="63033"/>
                  </a:cubicBezTo>
                  <a:lnTo>
                    <a:pt x="113437" y="63033"/>
                  </a:lnTo>
                  <a:cubicBezTo>
                    <a:pt x="127044" y="61514"/>
                    <a:pt x="137511" y="48984"/>
                    <a:pt x="137511" y="35029"/>
                  </a:cubicBezTo>
                  <a:lnTo>
                    <a:pt x="137511" y="27150"/>
                  </a:lnTo>
                  <a:cubicBezTo>
                    <a:pt x="137511" y="12151"/>
                    <a:pt x="125331" y="0"/>
                    <a:pt x="110297" y="0"/>
                  </a:cubicBezTo>
                  <a:lnTo>
                    <a:pt x="51300" y="0"/>
                  </a:lnTo>
                  <a:lnTo>
                    <a:pt x="51300" y="95"/>
                  </a:lnTo>
                  <a:lnTo>
                    <a:pt x="1438" y="95"/>
                  </a:lnTo>
                  <a:cubicBezTo>
                    <a:pt x="677" y="95"/>
                    <a:pt x="106" y="665"/>
                    <a:pt x="106" y="1424"/>
                  </a:cubicBezTo>
                  <a:lnTo>
                    <a:pt x="11" y="18606"/>
                  </a:lnTo>
                  <a:cubicBezTo>
                    <a:pt x="11" y="18606"/>
                    <a:pt x="-85" y="19366"/>
                    <a:pt x="296" y="19935"/>
                  </a:cubicBezTo>
                  <a:cubicBezTo>
                    <a:pt x="677" y="20505"/>
                    <a:pt x="1628" y="20505"/>
                    <a:pt x="1628" y="20505"/>
                  </a:cubicBezTo>
                  <a:cubicBezTo>
                    <a:pt x="7623" y="21454"/>
                    <a:pt x="15331" y="24872"/>
                    <a:pt x="15331" y="28194"/>
                  </a:cubicBezTo>
                  <a:lnTo>
                    <a:pt x="15331" y="59805"/>
                  </a:lnTo>
                  <a:lnTo>
                    <a:pt x="15331" y="82304"/>
                  </a:lnTo>
                  <a:lnTo>
                    <a:pt x="15331" y="112776"/>
                  </a:lnTo>
                  <a:cubicBezTo>
                    <a:pt x="15331" y="116099"/>
                    <a:pt x="7528" y="119516"/>
                    <a:pt x="1628" y="120465"/>
                  </a:cubicBezTo>
                  <a:cubicBezTo>
                    <a:pt x="1628" y="120465"/>
                    <a:pt x="677" y="120465"/>
                    <a:pt x="296" y="121035"/>
                  </a:cubicBezTo>
                  <a:cubicBezTo>
                    <a:pt x="-85" y="121604"/>
                    <a:pt x="106" y="122364"/>
                    <a:pt x="11" y="122364"/>
                  </a:cubicBezTo>
                  <a:lnTo>
                    <a:pt x="106" y="139641"/>
                  </a:lnTo>
                  <a:cubicBezTo>
                    <a:pt x="106" y="140401"/>
                    <a:pt x="677" y="140970"/>
                    <a:pt x="1438" y="140970"/>
                  </a:cubicBezTo>
                  <a:lnTo>
                    <a:pt x="60340" y="140970"/>
                  </a:lnTo>
                  <a:cubicBezTo>
                    <a:pt x="61101" y="140970"/>
                    <a:pt x="61672" y="140401"/>
                    <a:pt x="61672" y="139641"/>
                  </a:cubicBezTo>
                  <a:lnTo>
                    <a:pt x="61767" y="122364"/>
                  </a:lnTo>
                  <a:cubicBezTo>
                    <a:pt x="61767" y="122364"/>
                    <a:pt x="61862" y="121604"/>
                    <a:pt x="61481" y="121035"/>
                  </a:cubicBezTo>
                  <a:cubicBezTo>
                    <a:pt x="61101" y="120465"/>
                    <a:pt x="60149" y="120465"/>
                    <a:pt x="60149" y="120465"/>
                  </a:cubicBezTo>
                  <a:cubicBezTo>
                    <a:pt x="54155" y="119516"/>
                    <a:pt x="46447" y="116099"/>
                    <a:pt x="46447" y="112776"/>
                  </a:cubicBezTo>
                  <a:lnTo>
                    <a:pt x="46447" y="82304"/>
                  </a:lnTo>
                  <a:lnTo>
                    <a:pt x="46447" y="59805"/>
                  </a:lnTo>
                  <a:lnTo>
                    <a:pt x="46447" y="28194"/>
                  </a:lnTo>
                  <a:cubicBezTo>
                    <a:pt x="46447" y="26390"/>
                    <a:pt x="48731" y="24587"/>
                    <a:pt x="51680" y="23163"/>
                  </a:cubicBezTo>
                  <a:lnTo>
                    <a:pt x="85556" y="23163"/>
                  </a:lnTo>
                  <a:cubicBezTo>
                    <a:pt x="92312" y="23163"/>
                    <a:pt x="99068" y="28669"/>
                    <a:pt x="99068" y="35409"/>
                  </a:cubicBezTo>
                  <a:lnTo>
                    <a:pt x="99068" y="41579"/>
                  </a:lnTo>
                  <a:cubicBezTo>
                    <a:pt x="99163" y="45376"/>
                    <a:pt x="93169" y="56673"/>
                    <a:pt x="85271" y="56198"/>
                  </a:cubicBezTo>
                  <a:lnTo>
                    <a:pt x="84700" y="56293"/>
                  </a:lnTo>
                  <a:lnTo>
                    <a:pt x="64527" y="56293"/>
                  </a:lnTo>
                  <a:cubicBezTo>
                    <a:pt x="62053" y="56293"/>
                    <a:pt x="60149" y="58287"/>
                    <a:pt x="60149" y="60660"/>
                  </a:cubicBezTo>
                  <a:lnTo>
                    <a:pt x="60149" y="76038"/>
                  </a:lnTo>
                  <a:cubicBezTo>
                    <a:pt x="60149" y="78412"/>
                    <a:pt x="62148" y="80405"/>
                    <a:pt x="64527" y="80405"/>
                  </a:cubicBezTo>
                  <a:lnTo>
                    <a:pt x="87079" y="80405"/>
                  </a:lnTo>
                  <a:cubicBezTo>
                    <a:pt x="102113" y="81259"/>
                    <a:pt x="101447" y="89803"/>
                    <a:pt x="101542" y="93505"/>
                  </a:cubicBezTo>
                  <a:lnTo>
                    <a:pt x="101257" y="133186"/>
                  </a:lnTo>
                  <a:cubicBezTo>
                    <a:pt x="101257" y="133186"/>
                    <a:pt x="101257" y="136129"/>
                    <a:pt x="101828" y="137743"/>
                  </a:cubicBezTo>
                  <a:cubicBezTo>
                    <a:pt x="102779" y="140685"/>
                    <a:pt x="108013" y="141065"/>
                    <a:pt x="108013" y="141065"/>
                  </a:cubicBezTo>
                  <a:lnTo>
                    <a:pt x="152641" y="141065"/>
                  </a:lnTo>
                  <a:cubicBezTo>
                    <a:pt x="153403" y="141065"/>
                    <a:pt x="153973" y="140495"/>
                    <a:pt x="153973" y="139736"/>
                  </a:cubicBezTo>
                  <a:lnTo>
                    <a:pt x="154069" y="122459"/>
                  </a:lnTo>
                  <a:cubicBezTo>
                    <a:pt x="154069" y="122459"/>
                    <a:pt x="154259" y="121699"/>
                    <a:pt x="153878" y="12113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5" name="Freeform 34">
              <a:extLst>
                <a:ext uri="{FF2B5EF4-FFF2-40B4-BE49-F238E27FC236}">
                  <a16:creationId xmlns:a16="http://schemas.microsoft.com/office/drawing/2014/main" id="{5F2A5A41-637C-FC4C-81D1-7634095EA343}"/>
                </a:ext>
              </a:extLst>
            </p:cNvPr>
            <p:cNvSpPr/>
            <p:nvPr/>
          </p:nvSpPr>
          <p:spPr>
            <a:xfrm>
              <a:off x="9538053" y="-1121201"/>
              <a:ext cx="132468" cy="141064"/>
            </a:xfrm>
            <a:custGeom>
              <a:avLst/>
              <a:gdLst>
                <a:gd name="connsiteX0" fmla="*/ 131993 w 132468"/>
                <a:gd name="connsiteY0" fmla="*/ 101479 h 141064"/>
                <a:gd name="connsiteX1" fmla="*/ 127615 w 132468"/>
                <a:gd name="connsiteY1" fmla="*/ 97113 h 141064"/>
                <a:gd name="connsiteX2" fmla="*/ 116292 w 132468"/>
                <a:gd name="connsiteY2" fmla="*/ 97113 h 141064"/>
                <a:gd name="connsiteX3" fmla="*/ 111915 w 132468"/>
                <a:gd name="connsiteY3" fmla="*/ 101479 h 141064"/>
                <a:gd name="connsiteX4" fmla="*/ 109250 w 132468"/>
                <a:gd name="connsiteY4" fmla="*/ 108504 h 141064"/>
                <a:gd name="connsiteX5" fmla="*/ 105063 w 132468"/>
                <a:gd name="connsiteY5" fmla="*/ 114675 h 141064"/>
                <a:gd name="connsiteX6" fmla="*/ 49302 w 132468"/>
                <a:gd name="connsiteY6" fmla="*/ 116858 h 141064"/>
                <a:gd name="connsiteX7" fmla="*/ 46447 w 132468"/>
                <a:gd name="connsiteY7" fmla="*/ 113156 h 141064"/>
                <a:gd name="connsiteX8" fmla="*/ 46447 w 132468"/>
                <a:gd name="connsiteY8" fmla="*/ 76703 h 141064"/>
                <a:gd name="connsiteX9" fmla="*/ 89838 w 132468"/>
                <a:gd name="connsiteY9" fmla="*/ 76703 h 141064"/>
                <a:gd name="connsiteX10" fmla="*/ 96023 w 132468"/>
                <a:gd name="connsiteY10" fmla="*/ 84677 h 141064"/>
                <a:gd name="connsiteX11" fmla="*/ 96499 w 132468"/>
                <a:gd name="connsiteY11" fmla="*/ 85721 h 141064"/>
                <a:gd name="connsiteX12" fmla="*/ 97546 w 132468"/>
                <a:gd name="connsiteY12" fmla="*/ 85911 h 141064"/>
                <a:gd name="connsiteX13" fmla="*/ 111248 w 132468"/>
                <a:gd name="connsiteY13" fmla="*/ 85816 h 141064"/>
                <a:gd name="connsiteX14" fmla="*/ 112295 w 132468"/>
                <a:gd name="connsiteY14" fmla="*/ 84772 h 141064"/>
                <a:gd name="connsiteX15" fmla="*/ 112295 w 132468"/>
                <a:gd name="connsiteY15" fmla="*/ 53635 h 141064"/>
                <a:gd name="connsiteX16" fmla="*/ 112295 w 132468"/>
                <a:gd name="connsiteY16" fmla="*/ 42908 h 141064"/>
                <a:gd name="connsiteX17" fmla="*/ 111248 w 132468"/>
                <a:gd name="connsiteY17" fmla="*/ 41864 h 141064"/>
                <a:gd name="connsiteX18" fmla="*/ 97546 w 132468"/>
                <a:gd name="connsiteY18" fmla="*/ 41769 h 141064"/>
                <a:gd name="connsiteX19" fmla="*/ 96499 w 132468"/>
                <a:gd name="connsiteY19" fmla="*/ 41959 h 141064"/>
                <a:gd name="connsiteX20" fmla="*/ 96023 w 132468"/>
                <a:gd name="connsiteY20" fmla="*/ 43003 h 141064"/>
                <a:gd name="connsiteX21" fmla="*/ 89838 w 132468"/>
                <a:gd name="connsiteY21" fmla="*/ 50977 h 141064"/>
                <a:gd name="connsiteX22" fmla="*/ 46447 w 132468"/>
                <a:gd name="connsiteY22" fmla="*/ 50977 h 141064"/>
                <a:gd name="connsiteX23" fmla="*/ 46447 w 132468"/>
                <a:gd name="connsiteY23" fmla="*/ 28194 h 141064"/>
                <a:gd name="connsiteX24" fmla="*/ 46732 w 132468"/>
                <a:gd name="connsiteY24" fmla="*/ 23827 h 141064"/>
                <a:gd name="connsiteX25" fmla="*/ 50729 w 132468"/>
                <a:gd name="connsiteY25" fmla="*/ 22688 h 141064"/>
                <a:gd name="connsiteX26" fmla="*/ 91170 w 132468"/>
                <a:gd name="connsiteY26" fmla="*/ 23163 h 141064"/>
                <a:gd name="connsiteX27" fmla="*/ 104397 w 132468"/>
                <a:gd name="connsiteY27" fmla="*/ 25726 h 141064"/>
                <a:gd name="connsiteX28" fmla="*/ 106205 w 132468"/>
                <a:gd name="connsiteY28" fmla="*/ 30282 h 141064"/>
                <a:gd name="connsiteX29" fmla="*/ 110582 w 132468"/>
                <a:gd name="connsiteY29" fmla="*/ 34649 h 141064"/>
                <a:gd name="connsiteX30" fmla="*/ 121906 w 132468"/>
                <a:gd name="connsiteY30" fmla="*/ 34649 h 141064"/>
                <a:gd name="connsiteX31" fmla="*/ 126283 w 132468"/>
                <a:gd name="connsiteY31" fmla="*/ 30282 h 141064"/>
                <a:gd name="connsiteX32" fmla="*/ 126759 w 132468"/>
                <a:gd name="connsiteY32" fmla="*/ 4367 h 141064"/>
                <a:gd name="connsiteX33" fmla="*/ 122382 w 132468"/>
                <a:gd name="connsiteY33" fmla="*/ 0 h 141064"/>
                <a:gd name="connsiteX34" fmla="*/ 60340 w 132468"/>
                <a:gd name="connsiteY34" fmla="*/ 0 h 141064"/>
                <a:gd name="connsiteX35" fmla="*/ 1438 w 132468"/>
                <a:gd name="connsiteY35" fmla="*/ 0 h 141064"/>
                <a:gd name="connsiteX36" fmla="*/ 106 w 132468"/>
                <a:gd name="connsiteY36" fmla="*/ 1329 h 141064"/>
                <a:gd name="connsiteX37" fmla="*/ 11 w 132468"/>
                <a:gd name="connsiteY37" fmla="*/ 18511 h 141064"/>
                <a:gd name="connsiteX38" fmla="*/ 296 w 132468"/>
                <a:gd name="connsiteY38" fmla="*/ 19840 h 141064"/>
                <a:gd name="connsiteX39" fmla="*/ 1628 w 132468"/>
                <a:gd name="connsiteY39" fmla="*/ 20410 h 141064"/>
                <a:gd name="connsiteX40" fmla="*/ 15331 w 132468"/>
                <a:gd name="connsiteY40" fmla="*/ 28099 h 141064"/>
                <a:gd name="connsiteX41" fmla="*/ 15331 w 132468"/>
                <a:gd name="connsiteY41" fmla="*/ 112871 h 141064"/>
                <a:gd name="connsiteX42" fmla="*/ 1628 w 132468"/>
                <a:gd name="connsiteY42" fmla="*/ 120560 h 141064"/>
                <a:gd name="connsiteX43" fmla="*/ 296 w 132468"/>
                <a:gd name="connsiteY43" fmla="*/ 121130 h 141064"/>
                <a:gd name="connsiteX44" fmla="*/ 11 w 132468"/>
                <a:gd name="connsiteY44" fmla="*/ 122459 h 141064"/>
                <a:gd name="connsiteX45" fmla="*/ 106 w 132468"/>
                <a:gd name="connsiteY45" fmla="*/ 139736 h 141064"/>
                <a:gd name="connsiteX46" fmla="*/ 1438 w 132468"/>
                <a:gd name="connsiteY46" fmla="*/ 141065 h 141064"/>
                <a:gd name="connsiteX47" fmla="*/ 48540 w 132468"/>
                <a:gd name="connsiteY47" fmla="*/ 141065 h 141064"/>
                <a:gd name="connsiteX48" fmla="*/ 48635 w 132468"/>
                <a:gd name="connsiteY48" fmla="*/ 141065 h 141064"/>
                <a:gd name="connsiteX49" fmla="*/ 128091 w 132468"/>
                <a:gd name="connsiteY49" fmla="*/ 141065 h 141064"/>
                <a:gd name="connsiteX50" fmla="*/ 132468 w 132468"/>
                <a:gd name="connsiteY50" fmla="*/ 136698 h 141064"/>
                <a:gd name="connsiteX51" fmla="*/ 131993 w 132468"/>
                <a:gd name="connsiteY51" fmla="*/ 101479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2468" h="141064">
                  <a:moveTo>
                    <a:pt x="131993" y="101479"/>
                  </a:moveTo>
                  <a:cubicBezTo>
                    <a:pt x="131993" y="99106"/>
                    <a:pt x="129994" y="97113"/>
                    <a:pt x="127615" y="97113"/>
                  </a:cubicBezTo>
                  <a:lnTo>
                    <a:pt x="116292" y="97113"/>
                  </a:lnTo>
                  <a:cubicBezTo>
                    <a:pt x="113818" y="97113"/>
                    <a:pt x="111915" y="99106"/>
                    <a:pt x="111915" y="101479"/>
                  </a:cubicBezTo>
                  <a:lnTo>
                    <a:pt x="109250" y="108504"/>
                  </a:lnTo>
                  <a:cubicBezTo>
                    <a:pt x="109060" y="111067"/>
                    <a:pt x="106110" y="112586"/>
                    <a:pt x="105063" y="114675"/>
                  </a:cubicBezTo>
                  <a:cubicBezTo>
                    <a:pt x="102113" y="120560"/>
                    <a:pt x="49302" y="116858"/>
                    <a:pt x="49302" y="116858"/>
                  </a:cubicBezTo>
                  <a:cubicBezTo>
                    <a:pt x="47589" y="115719"/>
                    <a:pt x="46447" y="114390"/>
                    <a:pt x="46447" y="113156"/>
                  </a:cubicBezTo>
                  <a:lnTo>
                    <a:pt x="46447" y="76703"/>
                  </a:lnTo>
                  <a:lnTo>
                    <a:pt x="89838" y="76703"/>
                  </a:lnTo>
                  <a:cubicBezTo>
                    <a:pt x="92503" y="76703"/>
                    <a:pt x="95167" y="80025"/>
                    <a:pt x="96023" y="84677"/>
                  </a:cubicBezTo>
                  <a:cubicBezTo>
                    <a:pt x="96023" y="84677"/>
                    <a:pt x="96023" y="85436"/>
                    <a:pt x="96499" y="85721"/>
                  </a:cubicBezTo>
                  <a:cubicBezTo>
                    <a:pt x="96975" y="86101"/>
                    <a:pt x="97546" y="85911"/>
                    <a:pt x="97546" y="85911"/>
                  </a:cubicBezTo>
                  <a:lnTo>
                    <a:pt x="111248" y="85816"/>
                  </a:lnTo>
                  <a:cubicBezTo>
                    <a:pt x="111819" y="85816"/>
                    <a:pt x="112295" y="85341"/>
                    <a:pt x="112295" y="84772"/>
                  </a:cubicBezTo>
                  <a:lnTo>
                    <a:pt x="112295" y="53635"/>
                  </a:lnTo>
                  <a:lnTo>
                    <a:pt x="112295" y="42908"/>
                  </a:lnTo>
                  <a:cubicBezTo>
                    <a:pt x="112295" y="42339"/>
                    <a:pt x="111819" y="41864"/>
                    <a:pt x="111248" y="41864"/>
                  </a:cubicBezTo>
                  <a:lnTo>
                    <a:pt x="97546" y="41769"/>
                  </a:lnTo>
                  <a:cubicBezTo>
                    <a:pt x="97546" y="41769"/>
                    <a:pt x="96880" y="41674"/>
                    <a:pt x="96499" y="41959"/>
                  </a:cubicBezTo>
                  <a:cubicBezTo>
                    <a:pt x="96023" y="42244"/>
                    <a:pt x="96023" y="43003"/>
                    <a:pt x="96023" y="43003"/>
                  </a:cubicBezTo>
                  <a:cubicBezTo>
                    <a:pt x="95262" y="47749"/>
                    <a:pt x="92503" y="50977"/>
                    <a:pt x="89838" y="50977"/>
                  </a:cubicBezTo>
                  <a:lnTo>
                    <a:pt x="46447" y="50977"/>
                  </a:lnTo>
                  <a:lnTo>
                    <a:pt x="46447" y="28194"/>
                  </a:lnTo>
                  <a:lnTo>
                    <a:pt x="46732" y="23827"/>
                  </a:lnTo>
                  <a:cubicBezTo>
                    <a:pt x="47874" y="22024"/>
                    <a:pt x="50729" y="22688"/>
                    <a:pt x="50729" y="22688"/>
                  </a:cubicBezTo>
                  <a:cubicBezTo>
                    <a:pt x="50729" y="22688"/>
                    <a:pt x="83558" y="22688"/>
                    <a:pt x="91170" y="23163"/>
                  </a:cubicBezTo>
                  <a:cubicBezTo>
                    <a:pt x="94977" y="23353"/>
                    <a:pt x="102589" y="22878"/>
                    <a:pt x="104397" y="25726"/>
                  </a:cubicBezTo>
                  <a:cubicBezTo>
                    <a:pt x="105634" y="27719"/>
                    <a:pt x="106205" y="30282"/>
                    <a:pt x="106205" y="30282"/>
                  </a:cubicBezTo>
                  <a:cubicBezTo>
                    <a:pt x="106205" y="32656"/>
                    <a:pt x="108203" y="34649"/>
                    <a:pt x="110582" y="34649"/>
                  </a:cubicBezTo>
                  <a:lnTo>
                    <a:pt x="121906" y="34649"/>
                  </a:lnTo>
                  <a:cubicBezTo>
                    <a:pt x="124285" y="34649"/>
                    <a:pt x="126283" y="32656"/>
                    <a:pt x="126283" y="30282"/>
                  </a:cubicBezTo>
                  <a:lnTo>
                    <a:pt x="126759" y="4367"/>
                  </a:lnTo>
                  <a:cubicBezTo>
                    <a:pt x="126759" y="1994"/>
                    <a:pt x="124761" y="0"/>
                    <a:pt x="122382" y="0"/>
                  </a:cubicBezTo>
                  <a:lnTo>
                    <a:pt x="60340" y="0"/>
                  </a:ln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099"/>
                  </a:cubicBezTo>
                  <a:lnTo>
                    <a:pt x="15331" y="112871"/>
                  </a:lnTo>
                  <a:cubicBezTo>
                    <a:pt x="15331" y="116194"/>
                    <a:pt x="7528" y="119611"/>
                    <a:pt x="1628" y="120560"/>
                  </a:cubicBezTo>
                  <a:cubicBezTo>
                    <a:pt x="1628" y="120560"/>
                    <a:pt x="677" y="120560"/>
                    <a:pt x="296" y="121130"/>
                  </a:cubicBezTo>
                  <a:cubicBezTo>
                    <a:pt x="-85" y="121699"/>
                    <a:pt x="106" y="122459"/>
                    <a:pt x="11" y="122459"/>
                  </a:cubicBezTo>
                  <a:lnTo>
                    <a:pt x="106" y="139736"/>
                  </a:lnTo>
                  <a:cubicBezTo>
                    <a:pt x="106" y="140495"/>
                    <a:pt x="677" y="141065"/>
                    <a:pt x="1438" y="141065"/>
                  </a:cubicBezTo>
                  <a:lnTo>
                    <a:pt x="48540" y="141065"/>
                  </a:lnTo>
                  <a:cubicBezTo>
                    <a:pt x="48540" y="141065"/>
                    <a:pt x="48635" y="141065"/>
                    <a:pt x="48635" y="141065"/>
                  </a:cubicBezTo>
                  <a:lnTo>
                    <a:pt x="128091" y="141065"/>
                  </a:lnTo>
                  <a:cubicBezTo>
                    <a:pt x="130565" y="141065"/>
                    <a:pt x="132468" y="139072"/>
                    <a:pt x="132468" y="136698"/>
                  </a:cubicBezTo>
                  <a:lnTo>
                    <a:pt x="131993" y="101479"/>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6" name="Freeform 35">
              <a:extLst>
                <a:ext uri="{FF2B5EF4-FFF2-40B4-BE49-F238E27FC236}">
                  <a16:creationId xmlns:a16="http://schemas.microsoft.com/office/drawing/2014/main" id="{16543197-55B0-3442-BD25-D08D3B349B31}"/>
                </a:ext>
              </a:extLst>
            </p:cNvPr>
            <p:cNvSpPr/>
            <p:nvPr/>
          </p:nvSpPr>
          <p:spPr>
            <a:xfrm>
              <a:off x="9036674" y="-1121011"/>
              <a:ext cx="120966" cy="141064"/>
            </a:xfrm>
            <a:custGeom>
              <a:avLst/>
              <a:gdLst>
                <a:gd name="connsiteX0" fmla="*/ 116672 w 120966"/>
                <a:gd name="connsiteY0" fmla="*/ 0 h 141064"/>
                <a:gd name="connsiteX1" fmla="*/ 60340 w 120966"/>
                <a:gd name="connsiteY1" fmla="*/ 0 h 141064"/>
                <a:gd name="connsiteX2" fmla="*/ 1438 w 120966"/>
                <a:gd name="connsiteY2" fmla="*/ 0 h 141064"/>
                <a:gd name="connsiteX3" fmla="*/ 106 w 120966"/>
                <a:gd name="connsiteY3" fmla="*/ 1329 h 141064"/>
                <a:gd name="connsiteX4" fmla="*/ 11 w 120966"/>
                <a:gd name="connsiteY4" fmla="*/ 18511 h 141064"/>
                <a:gd name="connsiteX5" fmla="*/ 296 w 120966"/>
                <a:gd name="connsiteY5" fmla="*/ 19840 h 141064"/>
                <a:gd name="connsiteX6" fmla="*/ 1628 w 120966"/>
                <a:gd name="connsiteY6" fmla="*/ 20410 h 141064"/>
                <a:gd name="connsiteX7" fmla="*/ 15331 w 120966"/>
                <a:gd name="connsiteY7" fmla="*/ 28099 h 141064"/>
                <a:gd name="connsiteX8" fmla="*/ 15331 w 120966"/>
                <a:gd name="connsiteY8" fmla="*/ 112871 h 141064"/>
                <a:gd name="connsiteX9" fmla="*/ 1628 w 120966"/>
                <a:gd name="connsiteY9" fmla="*/ 120560 h 141064"/>
                <a:gd name="connsiteX10" fmla="*/ 296 w 120966"/>
                <a:gd name="connsiteY10" fmla="*/ 121130 h 141064"/>
                <a:gd name="connsiteX11" fmla="*/ 11 w 120966"/>
                <a:gd name="connsiteY11" fmla="*/ 122459 h 141064"/>
                <a:gd name="connsiteX12" fmla="*/ 106 w 120966"/>
                <a:gd name="connsiteY12" fmla="*/ 139736 h 141064"/>
                <a:gd name="connsiteX13" fmla="*/ 1438 w 120966"/>
                <a:gd name="connsiteY13" fmla="*/ 141065 h 141064"/>
                <a:gd name="connsiteX14" fmla="*/ 48540 w 120966"/>
                <a:gd name="connsiteY14" fmla="*/ 141065 h 141064"/>
                <a:gd name="connsiteX15" fmla="*/ 48635 w 120966"/>
                <a:gd name="connsiteY15" fmla="*/ 141065 h 141064"/>
                <a:gd name="connsiteX16" fmla="*/ 48635 w 120966"/>
                <a:gd name="connsiteY16" fmla="*/ 141065 h 141064"/>
                <a:gd name="connsiteX17" fmla="*/ 60245 w 120966"/>
                <a:gd name="connsiteY17" fmla="*/ 141065 h 141064"/>
                <a:gd name="connsiteX18" fmla="*/ 61577 w 120966"/>
                <a:gd name="connsiteY18" fmla="*/ 139736 h 141064"/>
                <a:gd name="connsiteX19" fmla="*/ 61672 w 120966"/>
                <a:gd name="connsiteY19" fmla="*/ 122554 h 141064"/>
                <a:gd name="connsiteX20" fmla="*/ 61386 w 120966"/>
                <a:gd name="connsiteY20" fmla="*/ 121225 h 141064"/>
                <a:gd name="connsiteX21" fmla="*/ 60054 w 120966"/>
                <a:gd name="connsiteY21" fmla="*/ 120655 h 141064"/>
                <a:gd name="connsiteX22" fmla="*/ 49016 w 120966"/>
                <a:gd name="connsiteY22" fmla="*/ 116573 h 141064"/>
                <a:gd name="connsiteX23" fmla="*/ 48160 w 120966"/>
                <a:gd name="connsiteY23" fmla="*/ 115909 h 141064"/>
                <a:gd name="connsiteX24" fmla="*/ 47874 w 120966"/>
                <a:gd name="connsiteY24" fmla="*/ 115624 h 141064"/>
                <a:gd name="connsiteX25" fmla="*/ 47208 w 120966"/>
                <a:gd name="connsiteY25" fmla="*/ 114959 h 141064"/>
                <a:gd name="connsiteX26" fmla="*/ 47113 w 120966"/>
                <a:gd name="connsiteY26" fmla="*/ 114865 h 141064"/>
                <a:gd name="connsiteX27" fmla="*/ 46637 w 120966"/>
                <a:gd name="connsiteY27" fmla="*/ 114010 h 141064"/>
                <a:gd name="connsiteX28" fmla="*/ 46542 w 120966"/>
                <a:gd name="connsiteY28" fmla="*/ 113915 h 141064"/>
                <a:gd name="connsiteX29" fmla="*/ 46352 w 120966"/>
                <a:gd name="connsiteY29" fmla="*/ 113061 h 141064"/>
                <a:gd name="connsiteX30" fmla="*/ 46352 w 120966"/>
                <a:gd name="connsiteY30" fmla="*/ 76608 h 141064"/>
                <a:gd name="connsiteX31" fmla="*/ 85366 w 120966"/>
                <a:gd name="connsiteY31" fmla="*/ 76608 h 141064"/>
                <a:gd name="connsiteX32" fmla="*/ 91456 w 120966"/>
                <a:gd name="connsiteY32" fmla="*/ 84582 h 141064"/>
                <a:gd name="connsiteX33" fmla="*/ 91932 w 120966"/>
                <a:gd name="connsiteY33" fmla="*/ 85626 h 141064"/>
                <a:gd name="connsiteX34" fmla="*/ 92978 w 120966"/>
                <a:gd name="connsiteY34" fmla="*/ 85816 h 141064"/>
                <a:gd name="connsiteX35" fmla="*/ 106681 w 120966"/>
                <a:gd name="connsiteY35" fmla="*/ 85721 h 141064"/>
                <a:gd name="connsiteX36" fmla="*/ 107728 w 120966"/>
                <a:gd name="connsiteY36" fmla="*/ 84677 h 141064"/>
                <a:gd name="connsiteX37" fmla="*/ 107728 w 120966"/>
                <a:gd name="connsiteY37" fmla="*/ 56388 h 141064"/>
                <a:gd name="connsiteX38" fmla="*/ 107728 w 120966"/>
                <a:gd name="connsiteY38" fmla="*/ 45661 h 141064"/>
                <a:gd name="connsiteX39" fmla="*/ 106681 w 120966"/>
                <a:gd name="connsiteY39" fmla="*/ 44617 h 141064"/>
                <a:gd name="connsiteX40" fmla="*/ 92978 w 120966"/>
                <a:gd name="connsiteY40" fmla="*/ 44522 h 141064"/>
                <a:gd name="connsiteX41" fmla="*/ 91932 w 120966"/>
                <a:gd name="connsiteY41" fmla="*/ 44712 h 141064"/>
                <a:gd name="connsiteX42" fmla="*/ 91456 w 120966"/>
                <a:gd name="connsiteY42" fmla="*/ 45756 h 141064"/>
                <a:gd name="connsiteX43" fmla="*/ 85366 w 120966"/>
                <a:gd name="connsiteY43" fmla="*/ 53730 h 141064"/>
                <a:gd name="connsiteX44" fmla="*/ 46352 w 120966"/>
                <a:gd name="connsiteY44" fmla="*/ 53730 h 141064"/>
                <a:gd name="connsiteX45" fmla="*/ 46352 w 120966"/>
                <a:gd name="connsiteY45" fmla="*/ 28099 h 141064"/>
                <a:gd name="connsiteX46" fmla="*/ 46637 w 120966"/>
                <a:gd name="connsiteY46" fmla="*/ 23732 h 141064"/>
                <a:gd name="connsiteX47" fmla="*/ 50634 w 120966"/>
                <a:gd name="connsiteY47" fmla="*/ 22593 h 141064"/>
                <a:gd name="connsiteX48" fmla="*/ 85366 w 120966"/>
                <a:gd name="connsiteY48" fmla="*/ 23068 h 141064"/>
                <a:gd name="connsiteX49" fmla="*/ 98592 w 120966"/>
                <a:gd name="connsiteY49" fmla="*/ 25631 h 141064"/>
                <a:gd name="connsiteX50" fmla="*/ 100400 w 120966"/>
                <a:gd name="connsiteY50" fmla="*/ 30187 h 141064"/>
                <a:gd name="connsiteX51" fmla="*/ 104778 w 120966"/>
                <a:gd name="connsiteY51" fmla="*/ 34554 h 141064"/>
                <a:gd name="connsiteX52" fmla="*/ 116101 w 120966"/>
                <a:gd name="connsiteY52" fmla="*/ 34554 h 141064"/>
                <a:gd name="connsiteX53" fmla="*/ 120478 w 120966"/>
                <a:gd name="connsiteY53" fmla="*/ 30187 h 141064"/>
                <a:gd name="connsiteX54" fmla="*/ 120954 w 120966"/>
                <a:gd name="connsiteY54" fmla="*/ 4272 h 141064"/>
                <a:gd name="connsiteX55" fmla="*/ 116672 w 120966"/>
                <a:gd name="connsiteY55" fmla="*/ 0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0966" h="141064">
                  <a:moveTo>
                    <a:pt x="116672" y="0"/>
                  </a:moveTo>
                  <a:lnTo>
                    <a:pt x="60340" y="0"/>
                  </a:ln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099"/>
                  </a:cubicBezTo>
                  <a:lnTo>
                    <a:pt x="15331" y="112871"/>
                  </a:lnTo>
                  <a:cubicBezTo>
                    <a:pt x="15331" y="116194"/>
                    <a:pt x="7528" y="119611"/>
                    <a:pt x="1628" y="120560"/>
                  </a:cubicBezTo>
                  <a:cubicBezTo>
                    <a:pt x="1628" y="120560"/>
                    <a:pt x="677" y="120560"/>
                    <a:pt x="296" y="121130"/>
                  </a:cubicBezTo>
                  <a:cubicBezTo>
                    <a:pt x="-85" y="121699"/>
                    <a:pt x="106" y="122459"/>
                    <a:pt x="11" y="122459"/>
                  </a:cubicBezTo>
                  <a:lnTo>
                    <a:pt x="106" y="139736"/>
                  </a:lnTo>
                  <a:cubicBezTo>
                    <a:pt x="106" y="140495"/>
                    <a:pt x="677" y="141065"/>
                    <a:pt x="1438" y="141065"/>
                  </a:cubicBezTo>
                  <a:lnTo>
                    <a:pt x="48540" y="141065"/>
                  </a:lnTo>
                  <a:cubicBezTo>
                    <a:pt x="48540" y="141065"/>
                    <a:pt x="48635" y="141065"/>
                    <a:pt x="48635" y="141065"/>
                  </a:cubicBezTo>
                  <a:lnTo>
                    <a:pt x="48635" y="141065"/>
                  </a:lnTo>
                  <a:lnTo>
                    <a:pt x="60245" y="141065"/>
                  </a:lnTo>
                  <a:cubicBezTo>
                    <a:pt x="61006" y="141065"/>
                    <a:pt x="61577" y="140495"/>
                    <a:pt x="61577" y="139736"/>
                  </a:cubicBezTo>
                  <a:lnTo>
                    <a:pt x="61672" y="122554"/>
                  </a:lnTo>
                  <a:cubicBezTo>
                    <a:pt x="61672" y="122554"/>
                    <a:pt x="61767" y="121794"/>
                    <a:pt x="61386" y="121225"/>
                  </a:cubicBezTo>
                  <a:cubicBezTo>
                    <a:pt x="61006" y="120655"/>
                    <a:pt x="60054" y="120655"/>
                    <a:pt x="60054" y="120655"/>
                  </a:cubicBezTo>
                  <a:cubicBezTo>
                    <a:pt x="56248" y="120086"/>
                    <a:pt x="51776" y="118472"/>
                    <a:pt x="49016" y="116573"/>
                  </a:cubicBezTo>
                  <a:cubicBezTo>
                    <a:pt x="48731" y="116383"/>
                    <a:pt x="48445" y="116194"/>
                    <a:pt x="48160" y="115909"/>
                  </a:cubicBezTo>
                  <a:cubicBezTo>
                    <a:pt x="48064" y="115814"/>
                    <a:pt x="47969" y="115719"/>
                    <a:pt x="47874" y="115624"/>
                  </a:cubicBezTo>
                  <a:cubicBezTo>
                    <a:pt x="47589" y="115434"/>
                    <a:pt x="47398" y="115149"/>
                    <a:pt x="47208" y="114959"/>
                  </a:cubicBezTo>
                  <a:cubicBezTo>
                    <a:pt x="47208" y="114959"/>
                    <a:pt x="47113" y="114865"/>
                    <a:pt x="47113" y="114865"/>
                  </a:cubicBezTo>
                  <a:cubicBezTo>
                    <a:pt x="46923" y="114580"/>
                    <a:pt x="46732" y="114295"/>
                    <a:pt x="46637" y="114010"/>
                  </a:cubicBezTo>
                  <a:cubicBezTo>
                    <a:pt x="46637" y="114010"/>
                    <a:pt x="46637" y="113915"/>
                    <a:pt x="46542" y="113915"/>
                  </a:cubicBezTo>
                  <a:cubicBezTo>
                    <a:pt x="46447" y="113630"/>
                    <a:pt x="46352" y="113346"/>
                    <a:pt x="46352" y="113061"/>
                  </a:cubicBezTo>
                  <a:lnTo>
                    <a:pt x="46352" y="76608"/>
                  </a:lnTo>
                  <a:lnTo>
                    <a:pt x="85366" y="76608"/>
                  </a:lnTo>
                  <a:cubicBezTo>
                    <a:pt x="88030" y="76608"/>
                    <a:pt x="90695" y="79930"/>
                    <a:pt x="91456" y="84582"/>
                  </a:cubicBezTo>
                  <a:cubicBezTo>
                    <a:pt x="91456" y="84582"/>
                    <a:pt x="91456" y="85341"/>
                    <a:pt x="91932" y="85626"/>
                  </a:cubicBezTo>
                  <a:cubicBezTo>
                    <a:pt x="92407" y="86006"/>
                    <a:pt x="92978" y="85816"/>
                    <a:pt x="92978" y="85816"/>
                  </a:cubicBezTo>
                  <a:lnTo>
                    <a:pt x="106681" y="85721"/>
                  </a:lnTo>
                  <a:cubicBezTo>
                    <a:pt x="107252" y="85721"/>
                    <a:pt x="107728" y="85246"/>
                    <a:pt x="107728" y="84677"/>
                  </a:cubicBezTo>
                  <a:lnTo>
                    <a:pt x="107728" y="56388"/>
                  </a:lnTo>
                  <a:lnTo>
                    <a:pt x="107728" y="45661"/>
                  </a:lnTo>
                  <a:cubicBezTo>
                    <a:pt x="107728" y="45091"/>
                    <a:pt x="107252" y="44617"/>
                    <a:pt x="106681" y="44617"/>
                  </a:cubicBezTo>
                  <a:lnTo>
                    <a:pt x="92978" y="44522"/>
                  </a:lnTo>
                  <a:cubicBezTo>
                    <a:pt x="92978" y="44522"/>
                    <a:pt x="92312" y="44427"/>
                    <a:pt x="91932" y="44712"/>
                  </a:cubicBezTo>
                  <a:cubicBezTo>
                    <a:pt x="91456" y="44997"/>
                    <a:pt x="91456" y="45756"/>
                    <a:pt x="91456" y="45756"/>
                  </a:cubicBezTo>
                  <a:cubicBezTo>
                    <a:pt x="90695" y="50502"/>
                    <a:pt x="87935" y="53730"/>
                    <a:pt x="85366" y="53730"/>
                  </a:cubicBezTo>
                  <a:lnTo>
                    <a:pt x="46352" y="53730"/>
                  </a:lnTo>
                  <a:lnTo>
                    <a:pt x="46352" y="28099"/>
                  </a:lnTo>
                  <a:lnTo>
                    <a:pt x="46637" y="23732"/>
                  </a:lnTo>
                  <a:cubicBezTo>
                    <a:pt x="47779" y="21929"/>
                    <a:pt x="50634" y="22593"/>
                    <a:pt x="50634" y="22593"/>
                  </a:cubicBezTo>
                  <a:cubicBezTo>
                    <a:pt x="50634" y="22593"/>
                    <a:pt x="77753" y="22593"/>
                    <a:pt x="85366" y="23068"/>
                  </a:cubicBezTo>
                  <a:cubicBezTo>
                    <a:pt x="89172" y="23258"/>
                    <a:pt x="96785" y="22783"/>
                    <a:pt x="98592" y="25631"/>
                  </a:cubicBezTo>
                  <a:cubicBezTo>
                    <a:pt x="99830" y="27624"/>
                    <a:pt x="100400" y="30187"/>
                    <a:pt x="100400" y="30187"/>
                  </a:cubicBezTo>
                  <a:cubicBezTo>
                    <a:pt x="100400" y="32561"/>
                    <a:pt x="102399" y="34554"/>
                    <a:pt x="104778" y="34554"/>
                  </a:cubicBezTo>
                  <a:lnTo>
                    <a:pt x="116101" y="34554"/>
                  </a:lnTo>
                  <a:cubicBezTo>
                    <a:pt x="118480" y="34554"/>
                    <a:pt x="120478" y="32561"/>
                    <a:pt x="120478" y="30187"/>
                  </a:cubicBezTo>
                  <a:lnTo>
                    <a:pt x="120954" y="4272"/>
                  </a:lnTo>
                  <a:cubicBezTo>
                    <a:pt x="121145" y="1899"/>
                    <a:pt x="119146" y="0"/>
                    <a:pt x="116672" y="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7" name="Freeform 36">
              <a:extLst>
                <a:ext uri="{FF2B5EF4-FFF2-40B4-BE49-F238E27FC236}">
                  <a16:creationId xmlns:a16="http://schemas.microsoft.com/office/drawing/2014/main" id="{EBB7744D-B64B-E544-BB23-942C5F027D99}"/>
                </a:ext>
              </a:extLst>
            </p:cNvPr>
            <p:cNvSpPr/>
            <p:nvPr/>
          </p:nvSpPr>
          <p:spPr>
            <a:xfrm>
              <a:off x="9199592" y="-1120939"/>
              <a:ext cx="330763" cy="140993"/>
            </a:xfrm>
            <a:custGeom>
              <a:avLst/>
              <a:gdLst>
                <a:gd name="connsiteX0" fmla="*/ 330383 w 330763"/>
                <a:gd name="connsiteY0" fmla="*/ 122483 h 140993"/>
                <a:gd name="connsiteX1" fmla="*/ 330097 w 330763"/>
                <a:gd name="connsiteY1" fmla="*/ 121154 h 140993"/>
                <a:gd name="connsiteX2" fmla="*/ 328765 w 330763"/>
                <a:gd name="connsiteY2" fmla="*/ 120584 h 140993"/>
                <a:gd name="connsiteX3" fmla="*/ 315063 w 330763"/>
                <a:gd name="connsiteY3" fmla="*/ 112895 h 140993"/>
                <a:gd name="connsiteX4" fmla="*/ 297554 w 330763"/>
                <a:gd name="connsiteY4" fmla="*/ 28313 h 140993"/>
                <a:gd name="connsiteX5" fmla="*/ 306784 w 330763"/>
                <a:gd name="connsiteY5" fmla="*/ 20528 h 140993"/>
                <a:gd name="connsiteX6" fmla="*/ 308116 w 330763"/>
                <a:gd name="connsiteY6" fmla="*/ 19959 h 140993"/>
                <a:gd name="connsiteX7" fmla="*/ 308402 w 330763"/>
                <a:gd name="connsiteY7" fmla="*/ 18630 h 140993"/>
                <a:gd name="connsiteX8" fmla="*/ 308307 w 330763"/>
                <a:gd name="connsiteY8" fmla="*/ 1448 h 140993"/>
                <a:gd name="connsiteX9" fmla="*/ 306974 w 330763"/>
                <a:gd name="connsiteY9" fmla="*/ 119 h 140993"/>
                <a:gd name="connsiteX10" fmla="*/ 263202 w 330763"/>
                <a:gd name="connsiteY10" fmla="*/ 119 h 140993"/>
                <a:gd name="connsiteX11" fmla="*/ 257112 w 330763"/>
                <a:gd name="connsiteY11" fmla="*/ 593 h 140993"/>
                <a:gd name="connsiteX12" fmla="*/ 254258 w 330763"/>
                <a:gd name="connsiteY12" fmla="*/ 5340 h 140993"/>
                <a:gd name="connsiteX13" fmla="*/ 244742 w 330763"/>
                <a:gd name="connsiteY13" fmla="*/ 34768 h 140993"/>
                <a:gd name="connsiteX14" fmla="*/ 237605 w 330763"/>
                <a:gd name="connsiteY14" fmla="*/ 53754 h 140993"/>
                <a:gd name="connsiteX15" fmla="*/ 231420 w 330763"/>
                <a:gd name="connsiteY15" fmla="*/ 35717 h 140993"/>
                <a:gd name="connsiteX16" fmla="*/ 221905 w 330763"/>
                <a:gd name="connsiteY16" fmla="*/ 7713 h 140993"/>
                <a:gd name="connsiteX17" fmla="*/ 218098 w 330763"/>
                <a:gd name="connsiteY17" fmla="*/ 1068 h 140993"/>
                <a:gd name="connsiteX18" fmla="*/ 210962 w 330763"/>
                <a:gd name="connsiteY18" fmla="*/ 119 h 140993"/>
                <a:gd name="connsiteX19" fmla="*/ 167190 w 330763"/>
                <a:gd name="connsiteY19" fmla="*/ 119 h 140993"/>
                <a:gd name="connsiteX20" fmla="*/ 165857 w 330763"/>
                <a:gd name="connsiteY20" fmla="*/ 1448 h 140993"/>
                <a:gd name="connsiteX21" fmla="*/ 165762 w 330763"/>
                <a:gd name="connsiteY21" fmla="*/ 18630 h 140993"/>
                <a:gd name="connsiteX22" fmla="*/ 166048 w 330763"/>
                <a:gd name="connsiteY22" fmla="*/ 19959 h 140993"/>
                <a:gd name="connsiteX23" fmla="*/ 167380 w 330763"/>
                <a:gd name="connsiteY23" fmla="*/ 20528 h 140993"/>
                <a:gd name="connsiteX24" fmla="*/ 176610 w 330763"/>
                <a:gd name="connsiteY24" fmla="*/ 28313 h 140993"/>
                <a:gd name="connsiteX25" fmla="*/ 159101 w 330763"/>
                <a:gd name="connsiteY25" fmla="*/ 112895 h 140993"/>
                <a:gd name="connsiteX26" fmla="*/ 153773 w 330763"/>
                <a:gd name="connsiteY26" fmla="*/ 117926 h 140993"/>
                <a:gd name="connsiteX27" fmla="*/ 148444 w 330763"/>
                <a:gd name="connsiteY27" fmla="*/ 112895 h 140993"/>
                <a:gd name="connsiteX28" fmla="*/ 105053 w 330763"/>
                <a:gd name="connsiteY28" fmla="*/ 3631 h 140993"/>
                <a:gd name="connsiteX29" fmla="*/ 103625 w 330763"/>
                <a:gd name="connsiteY29" fmla="*/ 973 h 140993"/>
                <a:gd name="connsiteX30" fmla="*/ 101532 w 330763"/>
                <a:gd name="connsiteY30" fmla="*/ 214 h 140993"/>
                <a:gd name="connsiteX31" fmla="*/ 62423 w 330763"/>
                <a:gd name="connsiteY31" fmla="*/ 214 h 140993"/>
                <a:gd name="connsiteX32" fmla="*/ 60139 w 330763"/>
                <a:gd name="connsiteY32" fmla="*/ 973 h 140993"/>
                <a:gd name="connsiteX33" fmla="*/ 58711 w 330763"/>
                <a:gd name="connsiteY33" fmla="*/ 3631 h 140993"/>
                <a:gd name="connsiteX34" fmla="*/ 15320 w 330763"/>
                <a:gd name="connsiteY34" fmla="*/ 112895 h 140993"/>
                <a:gd name="connsiteX35" fmla="*/ 1618 w 330763"/>
                <a:gd name="connsiteY35" fmla="*/ 120584 h 140993"/>
                <a:gd name="connsiteX36" fmla="*/ 285 w 330763"/>
                <a:gd name="connsiteY36" fmla="*/ 121154 h 140993"/>
                <a:gd name="connsiteX37" fmla="*/ 0 w 330763"/>
                <a:gd name="connsiteY37" fmla="*/ 122483 h 140993"/>
                <a:gd name="connsiteX38" fmla="*/ 95 w 330763"/>
                <a:gd name="connsiteY38" fmla="*/ 139665 h 140993"/>
                <a:gd name="connsiteX39" fmla="*/ 1427 w 330763"/>
                <a:gd name="connsiteY39" fmla="*/ 140994 h 140993"/>
                <a:gd name="connsiteX40" fmla="*/ 57474 w 330763"/>
                <a:gd name="connsiteY40" fmla="*/ 140994 h 140993"/>
                <a:gd name="connsiteX41" fmla="*/ 58807 w 330763"/>
                <a:gd name="connsiteY41" fmla="*/ 139665 h 140993"/>
                <a:gd name="connsiteX42" fmla="*/ 58902 w 330763"/>
                <a:gd name="connsiteY42" fmla="*/ 122483 h 140993"/>
                <a:gd name="connsiteX43" fmla="*/ 58616 w 330763"/>
                <a:gd name="connsiteY43" fmla="*/ 121154 h 140993"/>
                <a:gd name="connsiteX44" fmla="*/ 57284 w 330763"/>
                <a:gd name="connsiteY44" fmla="*/ 120584 h 140993"/>
                <a:gd name="connsiteX45" fmla="*/ 46436 w 330763"/>
                <a:gd name="connsiteY45" fmla="*/ 112895 h 140993"/>
                <a:gd name="connsiteX46" fmla="*/ 55191 w 330763"/>
                <a:gd name="connsiteY46" fmla="*/ 90776 h 140993"/>
                <a:gd name="connsiteX47" fmla="*/ 100295 w 330763"/>
                <a:gd name="connsiteY47" fmla="*/ 90776 h 140993"/>
                <a:gd name="connsiteX48" fmla="*/ 108859 w 330763"/>
                <a:gd name="connsiteY48" fmla="*/ 112895 h 140993"/>
                <a:gd name="connsiteX49" fmla="*/ 100866 w 330763"/>
                <a:gd name="connsiteY49" fmla="*/ 120584 h 140993"/>
                <a:gd name="connsiteX50" fmla="*/ 99533 w 330763"/>
                <a:gd name="connsiteY50" fmla="*/ 121154 h 140993"/>
                <a:gd name="connsiteX51" fmla="*/ 99248 w 330763"/>
                <a:gd name="connsiteY51" fmla="*/ 122483 h 140993"/>
                <a:gd name="connsiteX52" fmla="*/ 99248 w 330763"/>
                <a:gd name="connsiteY52" fmla="*/ 139665 h 140993"/>
                <a:gd name="connsiteX53" fmla="*/ 100580 w 330763"/>
                <a:gd name="connsiteY53" fmla="*/ 140994 h 140993"/>
                <a:gd name="connsiteX54" fmla="*/ 197735 w 330763"/>
                <a:gd name="connsiteY54" fmla="*/ 140994 h 140993"/>
                <a:gd name="connsiteX55" fmla="*/ 199067 w 330763"/>
                <a:gd name="connsiteY55" fmla="*/ 139665 h 140993"/>
                <a:gd name="connsiteX56" fmla="*/ 199067 w 330763"/>
                <a:gd name="connsiteY56" fmla="*/ 122483 h 140993"/>
                <a:gd name="connsiteX57" fmla="*/ 198782 w 330763"/>
                <a:gd name="connsiteY57" fmla="*/ 121154 h 140993"/>
                <a:gd name="connsiteX58" fmla="*/ 197449 w 330763"/>
                <a:gd name="connsiteY58" fmla="*/ 120584 h 140993"/>
                <a:gd name="connsiteX59" fmla="*/ 190122 w 330763"/>
                <a:gd name="connsiteY59" fmla="*/ 112895 h 140993"/>
                <a:gd name="connsiteX60" fmla="*/ 198115 w 330763"/>
                <a:gd name="connsiteY60" fmla="*/ 53279 h 140993"/>
                <a:gd name="connsiteX61" fmla="*/ 199543 w 330763"/>
                <a:gd name="connsiteY61" fmla="*/ 47583 h 140993"/>
                <a:gd name="connsiteX62" fmla="*/ 203349 w 330763"/>
                <a:gd name="connsiteY62" fmla="*/ 56602 h 140993"/>
                <a:gd name="connsiteX63" fmla="*/ 215244 w 330763"/>
                <a:gd name="connsiteY63" fmla="*/ 98845 h 140993"/>
                <a:gd name="connsiteX64" fmla="*/ 218574 w 330763"/>
                <a:gd name="connsiteY64" fmla="*/ 104541 h 140993"/>
                <a:gd name="connsiteX65" fmla="*/ 225235 w 330763"/>
                <a:gd name="connsiteY65" fmla="*/ 107863 h 140993"/>
                <a:gd name="connsiteX66" fmla="*/ 235226 w 330763"/>
                <a:gd name="connsiteY66" fmla="*/ 107863 h 140993"/>
                <a:gd name="connsiteX67" fmla="*/ 243315 w 330763"/>
                <a:gd name="connsiteY67" fmla="*/ 107863 h 140993"/>
                <a:gd name="connsiteX68" fmla="*/ 247597 w 330763"/>
                <a:gd name="connsiteY68" fmla="*/ 105965 h 140993"/>
                <a:gd name="connsiteX69" fmla="*/ 252355 w 330763"/>
                <a:gd name="connsiteY69" fmla="*/ 97421 h 140993"/>
                <a:gd name="connsiteX70" fmla="*/ 265677 w 330763"/>
                <a:gd name="connsiteY70" fmla="*/ 51380 h 140993"/>
                <a:gd name="connsiteX71" fmla="*/ 268055 w 330763"/>
                <a:gd name="connsiteY71" fmla="*/ 47109 h 140993"/>
                <a:gd name="connsiteX72" fmla="*/ 270339 w 330763"/>
                <a:gd name="connsiteY72" fmla="*/ 53279 h 140993"/>
                <a:gd name="connsiteX73" fmla="*/ 278332 w 330763"/>
                <a:gd name="connsiteY73" fmla="*/ 112895 h 140993"/>
                <a:gd name="connsiteX74" fmla="*/ 271005 w 330763"/>
                <a:gd name="connsiteY74" fmla="*/ 120584 h 140993"/>
                <a:gd name="connsiteX75" fmla="*/ 269673 w 330763"/>
                <a:gd name="connsiteY75" fmla="*/ 121154 h 140993"/>
                <a:gd name="connsiteX76" fmla="*/ 269388 w 330763"/>
                <a:gd name="connsiteY76" fmla="*/ 122483 h 140993"/>
                <a:gd name="connsiteX77" fmla="*/ 269007 w 330763"/>
                <a:gd name="connsiteY77" fmla="*/ 139665 h 140993"/>
                <a:gd name="connsiteX78" fmla="*/ 270339 w 330763"/>
                <a:gd name="connsiteY78" fmla="*/ 140994 h 140993"/>
                <a:gd name="connsiteX79" fmla="*/ 329431 w 330763"/>
                <a:gd name="connsiteY79" fmla="*/ 140994 h 140993"/>
                <a:gd name="connsiteX80" fmla="*/ 330763 w 330763"/>
                <a:gd name="connsiteY80" fmla="*/ 139665 h 140993"/>
                <a:gd name="connsiteX81" fmla="*/ 330383 w 330763"/>
                <a:gd name="connsiteY81" fmla="*/ 122483 h 140993"/>
                <a:gd name="connsiteX82" fmla="*/ 90303 w 330763"/>
                <a:gd name="connsiteY82" fmla="*/ 66379 h 140993"/>
                <a:gd name="connsiteX83" fmla="*/ 88020 w 330763"/>
                <a:gd name="connsiteY83" fmla="*/ 66949 h 140993"/>
                <a:gd name="connsiteX84" fmla="*/ 67371 w 330763"/>
                <a:gd name="connsiteY84" fmla="*/ 66949 h 140993"/>
                <a:gd name="connsiteX85" fmla="*/ 65182 w 330763"/>
                <a:gd name="connsiteY85" fmla="*/ 66569 h 140993"/>
                <a:gd name="connsiteX86" fmla="*/ 65753 w 330763"/>
                <a:gd name="connsiteY86" fmla="*/ 64291 h 140993"/>
                <a:gd name="connsiteX87" fmla="*/ 77838 w 330763"/>
                <a:gd name="connsiteY87" fmla="*/ 32584 h 140993"/>
                <a:gd name="connsiteX88" fmla="*/ 89637 w 330763"/>
                <a:gd name="connsiteY88" fmla="*/ 63341 h 140993"/>
                <a:gd name="connsiteX89" fmla="*/ 90303 w 330763"/>
                <a:gd name="connsiteY89" fmla="*/ 66379 h 14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30763" h="140993">
                  <a:moveTo>
                    <a:pt x="330383" y="122483"/>
                  </a:moveTo>
                  <a:cubicBezTo>
                    <a:pt x="330383" y="122483"/>
                    <a:pt x="330478" y="121723"/>
                    <a:pt x="330097" y="121154"/>
                  </a:cubicBezTo>
                  <a:cubicBezTo>
                    <a:pt x="329717" y="120584"/>
                    <a:pt x="328765" y="120584"/>
                    <a:pt x="328765" y="120584"/>
                  </a:cubicBezTo>
                  <a:cubicBezTo>
                    <a:pt x="322770" y="119635"/>
                    <a:pt x="315063" y="116217"/>
                    <a:pt x="315063" y="112895"/>
                  </a:cubicBezTo>
                  <a:lnTo>
                    <a:pt x="297554" y="28313"/>
                  </a:lnTo>
                  <a:cubicBezTo>
                    <a:pt x="297554" y="24990"/>
                    <a:pt x="300789" y="21573"/>
                    <a:pt x="306784" y="20528"/>
                  </a:cubicBezTo>
                  <a:cubicBezTo>
                    <a:pt x="306784" y="20528"/>
                    <a:pt x="307736" y="20528"/>
                    <a:pt x="308116" y="19959"/>
                  </a:cubicBezTo>
                  <a:cubicBezTo>
                    <a:pt x="308497" y="19389"/>
                    <a:pt x="308307" y="18630"/>
                    <a:pt x="308402" y="18630"/>
                  </a:cubicBezTo>
                  <a:lnTo>
                    <a:pt x="308307" y="1448"/>
                  </a:lnTo>
                  <a:cubicBezTo>
                    <a:pt x="308307" y="688"/>
                    <a:pt x="307736" y="119"/>
                    <a:pt x="306974" y="119"/>
                  </a:cubicBezTo>
                  <a:lnTo>
                    <a:pt x="263202" y="119"/>
                  </a:lnTo>
                  <a:cubicBezTo>
                    <a:pt x="263202" y="119"/>
                    <a:pt x="258540" y="-356"/>
                    <a:pt x="257112" y="593"/>
                  </a:cubicBezTo>
                  <a:cubicBezTo>
                    <a:pt x="255685" y="1543"/>
                    <a:pt x="254258" y="5340"/>
                    <a:pt x="254258" y="5340"/>
                  </a:cubicBezTo>
                  <a:lnTo>
                    <a:pt x="244742" y="34768"/>
                  </a:lnTo>
                  <a:cubicBezTo>
                    <a:pt x="244742" y="34768"/>
                    <a:pt x="239033" y="53754"/>
                    <a:pt x="237605" y="53754"/>
                  </a:cubicBezTo>
                  <a:cubicBezTo>
                    <a:pt x="236178" y="53754"/>
                    <a:pt x="231420" y="35717"/>
                    <a:pt x="231420" y="35717"/>
                  </a:cubicBezTo>
                  <a:lnTo>
                    <a:pt x="221905" y="7713"/>
                  </a:lnTo>
                  <a:cubicBezTo>
                    <a:pt x="221905" y="7713"/>
                    <a:pt x="220001" y="2492"/>
                    <a:pt x="218098" y="1068"/>
                  </a:cubicBezTo>
                  <a:cubicBezTo>
                    <a:pt x="216195" y="-356"/>
                    <a:pt x="210962" y="119"/>
                    <a:pt x="210962" y="119"/>
                  </a:cubicBezTo>
                  <a:lnTo>
                    <a:pt x="167190" y="119"/>
                  </a:lnTo>
                  <a:cubicBezTo>
                    <a:pt x="166428" y="119"/>
                    <a:pt x="165857" y="688"/>
                    <a:pt x="165857" y="1448"/>
                  </a:cubicBezTo>
                  <a:lnTo>
                    <a:pt x="165762" y="18630"/>
                  </a:lnTo>
                  <a:cubicBezTo>
                    <a:pt x="165762" y="18630"/>
                    <a:pt x="165667" y="19389"/>
                    <a:pt x="166048" y="19959"/>
                  </a:cubicBezTo>
                  <a:cubicBezTo>
                    <a:pt x="166428" y="20528"/>
                    <a:pt x="167380" y="20528"/>
                    <a:pt x="167380" y="20528"/>
                  </a:cubicBezTo>
                  <a:cubicBezTo>
                    <a:pt x="173375" y="21478"/>
                    <a:pt x="176610" y="24895"/>
                    <a:pt x="176610" y="28313"/>
                  </a:cubicBezTo>
                  <a:lnTo>
                    <a:pt x="159101" y="112895"/>
                  </a:lnTo>
                  <a:cubicBezTo>
                    <a:pt x="158340" y="116312"/>
                    <a:pt x="156913" y="117926"/>
                    <a:pt x="153773" y="117926"/>
                  </a:cubicBezTo>
                  <a:cubicBezTo>
                    <a:pt x="151203" y="117926"/>
                    <a:pt x="150252" y="116502"/>
                    <a:pt x="148444" y="112895"/>
                  </a:cubicBezTo>
                  <a:lnTo>
                    <a:pt x="105053" y="3631"/>
                  </a:lnTo>
                  <a:cubicBezTo>
                    <a:pt x="105053" y="3631"/>
                    <a:pt x="104387" y="1637"/>
                    <a:pt x="103625" y="973"/>
                  </a:cubicBezTo>
                  <a:cubicBezTo>
                    <a:pt x="102959" y="214"/>
                    <a:pt x="101532" y="214"/>
                    <a:pt x="101532" y="214"/>
                  </a:cubicBezTo>
                  <a:lnTo>
                    <a:pt x="62423" y="214"/>
                  </a:lnTo>
                  <a:cubicBezTo>
                    <a:pt x="62423" y="214"/>
                    <a:pt x="60805" y="214"/>
                    <a:pt x="60139" y="973"/>
                  </a:cubicBezTo>
                  <a:cubicBezTo>
                    <a:pt x="59377" y="1732"/>
                    <a:pt x="58711" y="3631"/>
                    <a:pt x="58711" y="3631"/>
                  </a:cubicBezTo>
                  <a:lnTo>
                    <a:pt x="15320" y="112895"/>
                  </a:lnTo>
                  <a:cubicBezTo>
                    <a:pt x="15320" y="116217"/>
                    <a:pt x="7517" y="119635"/>
                    <a:pt x="1618" y="120584"/>
                  </a:cubicBezTo>
                  <a:cubicBezTo>
                    <a:pt x="1618" y="120584"/>
                    <a:pt x="666" y="120584"/>
                    <a:pt x="285" y="121154"/>
                  </a:cubicBezTo>
                  <a:cubicBezTo>
                    <a:pt x="-95" y="121723"/>
                    <a:pt x="95" y="122483"/>
                    <a:pt x="0" y="122483"/>
                  </a:cubicBezTo>
                  <a:lnTo>
                    <a:pt x="95" y="139665"/>
                  </a:lnTo>
                  <a:cubicBezTo>
                    <a:pt x="95" y="140424"/>
                    <a:pt x="666" y="140994"/>
                    <a:pt x="1427" y="140994"/>
                  </a:cubicBezTo>
                  <a:lnTo>
                    <a:pt x="57474" y="140994"/>
                  </a:lnTo>
                  <a:cubicBezTo>
                    <a:pt x="58236" y="140994"/>
                    <a:pt x="58807" y="140424"/>
                    <a:pt x="58807" y="139665"/>
                  </a:cubicBezTo>
                  <a:lnTo>
                    <a:pt x="58902" y="122483"/>
                  </a:lnTo>
                  <a:cubicBezTo>
                    <a:pt x="58902" y="122483"/>
                    <a:pt x="58997" y="121723"/>
                    <a:pt x="58616" y="121154"/>
                  </a:cubicBezTo>
                  <a:cubicBezTo>
                    <a:pt x="58236" y="120584"/>
                    <a:pt x="57284" y="120584"/>
                    <a:pt x="57284" y="120584"/>
                  </a:cubicBezTo>
                  <a:cubicBezTo>
                    <a:pt x="51289" y="119635"/>
                    <a:pt x="45389" y="117736"/>
                    <a:pt x="46436" y="112895"/>
                  </a:cubicBezTo>
                  <a:lnTo>
                    <a:pt x="55191" y="90776"/>
                  </a:lnTo>
                  <a:lnTo>
                    <a:pt x="100295" y="90776"/>
                  </a:lnTo>
                  <a:lnTo>
                    <a:pt x="108859" y="112895"/>
                  </a:lnTo>
                  <a:cubicBezTo>
                    <a:pt x="110952" y="116692"/>
                    <a:pt x="106765" y="119635"/>
                    <a:pt x="100866" y="120584"/>
                  </a:cubicBezTo>
                  <a:cubicBezTo>
                    <a:pt x="100866" y="120584"/>
                    <a:pt x="99914" y="120584"/>
                    <a:pt x="99533" y="121154"/>
                  </a:cubicBezTo>
                  <a:cubicBezTo>
                    <a:pt x="99153" y="121723"/>
                    <a:pt x="99343" y="122483"/>
                    <a:pt x="99248" y="122483"/>
                  </a:cubicBezTo>
                  <a:lnTo>
                    <a:pt x="99248" y="139665"/>
                  </a:lnTo>
                  <a:cubicBezTo>
                    <a:pt x="99248" y="140424"/>
                    <a:pt x="99819" y="140994"/>
                    <a:pt x="100580" y="140994"/>
                  </a:cubicBezTo>
                  <a:lnTo>
                    <a:pt x="197735" y="140994"/>
                  </a:lnTo>
                  <a:cubicBezTo>
                    <a:pt x="198496" y="140994"/>
                    <a:pt x="199067" y="140424"/>
                    <a:pt x="199067" y="139665"/>
                  </a:cubicBezTo>
                  <a:lnTo>
                    <a:pt x="199067" y="122483"/>
                  </a:lnTo>
                  <a:cubicBezTo>
                    <a:pt x="199067" y="122483"/>
                    <a:pt x="199162" y="121723"/>
                    <a:pt x="198782" y="121154"/>
                  </a:cubicBezTo>
                  <a:cubicBezTo>
                    <a:pt x="198401" y="120584"/>
                    <a:pt x="197449" y="120584"/>
                    <a:pt x="197449" y="120584"/>
                  </a:cubicBezTo>
                  <a:cubicBezTo>
                    <a:pt x="191455" y="119635"/>
                    <a:pt x="190122" y="116217"/>
                    <a:pt x="190122" y="112895"/>
                  </a:cubicBezTo>
                  <a:lnTo>
                    <a:pt x="198115" y="53279"/>
                  </a:lnTo>
                  <a:cubicBezTo>
                    <a:pt x="198115" y="53279"/>
                    <a:pt x="198115" y="47583"/>
                    <a:pt x="199543" y="47583"/>
                  </a:cubicBezTo>
                  <a:cubicBezTo>
                    <a:pt x="200970" y="47583"/>
                    <a:pt x="203349" y="56602"/>
                    <a:pt x="203349" y="56602"/>
                  </a:cubicBezTo>
                  <a:lnTo>
                    <a:pt x="215244" y="98845"/>
                  </a:lnTo>
                  <a:cubicBezTo>
                    <a:pt x="215244" y="98845"/>
                    <a:pt x="217147" y="103117"/>
                    <a:pt x="218574" y="104541"/>
                  </a:cubicBezTo>
                  <a:cubicBezTo>
                    <a:pt x="220001" y="105965"/>
                    <a:pt x="225235" y="107863"/>
                    <a:pt x="225235" y="107863"/>
                  </a:cubicBezTo>
                  <a:lnTo>
                    <a:pt x="235226" y="107863"/>
                  </a:lnTo>
                  <a:lnTo>
                    <a:pt x="243315" y="107863"/>
                  </a:lnTo>
                  <a:cubicBezTo>
                    <a:pt x="243315" y="107863"/>
                    <a:pt x="245218" y="107863"/>
                    <a:pt x="247597" y="105965"/>
                  </a:cubicBezTo>
                  <a:cubicBezTo>
                    <a:pt x="249976" y="104066"/>
                    <a:pt x="252355" y="97421"/>
                    <a:pt x="252355" y="97421"/>
                  </a:cubicBezTo>
                  <a:lnTo>
                    <a:pt x="265677" y="51380"/>
                  </a:lnTo>
                  <a:cubicBezTo>
                    <a:pt x="265677" y="51380"/>
                    <a:pt x="266628" y="47109"/>
                    <a:pt x="268055" y="47109"/>
                  </a:cubicBezTo>
                  <a:cubicBezTo>
                    <a:pt x="269959" y="47109"/>
                    <a:pt x="270339" y="53279"/>
                    <a:pt x="270339" y="53279"/>
                  </a:cubicBezTo>
                  <a:lnTo>
                    <a:pt x="278332" y="112895"/>
                  </a:lnTo>
                  <a:cubicBezTo>
                    <a:pt x="278332" y="116217"/>
                    <a:pt x="277000" y="119635"/>
                    <a:pt x="271005" y="120584"/>
                  </a:cubicBezTo>
                  <a:cubicBezTo>
                    <a:pt x="271005" y="120584"/>
                    <a:pt x="270054" y="120584"/>
                    <a:pt x="269673" y="121154"/>
                  </a:cubicBezTo>
                  <a:cubicBezTo>
                    <a:pt x="269292" y="121723"/>
                    <a:pt x="269483" y="122483"/>
                    <a:pt x="269388" y="122483"/>
                  </a:cubicBezTo>
                  <a:lnTo>
                    <a:pt x="269007" y="139665"/>
                  </a:lnTo>
                  <a:cubicBezTo>
                    <a:pt x="269007" y="140424"/>
                    <a:pt x="269578" y="140994"/>
                    <a:pt x="270339" y="140994"/>
                  </a:cubicBezTo>
                  <a:lnTo>
                    <a:pt x="329431" y="140994"/>
                  </a:lnTo>
                  <a:cubicBezTo>
                    <a:pt x="330192" y="140994"/>
                    <a:pt x="330763" y="140424"/>
                    <a:pt x="330763" y="139665"/>
                  </a:cubicBezTo>
                  <a:lnTo>
                    <a:pt x="330383" y="122483"/>
                  </a:lnTo>
                  <a:close/>
                  <a:moveTo>
                    <a:pt x="90303" y="66379"/>
                  </a:moveTo>
                  <a:cubicBezTo>
                    <a:pt x="89923" y="67234"/>
                    <a:pt x="88020" y="66949"/>
                    <a:pt x="88020" y="66949"/>
                  </a:cubicBezTo>
                  <a:lnTo>
                    <a:pt x="67371" y="66949"/>
                  </a:lnTo>
                  <a:cubicBezTo>
                    <a:pt x="67371" y="66949"/>
                    <a:pt x="65943" y="67044"/>
                    <a:pt x="65182" y="66569"/>
                  </a:cubicBezTo>
                  <a:cubicBezTo>
                    <a:pt x="64611" y="66189"/>
                    <a:pt x="65753" y="64291"/>
                    <a:pt x="65753" y="64291"/>
                  </a:cubicBezTo>
                  <a:lnTo>
                    <a:pt x="77838" y="32584"/>
                  </a:lnTo>
                  <a:lnTo>
                    <a:pt x="89637" y="63341"/>
                  </a:lnTo>
                  <a:cubicBezTo>
                    <a:pt x="89542" y="63437"/>
                    <a:pt x="90589" y="65715"/>
                    <a:pt x="90303" y="66379"/>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8" name="Freeform 37">
              <a:extLst>
                <a:ext uri="{FF2B5EF4-FFF2-40B4-BE49-F238E27FC236}">
                  <a16:creationId xmlns:a16="http://schemas.microsoft.com/office/drawing/2014/main" id="{1AD5D0D6-C938-7F42-B294-DC6B78C77C63}"/>
                </a:ext>
              </a:extLst>
            </p:cNvPr>
            <p:cNvSpPr/>
            <p:nvPr/>
          </p:nvSpPr>
          <p:spPr>
            <a:xfrm>
              <a:off x="9899277" y="-1124630"/>
              <a:ext cx="264249" cy="145277"/>
            </a:xfrm>
            <a:custGeom>
              <a:avLst/>
              <a:gdLst>
                <a:gd name="connsiteX0" fmla="*/ 263869 w 264249"/>
                <a:gd name="connsiteY0" fmla="*/ 124749 h 145277"/>
                <a:gd name="connsiteX1" fmla="*/ 262536 w 264249"/>
                <a:gd name="connsiteY1" fmla="*/ 124179 h 145277"/>
                <a:gd name="connsiteX2" fmla="*/ 248834 w 264249"/>
                <a:gd name="connsiteY2" fmla="*/ 116490 h 145277"/>
                <a:gd name="connsiteX3" fmla="*/ 205443 w 264249"/>
                <a:gd name="connsiteY3" fmla="*/ 7227 h 145277"/>
                <a:gd name="connsiteX4" fmla="*/ 204015 w 264249"/>
                <a:gd name="connsiteY4" fmla="*/ 4569 h 145277"/>
                <a:gd name="connsiteX5" fmla="*/ 201922 w 264249"/>
                <a:gd name="connsiteY5" fmla="*/ 3809 h 145277"/>
                <a:gd name="connsiteX6" fmla="*/ 162813 w 264249"/>
                <a:gd name="connsiteY6" fmla="*/ 3809 h 145277"/>
                <a:gd name="connsiteX7" fmla="*/ 160529 w 264249"/>
                <a:gd name="connsiteY7" fmla="*/ 4569 h 145277"/>
                <a:gd name="connsiteX8" fmla="*/ 159101 w 264249"/>
                <a:gd name="connsiteY8" fmla="*/ 7227 h 145277"/>
                <a:gd name="connsiteX9" fmla="*/ 121990 w 264249"/>
                <a:gd name="connsiteY9" fmla="*/ 100637 h 145277"/>
                <a:gd name="connsiteX10" fmla="*/ 103530 w 264249"/>
                <a:gd name="connsiteY10" fmla="*/ 121806 h 145277"/>
                <a:gd name="connsiteX11" fmla="*/ 79075 w 264249"/>
                <a:gd name="connsiteY11" fmla="*/ 125129 h 145277"/>
                <a:gd name="connsiteX12" fmla="*/ 78599 w 264249"/>
                <a:gd name="connsiteY12" fmla="*/ 125129 h 145277"/>
                <a:gd name="connsiteX13" fmla="*/ 78599 w 264249"/>
                <a:gd name="connsiteY13" fmla="*/ 125129 h 145277"/>
                <a:gd name="connsiteX14" fmla="*/ 58426 w 264249"/>
                <a:gd name="connsiteY14" fmla="*/ 121806 h 145277"/>
                <a:gd name="connsiteX15" fmla="*/ 43772 w 264249"/>
                <a:gd name="connsiteY15" fmla="*/ 105289 h 145277"/>
                <a:gd name="connsiteX16" fmla="*/ 39680 w 264249"/>
                <a:gd name="connsiteY16" fmla="*/ 72633 h 145277"/>
                <a:gd name="connsiteX17" fmla="*/ 43772 w 264249"/>
                <a:gd name="connsiteY17" fmla="*/ 37509 h 145277"/>
                <a:gd name="connsiteX18" fmla="*/ 73175 w 264249"/>
                <a:gd name="connsiteY18" fmla="*/ 22415 h 145277"/>
                <a:gd name="connsiteX19" fmla="*/ 99819 w 264249"/>
                <a:gd name="connsiteY19" fmla="*/ 32857 h 145277"/>
                <a:gd name="connsiteX20" fmla="*/ 104767 w 264249"/>
                <a:gd name="connsiteY20" fmla="*/ 42066 h 145277"/>
                <a:gd name="connsiteX21" fmla="*/ 104767 w 264249"/>
                <a:gd name="connsiteY21" fmla="*/ 43585 h 145277"/>
                <a:gd name="connsiteX22" fmla="*/ 109144 w 264249"/>
                <a:gd name="connsiteY22" fmla="*/ 47951 h 145277"/>
                <a:gd name="connsiteX23" fmla="*/ 120468 w 264249"/>
                <a:gd name="connsiteY23" fmla="*/ 47951 h 145277"/>
                <a:gd name="connsiteX24" fmla="*/ 124845 w 264249"/>
                <a:gd name="connsiteY24" fmla="*/ 43585 h 145277"/>
                <a:gd name="connsiteX25" fmla="*/ 125226 w 264249"/>
                <a:gd name="connsiteY25" fmla="*/ 9600 h 145277"/>
                <a:gd name="connsiteX26" fmla="*/ 122847 w 264249"/>
                <a:gd name="connsiteY26" fmla="*/ 4663 h 145277"/>
                <a:gd name="connsiteX27" fmla="*/ 78885 w 264249"/>
                <a:gd name="connsiteY27" fmla="*/ 12 h 145277"/>
                <a:gd name="connsiteX28" fmla="*/ 27786 w 264249"/>
                <a:gd name="connsiteY28" fmla="*/ 11024 h 145277"/>
                <a:gd name="connsiteX29" fmla="*/ 0 w 264249"/>
                <a:gd name="connsiteY29" fmla="*/ 70544 h 145277"/>
                <a:gd name="connsiteX30" fmla="*/ 17604 w 264249"/>
                <a:gd name="connsiteY30" fmla="*/ 128641 h 145277"/>
                <a:gd name="connsiteX31" fmla="*/ 55476 w 264249"/>
                <a:gd name="connsiteY31" fmla="*/ 144209 h 145277"/>
                <a:gd name="connsiteX32" fmla="*/ 73651 w 264249"/>
                <a:gd name="connsiteY32" fmla="*/ 145064 h 145277"/>
                <a:gd name="connsiteX33" fmla="*/ 78599 w 264249"/>
                <a:gd name="connsiteY33" fmla="*/ 145254 h 145277"/>
                <a:gd name="connsiteX34" fmla="*/ 91826 w 264249"/>
                <a:gd name="connsiteY34" fmla="*/ 144684 h 145277"/>
                <a:gd name="connsiteX35" fmla="*/ 122847 w 264249"/>
                <a:gd name="connsiteY35" fmla="*/ 144589 h 145277"/>
                <a:gd name="connsiteX36" fmla="*/ 157864 w 264249"/>
                <a:gd name="connsiteY36" fmla="*/ 144589 h 145277"/>
                <a:gd name="connsiteX37" fmla="*/ 159197 w 264249"/>
                <a:gd name="connsiteY37" fmla="*/ 143260 h 145277"/>
                <a:gd name="connsiteX38" fmla="*/ 159292 w 264249"/>
                <a:gd name="connsiteY38" fmla="*/ 126078 h 145277"/>
                <a:gd name="connsiteX39" fmla="*/ 159006 w 264249"/>
                <a:gd name="connsiteY39" fmla="*/ 124749 h 145277"/>
                <a:gd name="connsiteX40" fmla="*/ 157674 w 264249"/>
                <a:gd name="connsiteY40" fmla="*/ 124179 h 145277"/>
                <a:gd name="connsiteX41" fmla="*/ 146826 w 264249"/>
                <a:gd name="connsiteY41" fmla="*/ 116490 h 145277"/>
                <a:gd name="connsiteX42" fmla="*/ 155581 w 264249"/>
                <a:gd name="connsiteY42" fmla="*/ 94372 h 145277"/>
                <a:gd name="connsiteX43" fmla="*/ 200685 w 264249"/>
                <a:gd name="connsiteY43" fmla="*/ 94372 h 145277"/>
                <a:gd name="connsiteX44" fmla="*/ 209249 w 264249"/>
                <a:gd name="connsiteY44" fmla="*/ 116490 h 145277"/>
                <a:gd name="connsiteX45" fmla="*/ 201256 w 264249"/>
                <a:gd name="connsiteY45" fmla="*/ 124179 h 145277"/>
                <a:gd name="connsiteX46" fmla="*/ 199923 w 264249"/>
                <a:gd name="connsiteY46" fmla="*/ 124749 h 145277"/>
                <a:gd name="connsiteX47" fmla="*/ 199638 w 264249"/>
                <a:gd name="connsiteY47" fmla="*/ 126078 h 145277"/>
                <a:gd name="connsiteX48" fmla="*/ 199733 w 264249"/>
                <a:gd name="connsiteY48" fmla="*/ 143260 h 145277"/>
                <a:gd name="connsiteX49" fmla="*/ 201065 w 264249"/>
                <a:gd name="connsiteY49" fmla="*/ 144589 h 145277"/>
                <a:gd name="connsiteX50" fmla="*/ 262822 w 264249"/>
                <a:gd name="connsiteY50" fmla="*/ 144589 h 145277"/>
                <a:gd name="connsiteX51" fmla="*/ 264154 w 264249"/>
                <a:gd name="connsiteY51" fmla="*/ 143260 h 145277"/>
                <a:gd name="connsiteX52" fmla="*/ 264249 w 264249"/>
                <a:gd name="connsiteY52" fmla="*/ 126078 h 145277"/>
                <a:gd name="connsiteX53" fmla="*/ 263869 w 264249"/>
                <a:gd name="connsiteY53" fmla="*/ 124749 h 145277"/>
                <a:gd name="connsiteX54" fmla="*/ 190693 w 264249"/>
                <a:gd name="connsiteY54" fmla="*/ 70070 h 145277"/>
                <a:gd name="connsiteX55" fmla="*/ 188410 w 264249"/>
                <a:gd name="connsiteY55" fmla="*/ 70639 h 145277"/>
                <a:gd name="connsiteX56" fmla="*/ 167761 w 264249"/>
                <a:gd name="connsiteY56" fmla="*/ 70639 h 145277"/>
                <a:gd name="connsiteX57" fmla="*/ 165572 w 264249"/>
                <a:gd name="connsiteY57" fmla="*/ 70260 h 145277"/>
                <a:gd name="connsiteX58" fmla="*/ 166143 w 264249"/>
                <a:gd name="connsiteY58" fmla="*/ 67981 h 145277"/>
                <a:gd name="connsiteX59" fmla="*/ 178323 w 264249"/>
                <a:gd name="connsiteY59" fmla="*/ 36275 h 145277"/>
                <a:gd name="connsiteX60" fmla="*/ 190122 w 264249"/>
                <a:gd name="connsiteY60" fmla="*/ 67032 h 145277"/>
                <a:gd name="connsiteX61" fmla="*/ 190693 w 264249"/>
                <a:gd name="connsiteY61" fmla="*/ 70070 h 14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64249" h="145277">
                  <a:moveTo>
                    <a:pt x="263869" y="124749"/>
                  </a:moveTo>
                  <a:cubicBezTo>
                    <a:pt x="263488" y="124179"/>
                    <a:pt x="262536" y="124179"/>
                    <a:pt x="262536" y="124179"/>
                  </a:cubicBezTo>
                  <a:cubicBezTo>
                    <a:pt x="256541" y="123230"/>
                    <a:pt x="248834" y="119813"/>
                    <a:pt x="248834" y="116490"/>
                  </a:cubicBezTo>
                  <a:lnTo>
                    <a:pt x="205443" y="7227"/>
                  </a:lnTo>
                  <a:cubicBezTo>
                    <a:pt x="205443" y="7227"/>
                    <a:pt x="204776" y="5233"/>
                    <a:pt x="204015" y="4569"/>
                  </a:cubicBezTo>
                  <a:cubicBezTo>
                    <a:pt x="203349" y="3809"/>
                    <a:pt x="201922" y="3809"/>
                    <a:pt x="201922" y="3809"/>
                  </a:cubicBezTo>
                  <a:lnTo>
                    <a:pt x="162813" y="3809"/>
                  </a:lnTo>
                  <a:cubicBezTo>
                    <a:pt x="162813" y="3809"/>
                    <a:pt x="161195" y="3809"/>
                    <a:pt x="160529" y="4569"/>
                  </a:cubicBezTo>
                  <a:cubicBezTo>
                    <a:pt x="159767" y="5328"/>
                    <a:pt x="159101" y="7227"/>
                    <a:pt x="159101" y="7227"/>
                  </a:cubicBezTo>
                  <a:lnTo>
                    <a:pt x="121990" y="100637"/>
                  </a:lnTo>
                  <a:cubicBezTo>
                    <a:pt x="121990" y="100637"/>
                    <a:pt x="114759" y="118673"/>
                    <a:pt x="103530" y="121806"/>
                  </a:cubicBezTo>
                  <a:cubicBezTo>
                    <a:pt x="94966" y="124179"/>
                    <a:pt x="89352" y="124749"/>
                    <a:pt x="79075" y="125129"/>
                  </a:cubicBezTo>
                  <a:cubicBezTo>
                    <a:pt x="78885" y="125129"/>
                    <a:pt x="78789" y="125129"/>
                    <a:pt x="78599" y="125129"/>
                  </a:cubicBezTo>
                  <a:lnTo>
                    <a:pt x="78599" y="125129"/>
                  </a:lnTo>
                  <a:cubicBezTo>
                    <a:pt x="68322" y="124749"/>
                    <a:pt x="65753" y="124749"/>
                    <a:pt x="58426" y="121806"/>
                  </a:cubicBezTo>
                  <a:cubicBezTo>
                    <a:pt x="54334" y="120192"/>
                    <a:pt x="46151" y="111839"/>
                    <a:pt x="43772" y="105289"/>
                  </a:cubicBezTo>
                  <a:cubicBezTo>
                    <a:pt x="41964" y="100162"/>
                    <a:pt x="39680" y="93802"/>
                    <a:pt x="39680" y="72633"/>
                  </a:cubicBezTo>
                  <a:cubicBezTo>
                    <a:pt x="39680" y="51559"/>
                    <a:pt x="41203" y="41686"/>
                    <a:pt x="43772" y="37509"/>
                  </a:cubicBezTo>
                  <a:cubicBezTo>
                    <a:pt x="48435" y="30104"/>
                    <a:pt x="55857" y="22415"/>
                    <a:pt x="73175" y="22415"/>
                  </a:cubicBezTo>
                  <a:cubicBezTo>
                    <a:pt x="90494" y="22415"/>
                    <a:pt x="96774" y="28681"/>
                    <a:pt x="99819" y="32857"/>
                  </a:cubicBezTo>
                  <a:cubicBezTo>
                    <a:pt x="99819" y="32857"/>
                    <a:pt x="104482" y="36655"/>
                    <a:pt x="104767" y="42066"/>
                  </a:cubicBezTo>
                  <a:lnTo>
                    <a:pt x="104767" y="43585"/>
                  </a:lnTo>
                  <a:cubicBezTo>
                    <a:pt x="104767" y="46053"/>
                    <a:pt x="106765" y="47951"/>
                    <a:pt x="109144" y="47951"/>
                  </a:cubicBezTo>
                  <a:lnTo>
                    <a:pt x="120468" y="47951"/>
                  </a:lnTo>
                  <a:cubicBezTo>
                    <a:pt x="122942" y="47951"/>
                    <a:pt x="124845" y="45958"/>
                    <a:pt x="124845" y="43585"/>
                  </a:cubicBezTo>
                  <a:lnTo>
                    <a:pt x="125226" y="9600"/>
                  </a:lnTo>
                  <a:cubicBezTo>
                    <a:pt x="125226" y="9600"/>
                    <a:pt x="125892" y="7132"/>
                    <a:pt x="122847" y="4663"/>
                  </a:cubicBezTo>
                  <a:cubicBezTo>
                    <a:pt x="122847" y="4663"/>
                    <a:pt x="106385" y="-273"/>
                    <a:pt x="78885" y="12"/>
                  </a:cubicBezTo>
                  <a:cubicBezTo>
                    <a:pt x="56047" y="202"/>
                    <a:pt x="37396" y="4948"/>
                    <a:pt x="27786" y="11024"/>
                  </a:cubicBezTo>
                  <a:cubicBezTo>
                    <a:pt x="18175" y="17004"/>
                    <a:pt x="0" y="34566"/>
                    <a:pt x="0" y="70544"/>
                  </a:cubicBezTo>
                  <a:cubicBezTo>
                    <a:pt x="0" y="106428"/>
                    <a:pt x="7993" y="119623"/>
                    <a:pt x="17604" y="128641"/>
                  </a:cubicBezTo>
                  <a:cubicBezTo>
                    <a:pt x="25502" y="136046"/>
                    <a:pt x="34542" y="141267"/>
                    <a:pt x="55476" y="144209"/>
                  </a:cubicBezTo>
                  <a:cubicBezTo>
                    <a:pt x="56237" y="144779"/>
                    <a:pt x="68513" y="145064"/>
                    <a:pt x="73651" y="145064"/>
                  </a:cubicBezTo>
                  <a:cubicBezTo>
                    <a:pt x="75269" y="145159"/>
                    <a:pt x="76886" y="145254"/>
                    <a:pt x="78599" y="145254"/>
                  </a:cubicBezTo>
                  <a:cubicBezTo>
                    <a:pt x="83642" y="145349"/>
                    <a:pt x="88020" y="145159"/>
                    <a:pt x="91826" y="144684"/>
                  </a:cubicBezTo>
                  <a:cubicBezTo>
                    <a:pt x="108764" y="144020"/>
                    <a:pt x="118089" y="145538"/>
                    <a:pt x="122847" y="144589"/>
                  </a:cubicBezTo>
                  <a:lnTo>
                    <a:pt x="157864" y="144589"/>
                  </a:lnTo>
                  <a:cubicBezTo>
                    <a:pt x="158626" y="144589"/>
                    <a:pt x="159197" y="144020"/>
                    <a:pt x="159197" y="143260"/>
                  </a:cubicBezTo>
                  <a:lnTo>
                    <a:pt x="159292" y="126078"/>
                  </a:lnTo>
                  <a:cubicBezTo>
                    <a:pt x="159197" y="126078"/>
                    <a:pt x="159387" y="125319"/>
                    <a:pt x="159006" y="124749"/>
                  </a:cubicBezTo>
                  <a:cubicBezTo>
                    <a:pt x="158626" y="124179"/>
                    <a:pt x="157674" y="124179"/>
                    <a:pt x="157674" y="124179"/>
                  </a:cubicBezTo>
                  <a:cubicBezTo>
                    <a:pt x="151679" y="123230"/>
                    <a:pt x="145779" y="121331"/>
                    <a:pt x="146826" y="116490"/>
                  </a:cubicBezTo>
                  <a:lnTo>
                    <a:pt x="155581" y="94372"/>
                  </a:lnTo>
                  <a:lnTo>
                    <a:pt x="200685" y="94372"/>
                  </a:lnTo>
                  <a:lnTo>
                    <a:pt x="209249" y="116490"/>
                  </a:lnTo>
                  <a:cubicBezTo>
                    <a:pt x="211342" y="120287"/>
                    <a:pt x="207155" y="123230"/>
                    <a:pt x="201256" y="124179"/>
                  </a:cubicBezTo>
                  <a:cubicBezTo>
                    <a:pt x="201256" y="124179"/>
                    <a:pt x="200304" y="124179"/>
                    <a:pt x="199923" y="124749"/>
                  </a:cubicBezTo>
                  <a:cubicBezTo>
                    <a:pt x="199543" y="125319"/>
                    <a:pt x="199733" y="126078"/>
                    <a:pt x="199638" y="126078"/>
                  </a:cubicBezTo>
                  <a:lnTo>
                    <a:pt x="199733" y="143260"/>
                  </a:lnTo>
                  <a:cubicBezTo>
                    <a:pt x="199733" y="144020"/>
                    <a:pt x="200304" y="144589"/>
                    <a:pt x="201065" y="144589"/>
                  </a:cubicBezTo>
                  <a:lnTo>
                    <a:pt x="262822" y="144589"/>
                  </a:lnTo>
                  <a:cubicBezTo>
                    <a:pt x="263583" y="144589"/>
                    <a:pt x="264154" y="144020"/>
                    <a:pt x="264154" y="143260"/>
                  </a:cubicBezTo>
                  <a:lnTo>
                    <a:pt x="264249" y="126078"/>
                  </a:lnTo>
                  <a:cubicBezTo>
                    <a:pt x="264154" y="126173"/>
                    <a:pt x="264344" y="125414"/>
                    <a:pt x="263869" y="124749"/>
                  </a:cubicBezTo>
                  <a:close/>
                  <a:moveTo>
                    <a:pt x="190693" y="70070"/>
                  </a:moveTo>
                  <a:cubicBezTo>
                    <a:pt x="190313" y="70924"/>
                    <a:pt x="188410" y="70639"/>
                    <a:pt x="188410" y="70639"/>
                  </a:cubicBezTo>
                  <a:lnTo>
                    <a:pt x="167761" y="70639"/>
                  </a:lnTo>
                  <a:cubicBezTo>
                    <a:pt x="167761" y="70639"/>
                    <a:pt x="166333" y="70734"/>
                    <a:pt x="165572" y="70260"/>
                  </a:cubicBezTo>
                  <a:cubicBezTo>
                    <a:pt x="165001" y="69880"/>
                    <a:pt x="166143" y="67981"/>
                    <a:pt x="166143" y="67981"/>
                  </a:cubicBezTo>
                  <a:lnTo>
                    <a:pt x="178323" y="36275"/>
                  </a:lnTo>
                  <a:lnTo>
                    <a:pt x="190122" y="67032"/>
                  </a:lnTo>
                  <a:cubicBezTo>
                    <a:pt x="189932" y="67127"/>
                    <a:pt x="190979" y="69405"/>
                    <a:pt x="190693" y="7007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grpSp>
      <p:sp>
        <p:nvSpPr>
          <p:cNvPr id="7" name="Rectangle 6"/>
          <p:cNvSpPr/>
          <p:nvPr/>
        </p:nvSpPr>
        <p:spPr>
          <a:xfrm>
            <a:off x="0" y="381000"/>
            <a:ext cx="9144000" cy="60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104900" y="1298448"/>
            <a:ext cx="7315200" cy="3255264"/>
          </a:xfrm>
        </p:spPr>
        <p:txBody>
          <a:bodyPr anchor="b">
            <a:normAutofit/>
          </a:bodyPr>
          <a:lstStyle>
            <a:lvl1pPr algn="l">
              <a:defRPr sz="5900" spc="-100" baseline="0">
                <a:solidFill>
                  <a:srgbClr val="FFFFFF"/>
                </a:solidFill>
              </a:defRPr>
            </a:lvl1pPr>
          </a:lstStyle>
          <a:p>
            <a:r>
              <a:rPr lang="en-US"/>
              <a:t>Click to edit Master title style</a:t>
            </a:r>
          </a:p>
        </p:txBody>
      </p:sp>
      <p:sp>
        <p:nvSpPr>
          <p:cNvPr id="3" name="Subtitle 2"/>
          <p:cNvSpPr>
            <a:spLocks noGrp="1"/>
          </p:cNvSpPr>
          <p:nvPr>
            <p:ph type="subTitle" idx="1"/>
          </p:nvPr>
        </p:nvSpPr>
        <p:spPr>
          <a:xfrm>
            <a:off x="1104900"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0" name="Rectangle 9">
            <a:extLst>
              <a:ext uri="{FF2B5EF4-FFF2-40B4-BE49-F238E27FC236}">
                <a16:creationId xmlns:a16="http://schemas.microsoft.com/office/drawing/2014/main" id="{E5B1F351-1311-3F46-8AF9-B0520EC78248}"/>
              </a:ext>
            </a:extLst>
          </p:cNvPr>
          <p:cNvSpPr/>
          <p:nvPr userDrawn="1"/>
        </p:nvSpPr>
        <p:spPr>
          <a:xfrm>
            <a:off x="9144000" y="457199"/>
            <a:ext cx="228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spTree>
    <p:extLst>
      <p:ext uri="{BB962C8B-B14F-4D97-AF65-F5344CB8AC3E}">
        <p14:creationId xmlns:p14="http://schemas.microsoft.com/office/powerpoint/2010/main" val="826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x</p:attrName>
                                        </p:attrNameLst>
                                      </p:cBhvr>
                                      <p:tavLst>
                                        <p:tav tm="0">
                                          <p:val>
                                            <p:strVal val="#ppt_x-#ppt_w*1.125000"/>
                                          </p:val>
                                        </p:tav>
                                        <p:tav tm="100000">
                                          <p:val>
                                            <p:strVal val="#ppt_x"/>
                                          </p:val>
                                        </p:tav>
                                      </p:tavLst>
                                    </p:anim>
                                    <p:animEffect transition="in" filter="wipe(right)">
                                      <p:cBhvr>
                                        <p:cTn id="8" dur="500"/>
                                        <p:tgtEl>
                                          <p:spTgt spid="7"/>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300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7" name="Rectangle 6"/>
          <p:cNvSpPr/>
          <p:nvPr/>
        </p:nvSpPr>
        <p:spPr>
          <a:xfrm>
            <a:off x="0" y="5032390"/>
            <a:ext cx="12192000" cy="182560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39" name="Group 38">
            <a:extLst>
              <a:ext uri="{FF2B5EF4-FFF2-40B4-BE49-F238E27FC236}">
                <a16:creationId xmlns:a16="http://schemas.microsoft.com/office/drawing/2014/main" id="{49AD7106-0811-C748-BF24-FD619FFFD54A}"/>
              </a:ext>
            </a:extLst>
          </p:cNvPr>
          <p:cNvGrpSpPr/>
          <p:nvPr userDrawn="1"/>
        </p:nvGrpSpPr>
        <p:grpSpPr>
          <a:xfrm>
            <a:off x="9650438" y="5381358"/>
            <a:ext cx="1932306" cy="1062630"/>
            <a:chOff x="8075370" y="-2560865"/>
            <a:chExt cx="2884266" cy="1586140"/>
          </a:xfrm>
          <a:solidFill>
            <a:schemeClr val="bg1"/>
          </a:solidFill>
        </p:grpSpPr>
        <p:sp>
          <p:nvSpPr>
            <p:cNvPr id="9" name="Freeform 8">
              <a:extLst>
                <a:ext uri="{FF2B5EF4-FFF2-40B4-BE49-F238E27FC236}">
                  <a16:creationId xmlns:a16="http://schemas.microsoft.com/office/drawing/2014/main" id="{2E60363F-4494-2E4F-8200-6CE731CF04F2}"/>
                </a:ext>
              </a:extLst>
            </p:cNvPr>
            <p:cNvSpPr/>
            <p:nvPr/>
          </p:nvSpPr>
          <p:spPr>
            <a:xfrm>
              <a:off x="8678326" y="-2560865"/>
              <a:ext cx="1678557" cy="1015393"/>
            </a:xfrm>
            <a:custGeom>
              <a:avLst/>
              <a:gdLst>
                <a:gd name="connsiteX0" fmla="*/ 1632312 w 1678557"/>
                <a:gd name="connsiteY0" fmla="*/ 463887 h 1015393"/>
                <a:gd name="connsiteX1" fmla="*/ 1171850 w 1678557"/>
                <a:gd name="connsiteY1" fmla="*/ 931129 h 1015393"/>
                <a:gd name="connsiteX2" fmla="*/ 1172231 w 1678557"/>
                <a:gd name="connsiteY2" fmla="*/ 931509 h 1015393"/>
                <a:gd name="connsiteX3" fmla="*/ 1147015 w 1678557"/>
                <a:gd name="connsiteY3" fmla="*/ 946982 h 1015393"/>
                <a:gd name="connsiteX4" fmla="*/ 1109713 w 1678557"/>
                <a:gd name="connsiteY4" fmla="*/ 953722 h 1015393"/>
                <a:gd name="connsiteX5" fmla="*/ 1072412 w 1678557"/>
                <a:gd name="connsiteY5" fmla="*/ 946982 h 1015393"/>
                <a:gd name="connsiteX6" fmla="*/ 1047196 w 1678557"/>
                <a:gd name="connsiteY6" fmla="*/ 931509 h 1015393"/>
                <a:gd name="connsiteX7" fmla="*/ 1047576 w 1678557"/>
                <a:gd name="connsiteY7" fmla="*/ 931129 h 1015393"/>
                <a:gd name="connsiteX8" fmla="*/ 537538 w 1678557"/>
                <a:gd name="connsiteY8" fmla="*/ 416897 h 1015393"/>
                <a:gd name="connsiteX9" fmla="*/ 558377 w 1678557"/>
                <a:gd name="connsiteY9" fmla="*/ 395918 h 1015393"/>
                <a:gd name="connsiteX10" fmla="*/ 557997 w 1678557"/>
                <a:gd name="connsiteY10" fmla="*/ 395443 h 1015393"/>
                <a:gd name="connsiteX11" fmla="*/ 620324 w 1678557"/>
                <a:gd name="connsiteY11" fmla="*/ 363452 h 1015393"/>
                <a:gd name="connsiteX12" fmla="*/ 656103 w 1678557"/>
                <a:gd name="connsiteY12" fmla="*/ 372850 h 1015393"/>
                <a:gd name="connsiteX13" fmla="*/ 655818 w 1678557"/>
                <a:gd name="connsiteY13" fmla="*/ 373135 h 1015393"/>
                <a:gd name="connsiteX14" fmla="*/ 960318 w 1678557"/>
                <a:gd name="connsiteY14" fmla="*/ 680516 h 1015393"/>
                <a:gd name="connsiteX15" fmla="*/ 961840 w 1678557"/>
                <a:gd name="connsiteY15" fmla="*/ 678997 h 1015393"/>
                <a:gd name="connsiteX16" fmla="*/ 1056426 w 1678557"/>
                <a:gd name="connsiteY16" fmla="*/ 719437 h 1015393"/>
                <a:gd name="connsiteX17" fmla="*/ 1167093 w 1678557"/>
                <a:gd name="connsiteY17" fmla="*/ 665517 h 1015393"/>
                <a:gd name="connsiteX18" fmla="*/ 1503185 w 1678557"/>
                <a:gd name="connsiteY18" fmla="*/ 330037 h 1015393"/>
                <a:gd name="connsiteX19" fmla="*/ 1225043 w 1678557"/>
                <a:gd name="connsiteY19" fmla="*/ 38129 h 1015393"/>
                <a:gd name="connsiteX20" fmla="*/ 1128745 w 1678557"/>
                <a:gd name="connsiteY20" fmla="*/ 157 h 1015393"/>
                <a:gd name="connsiteX21" fmla="*/ 1027022 w 1678557"/>
                <a:gd name="connsiteY21" fmla="*/ 21991 h 1015393"/>
                <a:gd name="connsiteX22" fmla="*/ 948899 w 1678557"/>
                <a:gd name="connsiteY22" fmla="*/ 157 h 1015393"/>
                <a:gd name="connsiteX23" fmla="*/ 847177 w 1678557"/>
                <a:gd name="connsiteY23" fmla="*/ 21991 h 1015393"/>
                <a:gd name="connsiteX24" fmla="*/ 769054 w 1678557"/>
                <a:gd name="connsiteY24" fmla="*/ 157 h 1015393"/>
                <a:gd name="connsiteX25" fmla="*/ 663335 w 1678557"/>
                <a:gd name="connsiteY25" fmla="*/ 24649 h 1015393"/>
                <a:gd name="connsiteX26" fmla="*/ 581596 w 1678557"/>
                <a:gd name="connsiteY26" fmla="*/ 157 h 1015393"/>
                <a:gd name="connsiteX27" fmla="*/ 569130 w 1678557"/>
                <a:gd name="connsiteY27" fmla="*/ 62 h 1015393"/>
                <a:gd name="connsiteX28" fmla="*/ 556665 w 1678557"/>
                <a:gd name="connsiteY28" fmla="*/ 157 h 1015393"/>
                <a:gd name="connsiteX29" fmla="*/ 460271 w 1678557"/>
                <a:gd name="connsiteY29" fmla="*/ 38129 h 1015393"/>
                <a:gd name="connsiteX30" fmla="*/ 0 w 1678557"/>
                <a:gd name="connsiteY30" fmla="*/ 504991 h 1015393"/>
                <a:gd name="connsiteX31" fmla="*/ 46246 w 1678557"/>
                <a:gd name="connsiteY31" fmla="*/ 551507 h 1015393"/>
                <a:gd name="connsiteX32" fmla="*/ 506708 w 1678557"/>
                <a:gd name="connsiteY32" fmla="*/ 84360 h 1015393"/>
                <a:gd name="connsiteX33" fmla="*/ 506327 w 1678557"/>
                <a:gd name="connsiteY33" fmla="*/ 83885 h 1015393"/>
                <a:gd name="connsiteX34" fmla="*/ 531543 w 1678557"/>
                <a:gd name="connsiteY34" fmla="*/ 68411 h 1015393"/>
                <a:gd name="connsiteX35" fmla="*/ 568845 w 1678557"/>
                <a:gd name="connsiteY35" fmla="*/ 61671 h 1015393"/>
                <a:gd name="connsiteX36" fmla="*/ 606146 w 1678557"/>
                <a:gd name="connsiteY36" fmla="*/ 68411 h 1015393"/>
                <a:gd name="connsiteX37" fmla="*/ 631362 w 1678557"/>
                <a:gd name="connsiteY37" fmla="*/ 83885 h 1015393"/>
                <a:gd name="connsiteX38" fmla="*/ 630982 w 1678557"/>
                <a:gd name="connsiteY38" fmla="*/ 84360 h 1015393"/>
                <a:gd name="connsiteX39" fmla="*/ 1141020 w 1678557"/>
                <a:gd name="connsiteY39" fmla="*/ 598592 h 1015393"/>
                <a:gd name="connsiteX40" fmla="*/ 1120181 w 1678557"/>
                <a:gd name="connsiteY40" fmla="*/ 619571 h 1015393"/>
                <a:gd name="connsiteX41" fmla="*/ 1120561 w 1678557"/>
                <a:gd name="connsiteY41" fmla="*/ 620046 h 1015393"/>
                <a:gd name="connsiteX42" fmla="*/ 1058234 w 1678557"/>
                <a:gd name="connsiteY42" fmla="*/ 652037 h 1015393"/>
                <a:gd name="connsiteX43" fmla="*/ 995431 w 1678557"/>
                <a:gd name="connsiteY43" fmla="*/ 620046 h 1015393"/>
                <a:gd name="connsiteX44" fmla="*/ 995811 w 1678557"/>
                <a:gd name="connsiteY44" fmla="*/ 619571 h 1015393"/>
                <a:gd name="connsiteX45" fmla="*/ 729088 w 1678557"/>
                <a:gd name="connsiteY45" fmla="*/ 349972 h 1015393"/>
                <a:gd name="connsiteX46" fmla="*/ 622132 w 1678557"/>
                <a:gd name="connsiteY46" fmla="*/ 295957 h 1015393"/>
                <a:gd name="connsiteX47" fmla="*/ 511465 w 1678557"/>
                <a:gd name="connsiteY47" fmla="*/ 349972 h 1015393"/>
                <a:gd name="connsiteX48" fmla="*/ 175564 w 1678557"/>
                <a:gd name="connsiteY48" fmla="*/ 685357 h 1015393"/>
                <a:gd name="connsiteX49" fmla="*/ 453705 w 1678557"/>
                <a:gd name="connsiteY49" fmla="*/ 977265 h 1015393"/>
                <a:gd name="connsiteX50" fmla="*/ 550004 w 1678557"/>
                <a:gd name="connsiteY50" fmla="*/ 1015236 h 1015393"/>
                <a:gd name="connsiteX51" fmla="*/ 651726 w 1678557"/>
                <a:gd name="connsiteY51" fmla="*/ 993403 h 1015393"/>
                <a:gd name="connsiteX52" fmla="*/ 729849 w 1678557"/>
                <a:gd name="connsiteY52" fmla="*/ 1015236 h 1015393"/>
                <a:gd name="connsiteX53" fmla="*/ 831571 w 1678557"/>
                <a:gd name="connsiteY53" fmla="*/ 993403 h 1015393"/>
                <a:gd name="connsiteX54" fmla="*/ 909695 w 1678557"/>
                <a:gd name="connsiteY54" fmla="*/ 1015236 h 1015393"/>
                <a:gd name="connsiteX55" fmla="*/ 1015413 w 1678557"/>
                <a:gd name="connsiteY55" fmla="*/ 990745 h 1015393"/>
                <a:gd name="connsiteX56" fmla="*/ 1097153 w 1678557"/>
                <a:gd name="connsiteY56" fmla="*/ 1015236 h 1015393"/>
                <a:gd name="connsiteX57" fmla="*/ 1109618 w 1678557"/>
                <a:gd name="connsiteY57" fmla="*/ 1015331 h 1015393"/>
                <a:gd name="connsiteX58" fmla="*/ 1122084 w 1678557"/>
                <a:gd name="connsiteY58" fmla="*/ 1015236 h 1015393"/>
                <a:gd name="connsiteX59" fmla="*/ 1218477 w 1678557"/>
                <a:gd name="connsiteY59" fmla="*/ 977265 h 1015393"/>
                <a:gd name="connsiteX60" fmla="*/ 1678558 w 1678557"/>
                <a:gd name="connsiteY60" fmla="*/ 510402 h 1015393"/>
                <a:gd name="connsiteX61" fmla="*/ 1632312 w 1678557"/>
                <a:gd name="connsiteY61" fmla="*/ 463887 h 1015393"/>
                <a:gd name="connsiteX62" fmla="*/ 1125700 w 1678557"/>
                <a:gd name="connsiteY62" fmla="*/ 61861 h 1015393"/>
                <a:gd name="connsiteX63" fmla="*/ 1178702 w 1678557"/>
                <a:gd name="connsiteY63" fmla="*/ 83790 h 1015393"/>
                <a:gd name="connsiteX64" fmla="*/ 1178321 w 1678557"/>
                <a:gd name="connsiteY64" fmla="*/ 84265 h 1015393"/>
                <a:gd name="connsiteX65" fmla="*/ 1231609 w 1678557"/>
                <a:gd name="connsiteY65" fmla="*/ 137805 h 1015393"/>
                <a:gd name="connsiteX66" fmla="*/ 1239221 w 1678557"/>
                <a:gd name="connsiteY66" fmla="*/ 145399 h 1015393"/>
                <a:gd name="connsiteX67" fmla="*/ 1415165 w 1678557"/>
                <a:gd name="connsiteY67" fmla="*/ 322252 h 1015393"/>
                <a:gd name="connsiteX68" fmla="*/ 1371584 w 1678557"/>
                <a:gd name="connsiteY68" fmla="*/ 366205 h 1015393"/>
                <a:gd name="connsiteX69" fmla="*/ 1076218 w 1678557"/>
                <a:gd name="connsiteY69" fmla="*/ 69171 h 1015393"/>
                <a:gd name="connsiteX70" fmla="*/ 1125700 w 1678557"/>
                <a:gd name="connsiteY70" fmla="*/ 61861 h 1015393"/>
                <a:gd name="connsiteX71" fmla="*/ 945854 w 1678557"/>
                <a:gd name="connsiteY71" fmla="*/ 61861 h 1015393"/>
                <a:gd name="connsiteX72" fmla="*/ 998856 w 1678557"/>
                <a:gd name="connsiteY72" fmla="*/ 83790 h 1015393"/>
                <a:gd name="connsiteX73" fmla="*/ 998476 w 1678557"/>
                <a:gd name="connsiteY73" fmla="*/ 84265 h 1015393"/>
                <a:gd name="connsiteX74" fmla="*/ 1051763 w 1678557"/>
                <a:gd name="connsiteY74" fmla="*/ 137805 h 1015393"/>
                <a:gd name="connsiteX75" fmla="*/ 1059376 w 1678557"/>
                <a:gd name="connsiteY75" fmla="*/ 145399 h 1015393"/>
                <a:gd name="connsiteX76" fmla="*/ 1325338 w 1678557"/>
                <a:gd name="connsiteY76" fmla="*/ 412815 h 1015393"/>
                <a:gd name="connsiteX77" fmla="*/ 1281756 w 1678557"/>
                <a:gd name="connsiteY77" fmla="*/ 456767 h 1015393"/>
                <a:gd name="connsiteX78" fmla="*/ 896373 w 1678557"/>
                <a:gd name="connsiteY78" fmla="*/ 69266 h 1015393"/>
                <a:gd name="connsiteX79" fmla="*/ 945854 w 1678557"/>
                <a:gd name="connsiteY79" fmla="*/ 61861 h 1015393"/>
                <a:gd name="connsiteX80" fmla="*/ 710913 w 1678557"/>
                <a:gd name="connsiteY80" fmla="*/ 71639 h 1015393"/>
                <a:gd name="connsiteX81" fmla="*/ 766104 w 1678557"/>
                <a:gd name="connsiteY81" fmla="*/ 61956 h 1015393"/>
                <a:gd name="connsiteX82" fmla="*/ 819106 w 1678557"/>
                <a:gd name="connsiteY82" fmla="*/ 83885 h 1015393"/>
                <a:gd name="connsiteX83" fmla="*/ 818725 w 1678557"/>
                <a:gd name="connsiteY83" fmla="*/ 84360 h 1015393"/>
                <a:gd name="connsiteX84" fmla="*/ 872013 w 1678557"/>
                <a:gd name="connsiteY84" fmla="*/ 137900 h 1015393"/>
                <a:gd name="connsiteX85" fmla="*/ 879625 w 1678557"/>
                <a:gd name="connsiteY85" fmla="*/ 145494 h 1015393"/>
                <a:gd name="connsiteX86" fmla="*/ 1235700 w 1678557"/>
                <a:gd name="connsiteY86" fmla="*/ 503472 h 1015393"/>
                <a:gd name="connsiteX87" fmla="*/ 1187551 w 1678557"/>
                <a:gd name="connsiteY87" fmla="*/ 551981 h 1015393"/>
                <a:gd name="connsiteX88" fmla="*/ 710913 w 1678557"/>
                <a:gd name="connsiteY88" fmla="*/ 71639 h 1015393"/>
                <a:gd name="connsiteX89" fmla="*/ 552858 w 1678557"/>
                <a:gd name="connsiteY89" fmla="*/ 953532 h 1015393"/>
                <a:gd name="connsiteX90" fmla="*/ 499856 w 1678557"/>
                <a:gd name="connsiteY90" fmla="*/ 931604 h 1015393"/>
                <a:gd name="connsiteX91" fmla="*/ 500237 w 1678557"/>
                <a:gd name="connsiteY91" fmla="*/ 931224 h 1015393"/>
                <a:gd name="connsiteX92" fmla="*/ 446949 w 1678557"/>
                <a:gd name="connsiteY92" fmla="*/ 877684 h 1015393"/>
                <a:gd name="connsiteX93" fmla="*/ 439337 w 1678557"/>
                <a:gd name="connsiteY93" fmla="*/ 870089 h 1015393"/>
                <a:gd name="connsiteX94" fmla="*/ 263393 w 1678557"/>
                <a:gd name="connsiteY94" fmla="*/ 693236 h 1015393"/>
                <a:gd name="connsiteX95" fmla="*/ 306974 w 1678557"/>
                <a:gd name="connsiteY95" fmla="*/ 649284 h 1015393"/>
                <a:gd name="connsiteX96" fmla="*/ 602340 w 1678557"/>
                <a:gd name="connsiteY96" fmla="*/ 946223 h 1015393"/>
                <a:gd name="connsiteX97" fmla="*/ 552858 w 1678557"/>
                <a:gd name="connsiteY97" fmla="*/ 953532 h 1015393"/>
                <a:gd name="connsiteX98" fmla="*/ 732704 w 1678557"/>
                <a:gd name="connsiteY98" fmla="*/ 953532 h 1015393"/>
                <a:gd name="connsiteX99" fmla="*/ 679702 w 1678557"/>
                <a:gd name="connsiteY99" fmla="*/ 931604 h 1015393"/>
                <a:gd name="connsiteX100" fmla="*/ 680178 w 1678557"/>
                <a:gd name="connsiteY100" fmla="*/ 931224 h 1015393"/>
                <a:gd name="connsiteX101" fmla="*/ 626890 w 1678557"/>
                <a:gd name="connsiteY101" fmla="*/ 877684 h 1015393"/>
                <a:gd name="connsiteX102" fmla="*/ 619278 w 1678557"/>
                <a:gd name="connsiteY102" fmla="*/ 870089 h 1015393"/>
                <a:gd name="connsiteX103" fmla="*/ 353316 w 1678557"/>
                <a:gd name="connsiteY103" fmla="*/ 602484 h 1015393"/>
                <a:gd name="connsiteX104" fmla="*/ 396897 w 1678557"/>
                <a:gd name="connsiteY104" fmla="*/ 558531 h 1015393"/>
                <a:gd name="connsiteX105" fmla="*/ 782280 w 1678557"/>
                <a:gd name="connsiteY105" fmla="*/ 946033 h 1015393"/>
                <a:gd name="connsiteX106" fmla="*/ 732704 w 1678557"/>
                <a:gd name="connsiteY106" fmla="*/ 953532 h 1015393"/>
                <a:gd name="connsiteX107" fmla="*/ 912549 w 1678557"/>
                <a:gd name="connsiteY107" fmla="*/ 953532 h 1015393"/>
                <a:gd name="connsiteX108" fmla="*/ 859547 w 1678557"/>
                <a:gd name="connsiteY108" fmla="*/ 931604 h 1015393"/>
                <a:gd name="connsiteX109" fmla="*/ 859928 w 1678557"/>
                <a:gd name="connsiteY109" fmla="*/ 931224 h 1015393"/>
                <a:gd name="connsiteX110" fmla="*/ 806640 w 1678557"/>
                <a:gd name="connsiteY110" fmla="*/ 877684 h 1015393"/>
                <a:gd name="connsiteX111" fmla="*/ 799028 w 1678557"/>
                <a:gd name="connsiteY111" fmla="*/ 870089 h 1015393"/>
                <a:gd name="connsiteX112" fmla="*/ 442953 w 1678557"/>
                <a:gd name="connsiteY112" fmla="*/ 512111 h 1015393"/>
                <a:gd name="connsiteX113" fmla="*/ 491102 w 1678557"/>
                <a:gd name="connsiteY113" fmla="*/ 463602 h 1015393"/>
                <a:gd name="connsiteX114" fmla="*/ 967550 w 1678557"/>
                <a:gd name="connsiteY114" fmla="*/ 943944 h 1015393"/>
                <a:gd name="connsiteX115" fmla="*/ 912549 w 1678557"/>
                <a:gd name="connsiteY115" fmla="*/ 953532 h 101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678557" h="1015393">
                  <a:moveTo>
                    <a:pt x="1632312" y="463887"/>
                  </a:moveTo>
                  <a:lnTo>
                    <a:pt x="1171850" y="931129"/>
                  </a:lnTo>
                  <a:lnTo>
                    <a:pt x="1172231" y="931509"/>
                  </a:lnTo>
                  <a:cubicBezTo>
                    <a:pt x="1164619" y="937964"/>
                    <a:pt x="1156150" y="943185"/>
                    <a:pt x="1147015" y="946982"/>
                  </a:cubicBezTo>
                  <a:cubicBezTo>
                    <a:pt x="1134930" y="951254"/>
                    <a:pt x="1122179" y="953532"/>
                    <a:pt x="1109713" y="953722"/>
                  </a:cubicBezTo>
                  <a:cubicBezTo>
                    <a:pt x="1097153" y="953532"/>
                    <a:pt x="1084497" y="951254"/>
                    <a:pt x="1072412" y="946982"/>
                  </a:cubicBezTo>
                  <a:cubicBezTo>
                    <a:pt x="1063277" y="943185"/>
                    <a:pt x="1054808" y="938059"/>
                    <a:pt x="1047196" y="931509"/>
                  </a:cubicBezTo>
                  <a:lnTo>
                    <a:pt x="1047576" y="931129"/>
                  </a:lnTo>
                  <a:lnTo>
                    <a:pt x="537538" y="416897"/>
                  </a:lnTo>
                  <a:lnTo>
                    <a:pt x="558377" y="395918"/>
                  </a:lnTo>
                  <a:lnTo>
                    <a:pt x="557997" y="395443"/>
                  </a:lnTo>
                  <a:cubicBezTo>
                    <a:pt x="565609" y="388988"/>
                    <a:pt x="591111" y="362692"/>
                    <a:pt x="620324" y="363452"/>
                  </a:cubicBezTo>
                  <a:cubicBezTo>
                    <a:pt x="634503" y="362882"/>
                    <a:pt x="646492" y="367154"/>
                    <a:pt x="656103" y="372850"/>
                  </a:cubicBezTo>
                  <a:lnTo>
                    <a:pt x="655818" y="373135"/>
                  </a:lnTo>
                  <a:lnTo>
                    <a:pt x="960318" y="680516"/>
                  </a:lnTo>
                  <a:lnTo>
                    <a:pt x="961840" y="678997"/>
                  </a:lnTo>
                  <a:cubicBezTo>
                    <a:pt x="981728" y="698932"/>
                    <a:pt x="1011226" y="719437"/>
                    <a:pt x="1056426" y="719437"/>
                  </a:cubicBezTo>
                  <a:cubicBezTo>
                    <a:pt x="1099246" y="719437"/>
                    <a:pt x="1147586" y="688395"/>
                    <a:pt x="1167093" y="665517"/>
                  </a:cubicBezTo>
                  <a:lnTo>
                    <a:pt x="1503185" y="330037"/>
                  </a:lnTo>
                  <a:lnTo>
                    <a:pt x="1225043" y="38129"/>
                  </a:lnTo>
                  <a:cubicBezTo>
                    <a:pt x="1205536" y="15251"/>
                    <a:pt x="1173373" y="1771"/>
                    <a:pt x="1128745" y="157"/>
                  </a:cubicBezTo>
                  <a:cubicBezTo>
                    <a:pt x="1096962" y="-982"/>
                    <a:pt x="1055760" y="4524"/>
                    <a:pt x="1027022" y="21991"/>
                  </a:cubicBezTo>
                  <a:cubicBezTo>
                    <a:pt x="1007706" y="8986"/>
                    <a:pt x="981728" y="1296"/>
                    <a:pt x="948899" y="157"/>
                  </a:cubicBezTo>
                  <a:cubicBezTo>
                    <a:pt x="917117" y="-982"/>
                    <a:pt x="875914" y="4524"/>
                    <a:pt x="847177" y="21991"/>
                  </a:cubicBezTo>
                  <a:cubicBezTo>
                    <a:pt x="827860" y="8986"/>
                    <a:pt x="801882" y="1296"/>
                    <a:pt x="769054" y="157"/>
                  </a:cubicBezTo>
                  <a:cubicBezTo>
                    <a:pt x="735749" y="-1077"/>
                    <a:pt x="692072" y="5094"/>
                    <a:pt x="663335" y="24649"/>
                  </a:cubicBezTo>
                  <a:cubicBezTo>
                    <a:pt x="643733" y="10030"/>
                    <a:pt x="616518" y="1486"/>
                    <a:pt x="581596" y="157"/>
                  </a:cubicBezTo>
                  <a:cubicBezTo>
                    <a:pt x="577599" y="-33"/>
                    <a:pt x="573412" y="-33"/>
                    <a:pt x="569130" y="62"/>
                  </a:cubicBezTo>
                  <a:cubicBezTo>
                    <a:pt x="564848" y="-33"/>
                    <a:pt x="560661" y="62"/>
                    <a:pt x="556665" y="157"/>
                  </a:cubicBezTo>
                  <a:cubicBezTo>
                    <a:pt x="512036" y="1771"/>
                    <a:pt x="479873" y="15251"/>
                    <a:pt x="460271" y="38129"/>
                  </a:cubicBezTo>
                  <a:lnTo>
                    <a:pt x="0" y="504991"/>
                  </a:lnTo>
                  <a:lnTo>
                    <a:pt x="46246" y="551507"/>
                  </a:lnTo>
                  <a:lnTo>
                    <a:pt x="506708" y="84360"/>
                  </a:lnTo>
                  <a:lnTo>
                    <a:pt x="506327" y="83885"/>
                  </a:lnTo>
                  <a:cubicBezTo>
                    <a:pt x="513939" y="77430"/>
                    <a:pt x="522408" y="72209"/>
                    <a:pt x="531543" y="68411"/>
                  </a:cubicBezTo>
                  <a:cubicBezTo>
                    <a:pt x="543628" y="64140"/>
                    <a:pt x="556379" y="61861"/>
                    <a:pt x="568845" y="61671"/>
                  </a:cubicBezTo>
                  <a:cubicBezTo>
                    <a:pt x="581405" y="61861"/>
                    <a:pt x="594061" y="64140"/>
                    <a:pt x="606146" y="68411"/>
                  </a:cubicBezTo>
                  <a:cubicBezTo>
                    <a:pt x="615281" y="72209"/>
                    <a:pt x="623750" y="77335"/>
                    <a:pt x="631362" y="83885"/>
                  </a:cubicBezTo>
                  <a:lnTo>
                    <a:pt x="630982" y="84360"/>
                  </a:lnTo>
                  <a:lnTo>
                    <a:pt x="1141020" y="598592"/>
                  </a:lnTo>
                  <a:lnTo>
                    <a:pt x="1120181" y="619571"/>
                  </a:lnTo>
                  <a:lnTo>
                    <a:pt x="1120561" y="620046"/>
                  </a:lnTo>
                  <a:cubicBezTo>
                    <a:pt x="1112949" y="626501"/>
                    <a:pt x="1087447" y="652796"/>
                    <a:pt x="1058234" y="652037"/>
                  </a:cubicBezTo>
                  <a:cubicBezTo>
                    <a:pt x="1023978" y="653461"/>
                    <a:pt x="1002948" y="626501"/>
                    <a:pt x="995431" y="620046"/>
                  </a:cubicBezTo>
                  <a:lnTo>
                    <a:pt x="995811" y="619571"/>
                  </a:lnTo>
                  <a:lnTo>
                    <a:pt x="729088" y="349972"/>
                  </a:lnTo>
                  <a:cubicBezTo>
                    <a:pt x="709581" y="327094"/>
                    <a:pt x="677799" y="295957"/>
                    <a:pt x="622132" y="295957"/>
                  </a:cubicBezTo>
                  <a:cubicBezTo>
                    <a:pt x="579312" y="295957"/>
                    <a:pt x="530972" y="326999"/>
                    <a:pt x="511465" y="349972"/>
                  </a:cubicBezTo>
                  <a:lnTo>
                    <a:pt x="175564" y="685357"/>
                  </a:lnTo>
                  <a:lnTo>
                    <a:pt x="453705" y="977265"/>
                  </a:lnTo>
                  <a:cubicBezTo>
                    <a:pt x="473213" y="1000142"/>
                    <a:pt x="505375" y="1013622"/>
                    <a:pt x="550004" y="1015236"/>
                  </a:cubicBezTo>
                  <a:cubicBezTo>
                    <a:pt x="581786" y="1016375"/>
                    <a:pt x="622989" y="1010869"/>
                    <a:pt x="651726" y="993403"/>
                  </a:cubicBezTo>
                  <a:cubicBezTo>
                    <a:pt x="671043" y="1006408"/>
                    <a:pt x="697020" y="1014097"/>
                    <a:pt x="729849" y="1015236"/>
                  </a:cubicBezTo>
                  <a:cubicBezTo>
                    <a:pt x="761631" y="1016375"/>
                    <a:pt x="802834" y="1010869"/>
                    <a:pt x="831571" y="993403"/>
                  </a:cubicBezTo>
                  <a:cubicBezTo>
                    <a:pt x="850888" y="1006408"/>
                    <a:pt x="876866" y="1014097"/>
                    <a:pt x="909695" y="1015236"/>
                  </a:cubicBezTo>
                  <a:cubicBezTo>
                    <a:pt x="942999" y="1016470"/>
                    <a:pt x="986676" y="1010300"/>
                    <a:pt x="1015413" y="990745"/>
                  </a:cubicBezTo>
                  <a:cubicBezTo>
                    <a:pt x="1035016" y="1005364"/>
                    <a:pt x="1062230" y="1013907"/>
                    <a:pt x="1097153" y="1015236"/>
                  </a:cubicBezTo>
                  <a:cubicBezTo>
                    <a:pt x="1101149" y="1015426"/>
                    <a:pt x="1105336" y="1015426"/>
                    <a:pt x="1109618" y="1015331"/>
                  </a:cubicBezTo>
                  <a:cubicBezTo>
                    <a:pt x="1113900" y="1015426"/>
                    <a:pt x="1118087" y="1015331"/>
                    <a:pt x="1122084" y="1015236"/>
                  </a:cubicBezTo>
                  <a:cubicBezTo>
                    <a:pt x="1166712" y="1013622"/>
                    <a:pt x="1198875" y="1000142"/>
                    <a:pt x="1218477" y="977265"/>
                  </a:cubicBezTo>
                  <a:lnTo>
                    <a:pt x="1678558" y="510402"/>
                  </a:lnTo>
                  <a:lnTo>
                    <a:pt x="1632312" y="463887"/>
                  </a:lnTo>
                  <a:close/>
                  <a:moveTo>
                    <a:pt x="1125700" y="61861"/>
                  </a:moveTo>
                  <a:cubicBezTo>
                    <a:pt x="1145682" y="63285"/>
                    <a:pt x="1163857" y="71164"/>
                    <a:pt x="1178702" y="83790"/>
                  </a:cubicBezTo>
                  <a:lnTo>
                    <a:pt x="1178321" y="84265"/>
                  </a:lnTo>
                  <a:lnTo>
                    <a:pt x="1231609" y="137805"/>
                  </a:lnTo>
                  <a:lnTo>
                    <a:pt x="1239221" y="145399"/>
                  </a:lnTo>
                  <a:lnTo>
                    <a:pt x="1415165" y="322252"/>
                  </a:lnTo>
                  <a:lnTo>
                    <a:pt x="1371584" y="366205"/>
                  </a:lnTo>
                  <a:lnTo>
                    <a:pt x="1076218" y="69171"/>
                  </a:lnTo>
                  <a:cubicBezTo>
                    <a:pt x="1092014" y="63285"/>
                    <a:pt x="1109238" y="60722"/>
                    <a:pt x="1125700" y="61861"/>
                  </a:cubicBezTo>
                  <a:close/>
                  <a:moveTo>
                    <a:pt x="945854" y="61861"/>
                  </a:moveTo>
                  <a:cubicBezTo>
                    <a:pt x="965837" y="63285"/>
                    <a:pt x="984012" y="71164"/>
                    <a:pt x="998856" y="83790"/>
                  </a:cubicBezTo>
                  <a:lnTo>
                    <a:pt x="998476" y="84265"/>
                  </a:lnTo>
                  <a:lnTo>
                    <a:pt x="1051763" y="137805"/>
                  </a:lnTo>
                  <a:lnTo>
                    <a:pt x="1059376" y="145399"/>
                  </a:lnTo>
                  <a:lnTo>
                    <a:pt x="1325338" y="412815"/>
                  </a:lnTo>
                  <a:lnTo>
                    <a:pt x="1281756" y="456767"/>
                  </a:lnTo>
                  <a:lnTo>
                    <a:pt x="896373" y="69266"/>
                  </a:lnTo>
                  <a:cubicBezTo>
                    <a:pt x="912169" y="63285"/>
                    <a:pt x="929392" y="60722"/>
                    <a:pt x="945854" y="61861"/>
                  </a:cubicBezTo>
                  <a:close/>
                  <a:moveTo>
                    <a:pt x="710913" y="71639"/>
                  </a:moveTo>
                  <a:cubicBezTo>
                    <a:pt x="728327" y="64045"/>
                    <a:pt x="747643" y="60627"/>
                    <a:pt x="766104" y="61956"/>
                  </a:cubicBezTo>
                  <a:cubicBezTo>
                    <a:pt x="786087" y="63380"/>
                    <a:pt x="804261" y="71259"/>
                    <a:pt x="819106" y="83885"/>
                  </a:cubicBezTo>
                  <a:lnTo>
                    <a:pt x="818725" y="84360"/>
                  </a:lnTo>
                  <a:lnTo>
                    <a:pt x="872013" y="137900"/>
                  </a:lnTo>
                  <a:lnTo>
                    <a:pt x="879625" y="145494"/>
                  </a:lnTo>
                  <a:lnTo>
                    <a:pt x="1235700" y="503472"/>
                  </a:lnTo>
                  <a:lnTo>
                    <a:pt x="1187551" y="551981"/>
                  </a:lnTo>
                  <a:lnTo>
                    <a:pt x="710913" y="71639"/>
                  </a:lnTo>
                  <a:close/>
                  <a:moveTo>
                    <a:pt x="552858" y="953532"/>
                  </a:moveTo>
                  <a:cubicBezTo>
                    <a:pt x="532876" y="952108"/>
                    <a:pt x="514701" y="944229"/>
                    <a:pt x="499856" y="931604"/>
                  </a:cubicBezTo>
                  <a:lnTo>
                    <a:pt x="500237" y="931224"/>
                  </a:lnTo>
                  <a:lnTo>
                    <a:pt x="446949" y="877684"/>
                  </a:lnTo>
                  <a:lnTo>
                    <a:pt x="439337" y="870089"/>
                  </a:lnTo>
                  <a:lnTo>
                    <a:pt x="263393" y="693236"/>
                  </a:lnTo>
                  <a:lnTo>
                    <a:pt x="306974" y="649284"/>
                  </a:lnTo>
                  <a:lnTo>
                    <a:pt x="602340" y="946223"/>
                  </a:lnTo>
                  <a:cubicBezTo>
                    <a:pt x="586544" y="952013"/>
                    <a:pt x="569321" y="954671"/>
                    <a:pt x="552858" y="953532"/>
                  </a:cubicBezTo>
                  <a:close/>
                  <a:moveTo>
                    <a:pt x="732704" y="953532"/>
                  </a:moveTo>
                  <a:cubicBezTo>
                    <a:pt x="712721" y="952108"/>
                    <a:pt x="694546" y="944229"/>
                    <a:pt x="679702" y="931604"/>
                  </a:cubicBezTo>
                  <a:lnTo>
                    <a:pt x="680178" y="931224"/>
                  </a:lnTo>
                  <a:lnTo>
                    <a:pt x="626890" y="877684"/>
                  </a:lnTo>
                  <a:lnTo>
                    <a:pt x="619278" y="870089"/>
                  </a:lnTo>
                  <a:lnTo>
                    <a:pt x="353316" y="602484"/>
                  </a:lnTo>
                  <a:lnTo>
                    <a:pt x="396897" y="558531"/>
                  </a:lnTo>
                  <a:lnTo>
                    <a:pt x="782280" y="946033"/>
                  </a:lnTo>
                  <a:cubicBezTo>
                    <a:pt x="766389" y="952013"/>
                    <a:pt x="749166" y="954671"/>
                    <a:pt x="732704" y="953532"/>
                  </a:cubicBezTo>
                  <a:close/>
                  <a:moveTo>
                    <a:pt x="912549" y="953532"/>
                  </a:moveTo>
                  <a:cubicBezTo>
                    <a:pt x="892566" y="952108"/>
                    <a:pt x="874392" y="944229"/>
                    <a:pt x="859547" y="931604"/>
                  </a:cubicBezTo>
                  <a:lnTo>
                    <a:pt x="859928" y="931224"/>
                  </a:lnTo>
                  <a:lnTo>
                    <a:pt x="806640" y="877684"/>
                  </a:lnTo>
                  <a:lnTo>
                    <a:pt x="799028" y="870089"/>
                  </a:lnTo>
                  <a:lnTo>
                    <a:pt x="442953" y="512111"/>
                  </a:lnTo>
                  <a:lnTo>
                    <a:pt x="491102" y="463602"/>
                  </a:lnTo>
                  <a:lnTo>
                    <a:pt x="967550" y="943944"/>
                  </a:lnTo>
                  <a:cubicBezTo>
                    <a:pt x="950326" y="951349"/>
                    <a:pt x="931010" y="954766"/>
                    <a:pt x="912549" y="953532"/>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5" name="Freeform 14">
              <a:extLst>
                <a:ext uri="{FF2B5EF4-FFF2-40B4-BE49-F238E27FC236}">
                  <a16:creationId xmlns:a16="http://schemas.microsoft.com/office/drawing/2014/main" id="{2AF09B77-B47E-D34D-8A63-4036476D7C1F}"/>
                </a:ext>
              </a:extLst>
            </p:cNvPr>
            <p:cNvSpPr/>
            <p:nvPr/>
          </p:nvSpPr>
          <p:spPr>
            <a:xfrm>
              <a:off x="8075370" y="-1393648"/>
              <a:ext cx="186076" cy="184922"/>
            </a:xfrm>
            <a:custGeom>
              <a:avLst/>
              <a:gdLst>
                <a:gd name="connsiteX0" fmla="*/ 143637 w 186076"/>
                <a:gd name="connsiteY0" fmla="*/ 87620 h 184922"/>
                <a:gd name="connsiteX1" fmla="*/ 142590 w 186076"/>
                <a:gd name="connsiteY1" fmla="*/ 87620 h 184922"/>
                <a:gd name="connsiteX2" fmla="*/ 142590 w 186076"/>
                <a:gd name="connsiteY2" fmla="*/ 87335 h 184922"/>
                <a:gd name="connsiteX3" fmla="*/ 142400 w 186076"/>
                <a:gd name="connsiteY3" fmla="*/ 87335 h 184922"/>
                <a:gd name="connsiteX4" fmla="*/ 140211 w 186076"/>
                <a:gd name="connsiteY4" fmla="*/ 85152 h 184922"/>
                <a:gd name="connsiteX5" fmla="*/ 142400 w 186076"/>
                <a:gd name="connsiteY5" fmla="*/ 83063 h 184922"/>
                <a:gd name="connsiteX6" fmla="*/ 147633 w 186076"/>
                <a:gd name="connsiteY6" fmla="*/ 83063 h 184922"/>
                <a:gd name="connsiteX7" fmla="*/ 178940 w 186076"/>
                <a:gd name="connsiteY7" fmla="*/ 48129 h 184922"/>
                <a:gd name="connsiteX8" fmla="*/ 178940 w 186076"/>
                <a:gd name="connsiteY8" fmla="*/ 35314 h 184922"/>
                <a:gd name="connsiteX9" fmla="*/ 143637 w 186076"/>
                <a:gd name="connsiteY9" fmla="*/ 95 h 184922"/>
                <a:gd name="connsiteX10" fmla="*/ 1854 w 186076"/>
                <a:gd name="connsiteY10" fmla="*/ 0 h 184922"/>
                <a:gd name="connsiteX11" fmla="*/ 141 w 186076"/>
                <a:gd name="connsiteY11" fmla="*/ 1709 h 184922"/>
                <a:gd name="connsiteX12" fmla="*/ 141 w 186076"/>
                <a:gd name="connsiteY12" fmla="*/ 23922 h 184922"/>
                <a:gd name="connsiteX13" fmla="*/ 807 w 186076"/>
                <a:gd name="connsiteY13" fmla="*/ 25916 h 184922"/>
                <a:gd name="connsiteX14" fmla="*/ 2996 w 186076"/>
                <a:gd name="connsiteY14" fmla="*/ 26390 h 184922"/>
                <a:gd name="connsiteX15" fmla="*/ 19933 w 186076"/>
                <a:gd name="connsiteY15" fmla="*/ 36833 h 184922"/>
                <a:gd name="connsiteX16" fmla="*/ 19933 w 186076"/>
                <a:gd name="connsiteY16" fmla="*/ 147330 h 184922"/>
                <a:gd name="connsiteX17" fmla="*/ 2615 w 186076"/>
                <a:gd name="connsiteY17" fmla="*/ 157867 h 184922"/>
                <a:gd name="connsiteX18" fmla="*/ 617 w 186076"/>
                <a:gd name="connsiteY18" fmla="*/ 159101 h 184922"/>
                <a:gd name="connsiteX19" fmla="*/ 46 w 186076"/>
                <a:gd name="connsiteY19" fmla="*/ 161570 h 184922"/>
                <a:gd name="connsiteX20" fmla="*/ 46 w 186076"/>
                <a:gd name="connsiteY20" fmla="*/ 183119 h 184922"/>
                <a:gd name="connsiteX21" fmla="*/ 1758 w 186076"/>
                <a:gd name="connsiteY21" fmla="*/ 184827 h 184922"/>
                <a:gd name="connsiteX22" fmla="*/ 19838 w 186076"/>
                <a:gd name="connsiteY22" fmla="*/ 184827 h 184922"/>
                <a:gd name="connsiteX23" fmla="*/ 21456 w 186076"/>
                <a:gd name="connsiteY23" fmla="*/ 184922 h 184922"/>
                <a:gd name="connsiteX24" fmla="*/ 143541 w 186076"/>
                <a:gd name="connsiteY24" fmla="*/ 184922 h 184922"/>
                <a:gd name="connsiteX25" fmla="*/ 186076 w 186076"/>
                <a:gd name="connsiteY25" fmla="*/ 141160 h 184922"/>
                <a:gd name="connsiteX26" fmla="*/ 186076 w 186076"/>
                <a:gd name="connsiteY26" fmla="*/ 122839 h 184922"/>
                <a:gd name="connsiteX27" fmla="*/ 143637 w 186076"/>
                <a:gd name="connsiteY27" fmla="*/ 87620 h 184922"/>
                <a:gd name="connsiteX28" fmla="*/ 137927 w 186076"/>
                <a:gd name="connsiteY28" fmla="*/ 130718 h 184922"/>
                <a:gd name="connsiteX29" fmla="*/ 111569 w 186076"/>
                <a:gd name="connsiteY29" fmla="*/ 154545 h 184922"/>
                <a:gd name="connsiteX30" fmla="*/ 70271 w 186076"/>
                <a:gd name="connsiteY30" fmla="*/ 154545 h 184922"/>
                <a:gd name="connsiteX31" fmla="*/ 68653 w 186076"/>
                <a:gd name="connsiteY31" fmla="*/ 154165 h 184922"/>
                <a:gd name="connsiteX32" fmla="*/ 67797 w 186076"/>
                <a:gd name="connsiteY32" fmla="*/ 152362 h 184922"/>
                <a:gd name="connsiteX33" fmla="*/ 67797 w 186076"/>
                <a:gd name="connsiteY33" fmla="*/ 33320 h 184922"/>
                <a:gd name="connsiteX34" fmla="*/ 68558 w 186076"/>
                <a:gd name="connsiteY34" fmla="*/ 30852 h 184922"/>
                <a:gd name="connsiteX35" fmla="*/ 70842 w 186076"/>
                <a:gd name="connsiteY35" fmla="*/ 30282 h 184922"/>
                <a:gd name="connsiteX36" fmla="*/ 111569 w 186076"/>
                <a:gd name="connsiteY36" fmla="*/ 30282 h 184922"/>
                <a:gd name="connsiteX37" fmla="*/ 129173 w 186076"/>
                <a:gd name="connsiteY37" fmla="*/ 46136 h 184922"/>
                <a:gd name="connsiteX38" fmla="*/ 129173 w 186076"/>
                <a:gd name="connsiteY38" fmla="*/ 56673 h 184922"/>
                <a:gd name="connsiteX39" fmla="*/ 111188 w 186076"/>
                <a:gd name="connsiteY39" fmla="*/ 74140 h 184922"/>
                <a:gd name="connsiteX40" fmla="*/ 92633 w 186076"/>
                <a:gd name="connsiteY40" fmla="*/ 74330 h 184922"/>
                <a:gd name="connsiteX41" fmla="*/ 86923 w 186076"/>
                <a:gd name="connsiteY41" fmla="*/ 80025 h 184922"/>
                <a:gd name="connsiteX42" fmla="*/ 86923 w 186076"/>
                <a:gd name="connsiteY42" fmla="*/ 99961 h 184922"/>
                <a:gd name="connsiteX43" fmla="*/ 92633 w 186076"/>
                <a:gd name="connsiteY43" fmla="*/ 105656 h 184922"/>
                <a:gd name="connsiteX44" fmla="*/ 113377 w 186076"/>
                <a:gd name="connsiteY44" fmla="*/ 105656 h 184922"/>
                <a:gd name="connsiteX45" fmla="*/ 137927 w 186076"/>
                <a:gd name="connsiteY45" fmla="*/ 122649 h 184922"/>
                <a:gd name="connsiteX46" fmla="*/ 137927 w 186076"/>
                <a:gd name="connsiteY46" fmla="*/ 130718 h 18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076" h="184922">
                  <a:moveTo>
                    <a:pt x="143637" y="87620"/>
                  </a:moveTo>
                  <a:lnTo>
                    <a:pt x="142590" y="87620"/>
                  </a:lnTo>
                  <a:lnTo>
                    <a:pt x="142590" y="87335"/>
                  </a:lnTo>
                  <a:lnTo>
                    <a:pt x="142400" y="87335"/>
                  </a:lnTo>
                  <a:cubicBezTo>
                    <a:pt x="141258" y="87335"/>
                    <a:pt x="140211" y="86386"/>
                    <a:pt x="140211" y="85152"/>
                  </a:cubicBezTo>
                  <a:cubicBezTo>
                    <a:pt x="140211" y="84012"/>
                    <a:pt x="141163" y="83063"/>
                    <a:pt x="142400" y="83063"/>
                  </a:cubicBezTo>
                  <a:lnTo>
                    <a:pt x="147633" y="83063"/>
                  </a:lnTo>
                  <a:cubicBezTo>
                    <a:pt x="165237" y="81070"/>
                    <a:pt x="178940" y="66166"/>
                    <a:pt x="178940" y="48129"/>
                  </a:cubicBezTo>
                  <a:lnTo>
                    <a:pt x="178940" y="35314"/>
                  </a:lnTo>
                  <a:cubicBezTo>
                    <a:pt x="178940" y="15853"/>
                    <a:pt x="163144" y="95"/>
                    <a:pt x="143637" y="95"/>
                  </a:cubicBezTo>
                  <a:lnTo>
                    <a:pt x="1854" y="0"/>
                  </a:lnTo>
                  <a:cubicBezTo>
                    <a:pt x="902" y="0"/>
                    <a:pt x="141" y="759"/>
                    <a:pt x="141" y="1709"/>
                  </a:cubicBezTo>
                  <a:cubicBezTo>
                    <a:pt x="141" y="1709"/>
                    <a:pt x="46" y="23922"/>
                    <a:pt x="141" y="23922"/>
                  </a:cubicBezTo>
                  <a:cubicBezTo>
                    <a:pt x="141" y="23922"/>
                    <a:pt x="-49" y="25156"/>
                    <a:pt x="807" y="25916"/>
                  </a:cubicBezTo>
                  <a:cubicBezTo>
                    <a:pt x="1283" y="26295"/>
                    <a:pt x="2996" y="26390"/>
                    <a:pt x="2996" y="26390"/>
                  </a:cubicBezTo>
                  <a:cubicBezTo>
                    <a:pt x="9561" y="27150"/>
                    <a:pt x="19933" y="32466"/>
                    <a:pt x="19933" y="36833"/>
                  </a:cubicBezTo>
                  <a:lnTo>
                    <a:pt x="19933" y="147330"/>
                  </a:lnTo>
                  <a:cubicBezTo>
                    <a:pt x="19743" y="152172"/>
                    <a:pt x="10418" y="156538"/>
                    <a:pt x="2615" y="157867"/>
                  </a:cubicBezTo>
                  <a:cubicBezTo>
                    <a:pt x="2615" y="157867"/>
                    <a:pt x="1473" y="158342"/>
                    <a:pt x="617" y="159101"/>
                  </a:cubicBezTo>
                  <a:cubicBezTo>
                    <a:pt x="-240" y="159956"/>
                    <a:pt x="46" y="161570"/>
                    <a:pt x="46" y="161570"/>
                  </a:cubicBezTo>
                  <a:cubicBezTo>
                    <a:pt x="-49" y="161570"/>
                    <a:pt x="46" y="183119"/>
                    <a:pt x="46" y="183119"/>
                  </a:cubicBezTo>
                  <a:cubicBezTo>
                    <a:pt x="46" y="184068"/>
                    <a:pt x="807" y="184827"/>
                    <a:pt x="1758" y="184827"/>
                  </a:cubicBezTo>
                  <a:lnTo>
                    <a:pt x="19838" y="184827"/>
                  </a:lnTo>
                  <a:cubicBezTo>
                    <a:pt x="20409" y="184827"/>
                    <a:pt x="20980" y="184922"/>
                    <a:pt x="21456" y="184922"/>
                  </a:cubicBezTo>
                  <a:lnTo>
                    <a:pt x="143541" y="184922"/>
                  </a:lnTo>
                  <a:cubicBezTo>
                    <a:pt x="168568" y="184922"/>
                    <a:pt x="186076" y="160620"/>
                    <a:pt x="186076" y="141160"/>
                  </a:cubicBezTo>
                  <a:lnTo>
                    <a:pt x="186076" y="122839"/>
                  </a:lnTo>
                  <a:cubicBezTo>
                    <a:pt x="186172" y="103378"/>
                    <a:pt x="175038" y="87620"/>
                    <a:pt x="143637" y="87620"/>
                  </a:cubicBezTo>
                  <a:close/>
                  <a:moveTo>
                    <a:pt x="137927" y="130718"/>
                  </a:moveTo>
                  <a:cubicBezTo>
                    <a:pt x="138118" y="149229"/>
                    <a:pt x="126889" y="154545"/>
                    <a:pt x="111569" y="154545"/>
                  </a:cubicBezTo>
                  <a:lnTo>
                    <a:pt x="70271" y="154545"/>
                  </a:lnTo>
                  <a:lnTo>
                    <a:pt x="68653" y="154165"/>
                  </a:lnTo>
                  <a:cubicBezTo>
                    <a:pt x="67797" y="153311"/>
                    <a:pt x="67797" y="152362"/>
                    <a:pt x="67797" y="152362"/>
                  </a:cubicBezTo>
                  <a:lnTo>
                    <a:pt x="67797" y="33320"/>
                  </a:lnTo>
                  <a:cubicBezTo>
                    <a:pt x="67797" y="33320"/>
                    <a:pt x="67797" y="31327"/>
                    <a:pt x="68558" y="30852"/>
                  </a:cubicBezTo>
                  <a:cubicBezTo>
                    <a:pt x="69224" y="30282"/>
                    <a:pt x="70842" y="30282"/>
                    <a:pt x="70842" y="30282"/>
                  </a:cubicBezTo>
                  <a:lnTo>
                    <a:pt x="111569" y="30282"/>
                  </a:lnTo>
                  <a:cubicBezTo>
                    <a:pt x="120323" y="30282"/>
                    <a:pt x="129173" y="37402"/>
                    <a:pt x="129173" y="46136"/>
                  </a:cubicBezTo>
                  <a:lnTo>
                    <a:pt x="129173" y="56673"/>
                  </a:lnTo>
                  <a:cubicBezTo>
                    <a:pt x="129363" y="61704"/>
                    <a:pt x="121560" y="74804"/>
                    <a:pt x="111188" y="74140"/>
                  </a:cubicBezTo>
                  <a:lnTo>
                    <a:pt x="92633" y="74330"/>
                  </a:lnTo>
                  <a:cubicBezTo>
                    <a:pt x="89493" y="74330"/>
                    <a:pt x="86923" y="76893"/>
                    <a:pt x="86923" y="80025"/>
                  </a:cubicBezTo>
                  <a:lnTo>
                    <a:pt x="86923" y="99961"/>
                  </a:lnTo>
                  <a:cubicBezTo>
                    <a:pt x="86923" y="103093"/>
                    <a:pt x="89493" y="105656"/>
                    <a:pt x="92633" y="105656"/>
                  </a:cubicBezTo>
                  <a:lnTo>
                    <a:pt x="113377" y="105656"/>
                  </a:lnTo>
                  <a:cubicBezTo>
                    <a:pt x="132884" y="106795"/>
                    <a:pt x="137737" y="117902"/>
                    <a:pt x="137927" y="122649"/>
                  </a:cubicBezTo>
                  <a:lnTo>
                    <a:pt x="137927" y="130718"/>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6" name="Freeform 15">
              <a:extLst>
                <a:ext uri="{FF2B5EF4-FFF2-40B4-BE49-F238E27FC236}">
                  <a16:creationId xmlns:a16="http://schemas.microsoft.com/office/drawing/2014/main" id="{7D03E44C-3669-414D-8005-3F3BAB68BE54}"/>
                </a:ext>
              </a:extLst>
            </p:cNvPr>
            <p:cNvSpPr/>
            <p:nvPr/>
          </p:nvSpPr>
          <p:spPr>
            <a:xfrm>
              <a:off x="10610239" y="-1393648"/>
              <a:ext cx="186078" cy="184922"/>
            </a:xfrm>
            <a:custGeom>
              <a:avLst/>
              <a:gdLst>
                <a:gd name="connsiteX0" fmla="*/ 143732 w 186078"/>
                <a:gd name="connsiteY0" fmla="*/ 87620 h 184922"/>
                <a:gd name="connsiteX1" fmla="*/ 142685 w 186078"/>
                <a:gd name="connsiteY1" fmla="*/ 87620 h 184922"/>
                <a:gd name="connsiteX2" fmla="*/ 142685 w 186078"/>
                <a:gd name="connsiteY2" fmla="*/ 87335 h 184922"/>
                <a:gd name="connsiteX3" fmla="*/ 142399 w 186078"/>
                <a:gd name="connsiteY3" fmla="*/ 87335 h 184922"/>
                <a:gd name="connsiteX4" fmla="*/ 140306 w 186078"/>
                <a:gd name="connsiteY4" fmla="*/ 85152 h 184922"/>
                <a:gd name="connsiteX5" fmla="*/ 142399 w 186078"/>
                <a:gd name="connsiteY5" fmla="*/ 83063 h 184922"/>
                <a:gd name="connsiteX6" fmla="*/ 147633 w 186078"/>
                <a:gd name="connsiteY6" fmla="*/ 83063 h 184922"/>
                <a:gd name="connsiteX7" fmla="*/ 178939 w 186078"/>
                <a:gd name="connsiteY7" fmla="*/ 48129 h 184922"/>
                <a:gd name="connsiteX8" fmla="*/ 178939 w 186078"/>
                <a:gd name="connsiteY8" fmla="*/ 35314 h 184922"/>
                <a:gd name="connsiteX9" fmla="*/ 143637 w 186078"/>
                <a:gd name="connsiteY9" fmla="*/ 95 h 184922"/>
                <a:gd name="connsiteX10" fmla="*/ 1854 w 186078"/>
                <a:gd name="connsiteY10" fmla="*/ 0 h 184922"/>
                <a:gd name="connsiteX11" fmla="*/ 141 w 186078"/>
                <a:gd name="connsiteY11" fmla="*/ 1709 h 184922"/>
                <a:gd name="connsiteX12" fmla="*/ 141 w 186078"/>
                <a:gd name="connsiteY12" fmla="*/ 23922 h 184922"/>
                <a:gd name="connsiteX13" fmla="*/ 902 w 186078"/>
                <a:gd name="connsiteY13" fmla="*/ 25916 h 184922"/>
                <a:gd name="connsiteX14" fmla="*/ 2995 w 186078"/>
                <a:gd name="connsiteY14" fmla="*/ 26390 h 184922"/>
                <a:gd name="connsiteX15" fmla="*/ 19933 w 186078"/>
                <a:gd name="connsiteY15" fmla="*/ 36833 h 184922"/>
                <a:gd name="connsiteX16" fmla="*/ 19933 w 186078"/>
                <a:gd name="connsiteY16" fmla="*/ 147330 h 184922"/>
                <a:gd name="connsiteX17" fmla="*/ 2615 w 186078"/>
                <a:gd name="connsiteY17" fmla="*/ 157867 h 184922"/>
                <a:gd name="connsiteX18" fmla="*/ 617 w 186078"/>
                <a:gd name="connsiteY18" fmla="*/ 159101 h 184922"/>
                <a:gd name="connsiteX19" fmla="*/ 46 w 186078"/>
                <a:gd name="connsiteY19" fmla="*/ 161570 h 184922"/>
                <a:gd name="connsiteX20" fmla="*/ 46 w 186078"/>
                <a:gd name="connsiteY20" fmla="*/ 183119 h 184922"/>
                <a:gd name="connsiteX21" fmla="*/ 1758 w 186078"/>
                <a:gd name="connsiteY21" fmla="*/ 184827 h 184922"/>
                <a:gd name="connsiteX22" fmla="*/ 19838 w 186078"/>
                <a:gd name="connsiteY22" fmla="*/ 184827 h 184922"/>
                <a:gd name="connsiteX23" fmla="*/ 21456 w 186078"/>
                <a:gd name="connsiteY23" fmla="*/ 184922 h 184922"/>
                <a:gd name="connsiteX24" fmla="*/ 143541 w 186078"/>
                <a:gd name="connsiteY24" fmla="*/ 184922 h 184922"/>
                <a:gd name="connsiteX25" fmla="*/ 186076 w 186078"/>
                <a:gd name="connsiteY25" fmla="*/ 141160 h 184922"/>
                <a:gd name="connsiteX26" fmla="*/ 186076 w 186078"/>
                <a:gd name="connsiteY26" fmla="*/ 122839 h 184922"/>
                <a:gd name="connsiteX27" fmla="*/ 143732 w 186078"/>
                <a:gd name="connsiteY27" fmla="*/ 87620 h 184922"/>
                <a:gd name="connsiteX28" fmla="*/ 138022 w 186078"/>
                <a:gd name="connsiteY28" fmla="*/ 130718 h 184922"/>
                <a:gd name="connsiteX29" fmla="*/ 111664 w 186078"/>
                <a:gd name="connsiteY29" fmla="*/ 154545 h 184922"/>
                <a:gd name="connsiteX30" fmla="*/ 70366 w 186078"/>
                <a:gd name="connsiteY30" fmla="*/ 154545 h 184922"/>
                <a:gd name="connsiteX31" fmla="*/ 68749 w 186078"/>
                <a:gd name="connsiteY31" fmla="*/ 154165 h 184922"/>
                <a:gd name="connsiteX32" fmla="*/ 67892 w 186078"/>
                <a:gd name="connsiteY32" fmla="*/ 152362 h 184922"/>
                <a:gd name="connsiteX33" fmla="*/ 67892 w 186078"/>
                <a:gd name="connsiteY33" fmla="*/ 33320 h 184922"/>
                <a:gd name="connsiteX34" fmla="*/ 68653 w 186078"/>
                <a:gd name="connsiteY34" fmla="*/ 30852 h 184922"/>
                <a:gd name="connsiteX35" fmla="*/ 70937 w 186078"/>
                <a:gd name="connsiteY35" fmla="*/ 30282 h 184922"/>
                <a:gd name="connsiteX36" fmla="*/ 111664 w 186078"/>
                <a:gd name="connsiteY36" fmla="*/ 30282 h 184922"/>
                <a:gd name="connsiteX37" fmla="*/ 129268 w 186078"/>
                <a:gd name="connsiteY37" fmla="*/ 46136 h 184922"/>
                <a:gd name="connsiteX38" fmla="*/ 129268 w 186078"/>
                <a:gd name="connsiteY38" fmla="*/ 56673 h 184922"/>
                <a:gd name="connsiteX39" fmla="*/ 111283 w 186078"/>
                <a:gd name="connsiteY39" fmla="*/ 74140 h 184922"/>
                <a:gd name="connsiteX40" fmla="*/ 92728 w 186078"/>
                <a:gd name="connsiteY40" fmla="*/ 74330 h 184922"/>
                <a:gd name="connsiteX41" fmla="*/ 87018 w 186078"/>
                <a:gd name="connsiteY41" fmla="*/ 80025 h 184922"/>
                <a:gd name="connsiteX42" fmla="*/ 87018 w 186078"/>
                <a:gd name="connsiteY42" fmla="*/ 99961 h 184922"/>
                <a:gd name="connsiteX43" fmla="*/ 92728 w 186078"/>
                <a:gd name="connsiteY43" fmla="*/ 105656 h 184922"/>
                <a:gd name="connsiteX44" fmla="*/ 113472 w 186078"/>
                <a:gd name="connsiteY44" fmla="*/ 105656 h 184922"/>
                <a:gd name="connsiteX45" fmla="*/ 138022 w 186078"/>
                <a:gd name="connsiteY45" fmla="*/ 122649 h 184922"/>
                <a:gd name="connsiteX46" fmla="*/ 138022 w 186078"/>
                <a:gd name="connsiteY46" fmla="*/ 130718 h 18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078" h="184922">
                  <a:moveTo>
                    <a:pt x="143732" y="87620"/>
                  </a:moveTo>
                  <a:lnTo>
                    <a:pt x="142685" y="87620"/>
                  </a:lnTo>
                  <a:lnTo>
                    <a:pt x="142685" y="87335"/>
                  </a:lnTo>
                  <a:lnTo>
                    <a:pt x="142399" y="87335"/>
                  </a:lnTo>
                  <a:cubicBezTo>
                    <a:pt x="141258" y="87335"/>
                    <a:pt x="140306" y="86386"/>
                    <a:pt x="140306" y="85152"/>
                  </a:cubicBezTo>
                  <a:cubicBezTo>
                    <a:pt x="140306" y="84012"/>
                    <a:pt x="141258" y="83063"/>
                    <a:pt x="142399" y="83063"/>
                  </a:cubicBezTo>
                  <a:lnTo>
                    <a:pt x="147633" y="83063"/>
                  </a:lnTo>
                  <a:cubicBezTo>
                    <a:pt x="165237" y="81070"/>
                    <a:pt x="178939" y="66166"/>
                    <a:pt x="178939" y="48129"/>
                  </a:cubicBezTo>
                  <a:lnTo>
                    <a:pt x="178939" y="35314"/>
                  </a:lnTo>
                  <a:cubicBezTo>
                    <a:pt x="178939" y="15853"/>
                    <a:pt x="163144" y="95"/>
                    <a:pt x="143637" y="95"/>
                  </a:cubicBezTo>
                  <a:lnTo>
                    <a:pt x="1854" y="0"/>
                  </a:lnTo>
                  <a:cubicBezTo>
                    <a:pt x="902" y="0"/>
                    <a:pt x="141" y="759"/>
                    <a:pt x="141" y="1709"/>
                  </a:cubicBezTo>
                  <a:cubicBezTo>
                    <a:pt x="141" y="1709"/>
                    <a:pt x="46" y="23922"/>
                    <a:pt x="141" y="23922"/>
                  </a:cubicBezTo>
                  <a:cubicBezTo>
                    <a:pt x="141" y="23922"/>
                    <a:pt x="-50" y="25156"/>
                    <a:pt x="902" y="25916"/>
                  </a:cubicBezTo>
                  <a:cubicBezTo>
                    <a:pt x="1378" y="26295"/>
                    <a:pt x="2995" y="26390"/>
                    <a:pt x="2995" y="26390"/>
                  </a:cubicBezTo>
                  <a:cubicBezTo>
                    <a:pt x="9561" y="27150"/>
                    <a:pt x="19933" y="32466"/>
                    <a:pt x="19933" y="36833"/>
                  </a:cubicBezTo>
                  <a:lnTo>
                    <a:pt x="19933" y="147330"/>
                  </a:lnTo>
                  <a:cubicBezTo>
                    <a:pt x="19743" y="152172"/>
                    <a:pt x="10418" y="156538"/>
                    <a:pt x="2615" y="157867"/>
                  </a:cubicBezTo>
                  <a:cubicBezTo>
                    <a:pt x="2615" y="157867"/>
                    <a:pt x="1473" y="158342"/>
                    <a:pt x="617" y="159101"/>
                  </a:cubicBezTo>
                  <a:cubicBezTo>
                    <a:pt x="-240" y="159956"/>
                    <a:pt x="46" y="161570"/>
                    <a:pt x="46" y="161570"/>
                  </a:cubicBezTo>
                  <a:cubicBezTo>
                    <a:pt x="-50" y="161570"/>
                    <a:pt x="46" y="183119"/>
                    <a:pt x="46" y="183119"/>
                  </a:cubicBezTo>
                  <a:cubicBezTo>
                    <a:pt x="46" y="184068"/>
                    <a:pt x="807" y="184827"/>
                    <a:pt x="1758" y="184827"/>
                  </a:cubicBezTo>
                  <a:lnTo>
                    <a:pt x="19838" y="184827"/>
                  </a:lnTo>
                  <a:cubicBezTo>
                    <a:pt x="20409" y="184827"/>
                    <a:pt x="20980" y="184922"/>
                    <a:pt x="21456" y="184922"/>
                  </a:cubicBezTo>
                  <a:lnTo>
                    <a:pt x="143541" y="184922"/>
                  </a:lnTo>
                  <a:cubicBezTo>
                    <a:pt x="168567" y="184922"/>
                    <a:pt x="186076" y="160620"/>
                    <a:pt x="186076" y="141160"/>
                  </a:cubicBezTo>
                  <a:lnTo>
                    <a:pt x="186076" y="122839"/>
                  </a:lnTo>
                  <a:cubicBezTo>
                    <a:pt x="186267" y="103378"/>
                    <a:pt x="175229" y="87620"/>
                    <a:pt x="143732" y="87620"/>
                  </a:cubicBezTo>
                  <a:close/>
                  <a:moveTo>
                    <a:pt x="138022" y="130718"/>
                  </a:moveTo>
                  <a:cubicBezTo>
                    <a:pt x="138213" y="149229"/>
                    <a:pt x="126984" y="154545"/>
                    <a:pt x="111664" y="154545"/>
                  </a:cubicBezTo>
                  <a:lnTo>
                    <a:pt x="70366" y="154545"/>
                  </a:lnTo>
                  <a:lnTo>
                    <a:pt x="68749" y="154165"/>
                  </a:lnTo>
                  <a:cubicBezTo>
                    <a:pt x="67892" y="153311"/>
                    <a:pt x="67892" y="152362"/>
                    <a:pt x="67892" y="152362"/>
                  </a:cubicBezTo>
                  <a:lnTo>
                    <a:pt x="67892" y="33320"/>
                  </a:lnTo>
                  <a:cubicBezTo>
                    <a:pt x="67892" y="33320"/>
                    <a:pt x="67892" y="31327"/>
                    <a:pt x="68653" y="30852"/>
                  </a:cubicBezTo>
                  <a:cubicBezTo>
                    <a:pt x="69319" y="30282"/>
                    <a:pt x="70937" y="30282"/>
                    <a:pt x="70937" y="30282"/>
                  </a:cubicBezTo>
                  <a:lnTo>
                    <a:pt x="111664" y="30282"/>
                  </a:lnTo>
                  <a:cubicBezTo>
                    <a:pt x="120418" y="30282"/>
                    <a:pt x="129268" y="37402"/>
                    <a:pt x="129268" y="46136"/>
                  </a:cubicBezTo>
                  <a:lnTo>
                    <a:pt x="129268" y="56673"/>
                  </a:lnTo>
                  <a:cubicBezTo>
                    <a:pt x="129458" y="61704"/>
                    <a:pt x="121655" y="74804"/>
                    <a:pt x="111283" y="74140"/>
                  </a:cubicBezTo>
                  <a:lnTo>
                    <a:pt x="92728" y="74330"/>
                  </a:lnTo>
                  <a:cubicBezTo>
                    <a:pt x="89588" y="74330"/>
                    <a:pt x="87018" y="76893"/>
                    <a:pt x="87018" y="80025"/>
                  </a:cubicBezTo>
                  <a:lnTo>
                    <a:pt x="87018" y="99961"/>
                  </a:lnTo>
                  <a:cubicBezTo>
                    <a:pt x="87018" y="103093"/>
                    <a:pt x="89588" y="105656"/>
                    <a:pt x="92728" y="105656"/>
                  </a:cubicBezTo>
                  <a:lnTo>
                    <a:pt x="113472" y="105656"/>
                  </a:lnTo>
                  <a:cubicBezTo>
                    <a:pt x="132979" y="106795"/>
                    <a:pt x="137832" y="117902"/>
                    <a:pt x="138022" y="122649"/>
                  </a:cubicBezTo>
                  <a:lnTo>
                    <a:pt x="138022" y="130718"/>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7" name="Freeform 16">
              <a:extLst>
                <a:ext uri="{FF2B5EF4-FFF2-40B4-BE49-F238E27FC236}">
                  <a16:creationId xmlns:a16="http://schemas.microsoft.com/office/drawing/2014/main" id="{39A25FBB-EB7E-D64C-B061-BD358DB5C920}"/>
                </a:ext>
              </a:extLst>
            </p:cNvPr>
            <p:cNvSpPr/>
            <p:nvPr/>
          </p:nvSpPr>
          <p:spPr>
            <a:xfrm>
              <a:off x="8462035" y="-1393850"/>
              <a:ext cx="184238" cy="185315"/>
            </a:xfrm>
            <a:custGeom>
              <a:avLst/>
              <a:gdLst>
                <a:gd name="connsiteX0" fmla="*/ 178513 w 184238"/>
                <a:gd name="connsiteY0" fmla="*/ 13 h 185315"/>
                <a:gd name="connsiteX1" fmla="*/ 121800 w 184238"/>
                <a:gd name="connsiteY1" fmla="*/ 13 h 185315"/>
                <a:gd name="connsiteX2" fmla="*/ 116091 w 184238"/>
                <a:gd name="connsiteY2" fmla="*/ 5709 h 185315"/>
                <a:gd name="connsiteX3" fmla="*/ 116091 w 184238"/>
                <a:gd name="connsiteY3" fmla="*/ 19094 h 185315"/>
                <a:gd name="connsiteX4" fmla="*/ 121229 w 184238"/>
                <a:gd name="connsiteY4" fmla="*/ 20803 h 185315"/>
                <a:gd name="connsiteX5" fmla="*/ 125892 w 184238"/>
                <a:gd name="connsiteY5" fmla="*/ 23650 h 185315"/>
                <a:gd name="connsiteX6" fmla="*/ 126748 w 184238"/>
                <a:gd name="connsiteY6" fmla="*/ 25834 h 185315"/>
                <a:gd name="connsiteX7" fmla="*/ 124465 w 184238"/>
                <a:gd name="connsiteY7" fmla="*/ 34188 h 185315"/>
                <a:gd name="connsiteX8" fmla="*/ 104957 w 184238"/>
                <a:gd name="connsiteY8" fmla="*/ 66274 h 185315"/>
                <a:gd name="connsiteX9" fmla="*/ 98487 w 184238"/>
                <a:gd name="connsiteY9" fmla="*/ 70546 h 185315"/>
                <a:gd name="connsiteX10" fmla="*/ 98011 w 184238"/>
                <a:gd name="connsiteY10" fmla="*/ 70546 h 185315"/>
                <a:gd name="connsiteX11" fmla="*/ 92587 w 184238"/>
                <a:gd name="connsiteY11" fmla="*/ 66559 h 185315"/>
                <a:gd name="connsiteX12" fmla="*/ 71272 w 184238"/>
                <a:gd name="connsiteY12" fmla="*/ 35707 h 185315"/>
                <a:gd name="connsiteX13" fmla="*/ 70891 w 184238"/>
                <a:gd name="connsiteY13" fmla="*/ 23366 h 185315"/>
                <a:gd name="connsiteX14" fmla="*/ 77648 w 184238"/>
                <a:gd name="connsiteY14" fmla="*/ 20233 h 185315"/>
                <a:gd name="connsiteX15" fmla="*/ 81359 w 184238"/>
                <a:gd name="connsiteY15" fmla="*/ 15676 h 185315"/>
                <a:gd name="connsiteX16" fmla="*/ 81359 w 184238"/>
                <a:gd name="connsiteY16" fmla="*/ 4570 h 185315"/>
                <a:gd name="connsiteX17" fmla="*/ 77552 w 184238"/>
                <a:gd name="connsiteY17" fmla="*/ 203 h 185315"/>
                <a:gd name="connsiteX18" fmla="*/ 5709 w 184238"/>
                <a:gd name="connsiteY18" fmla="*/ 203 h 185315"/>
                <a:gd name="connsiteX19" fmla="*/ 0 w 184238"/>
                <a:gd name="connsiteY19" fmla="*/ 3715 h 185315"/>
                <a:gd name="connsiteX20" fmla="*/ 0 w 184238"/>
                <a:gd name="connsiteY20" fmla="*/ 18239 h 185315"/>
                <a:gd name="connsiteX21" fmla="*/ 3235 w 184238"/>
                <a:gd name="connsiteY21" fmla="*/ 24790 h 185315"/>
                <a:gd name="connsiteX22" fmla="*/ 16367 w 184238"/>
                <a:gd name="connsiteY22" fmla="*/ 31340 h 185315"/>
                <a:gd name="connsiteX23" fmla="*/ 66895 w 184238"/>
                <a:gd name="connsiteY23" fmla="*/ 103391 h 185315"/>
                <a:gd name="connsiteX24" fmla="*/ 66895 w 184238"/>
                <a:gd name="connsiteY24" fmla="*/ 151995 h 185315"/>
                <a:gd name="connsiteX25" fmla="*/ 57094 w 184238"/>
                <a:gd name="connsiteY25" fmla="*/ 156741 h 185315"/>
                <a:gd name="connsiteX26" fmla="*/ 52336 w 184238"/>
                <a:gd name="connsiteY26" fmla="*/ 157691 h 185315"/>
                <a:gd name="connsiteX27" fmla="*/ 50718 w 184238"/>
                <a:gd name="connsiteY27" fmla="*/ 159115 h 185315"/>
                <a:gd name="connsiteX28" fmla="*/ 50623 w 184238"/>
                <a:gd name="connsiteY28" fmla="*/ 159115 h 185315"/>
                <a:gd name="connsiteX29" fmla="*/ 50623 w 184238"/>
                <a:gd name="connsiteY29" fmla="*/ 159399 h 185315"/>
                <a:gd name="connsiteX30" fmla="*/ 50623 w 184238"/>
                <a:gd name="connsiteY30" fmla="*/ 183606 h 185315"/>
                <a:gd name="connsiteX31" fmla="*/ 50623 w 184238"/>
                <a:gd name="connsiteY31" fmla="*/ 183891 h 185315"/>
                <a:gd name="connsiteX32" fmla="*/ 50718 w 184238"/>
                <a:gd name="connsiteY32" fmla="*/ 183891 h 185315"/>
                <a:gd name="connsiteX33" fmla="*/ 52336 w 184238"/>
                <a:gd name="connsiteY33" fmla="*/ 185315 h 185315"/>
                <a:gd name="connsiteX34" fmla="*/ 131506 w 184238"/>
                <a:gd name="connsiteY34" fmla="*/ 185315 h 185315"/>
                <a:gd name="connsiteX35" fmla="*/ 133124 w 184238"/>
                <a:gd name="connsiteY35" fmla="*/ 183891 h 185315"/>
                <a:gd name="connsiteX36" fmla="*/ 133219 w 184238"/>
                <a:gd name="connsiteY36" fmla="*/ 183891 h 185315"/>
                <a:gd name="connsiteX37" fmla="*/ 133219 w 184238"/>
                <a:gd name="connsiteY37" fmla="*/ 183606 h 185315"/>
                <a:gd name="connsiteX38" fmla="*/ 133219 w 184238"/>
                <a:gd name="connsiteY38" fmla="*/ 159399 h 185315"/>
                <a:gd name="connsiteX39" fmla="*/ 133219 w 184238"/>
                <a:gd name="connsiteY39" fmla="*/ 159115 h 185315"/>
                <a:gd name="connsiteX40" fmla="*/ 133124 w 184238"/>
                <a:gd name="connsiteY40" fmla="*/ 159115 h 185315"/>
                <a:gd name="connsiteX41" fmla="*/ 131506 w 184238"/>
                <a:gd name="connsiteY41" fmla="*/ 157691 h 185315"/>
                <a:gd name="connsiteX42" fmla="*/ 129508 w 184238"/>
                <a:gd name="connsiteY42" fmla="*/ 157691 h 185315"/>
                <a:gd name="connsiteX43" fmla="*/ 114663 w 184238"/>
                <a:gd name="connsiteY43" fmla="*/ 149906 h 185315"/>
                <a:gd name="connsiteX44" fmla="*/ 114663 w 184238"/>
                <a:gd name="connsiteY44" fmla="*/ 107758 h 185315"/>
                <a:gd name="connsiteX45" fmla="*/ 156056 w 184238"/>
                <a:gd name="connsiteY45" fmla="*/ 43870 h 185315"/>
                <a:gd name="connsiteX46" fmla="*/ 165572 w 184238"/>
                <a:gd name="connsiteY46" fmla="*/ 31530 h 185315"/>
                <a:gd name="connsiteX47" fmla="*/ 173280 w 184238"/>
                <a:gd name="connsiteY47" fmla="*/ 26308 h 185315"/>
                <a:gd name="connsiteX48" fmla="*/ 179560 w 184238"/>
                <a:gd name="connsiteY48" fmla="*/ 25359 h 185315"/>
                <a:gd name="connsiteX49" fmla="*/ 184223 w 184238"/>
                <a:gd name="connsiteY49" fmla="*/ 20613 h 185315"/>
                <a:gd name="connsiteX50" fmla="*/ 184223 w 184238"/>
                <a:gd name="connsiteY50" fmla="*/ 5899 h 185315"/>
                <a:gd name="connsiteX51" fmla="*/ 178513 w 184238"/>
                <a:gd name="connsiteY51" fmla="*/ 13 h 18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4238" h="185315">
                  <a:moveTo>
                    <a:pt x="178513" y="13"/>
                  </a:moveTo>
                  <a:lnTo>
                    <a:pt x="121800" y="13"/>
                  </a:lnTo>
                  <a:cubicBezTo>
                    <a:pt x="116757" y="-82"/>
                    <a:pt x="116186" y="203"/>
                    <a:pt x="116091" y="5709"/>
                  </a:cubicBezTo>
                  <a:lnTo>
                    <a:pt x="116091" y="19094"/>
                  </a:lnTo>
                  <a:cubicBezTo>
                    <a:pt x="116186" y="21942"/>
                    <a:pt x="121229" y="20803"/>
                    <a:pt x="121229" y="20803"/>
                  </a:cubicBezTo>
                  <a:cubicBezTo>
                    <a:pt x="121229" y="20803"/>
                    <a:pt x="124274" y="20992"/>
                    <a:pt x="125892" y="23650"/>
                  </a:cubicBezTo>
                  <a:cubicBezTo>
                    <a:pt x="126272" y="24220"/>
                    <a:pt x="126748" y="25834"/>
                    <a:pt x="126748" y="25834"/>
                  </a:cubicBezTo>
                  <a:cubicBezTo>
                    <a:pt x="126748" y="25834"/>
                    <a:pt x="126843" y="29916"/>
                    <a:pt x="124465" y="34188"/>
                  </a:cubicBezTo>
                  <a:cubicBezTo>
                    <a:pt x="121800" y="38934"/>
                    <a:pt x="110001" y="58489"/>
                    <a:pt x="104957" y="66274"/>
                  </a:cubicBezTo>
                  <a:cubicBezTo>
                    <a:pt x="104291" y="68742"/>
                    <a:pt x="101151" y="70546"/>
                    <a:pt x="98487" y="70546"/>
                  </a:cubicBezTo>
                  <a:lnTo>
                    <a:pt x="98011" y="70546"/>
                  </a:lnTo>
                  <a:cubicBezTo>
                    <a:pt x="95442" y="70546"/>
                    <a:pt x="93729" y="68552"/>
                    <a:pt x="92587" y="66559"/>
                  </a:cubicBezTo>
                  <a:lnTo>
                    <a:pt x="71272" y="35707"/>
                  </a:lnTo>
                  <a:cubicBezTo>
                    <a:pt x="71272" y="35707"/>
                    <a:pt x="67751" y="28966"/>
                    <a:pt x="70891" y="23366"/>
                  </a:cubicBezTo>
                  <a:cubicBezTo>
                    <a:pt x="72129" y="21182"/>
                    <a:pt x="76411" y="20233"/>
                    <a:pt x="77648" y="20233"/>
                  </a:cubicBezTo>
                  <a:cubicBezTo>
                    <a:pt x="80026" y="20233"/>
                    <a:pt x="81359" y="20043"/>
                    <a:pt x="81359" y="15676"/>
                  </a:cubicBezTo>
                  <a:cubicBezTo>
                    <a:pt x="81359" y="14442"/>
                    <a:pt x="81359" y="4570"/>
                    <a:pt x="81359" y="4570"/>
                  </a:cubicBezTo>
                  <a:cubicBezTo>
                    <a:pt x="81359" y="2671"/>
                    <a:pt x="80693" y="203"/>
                    <a:pt x="77552" y="203"/>
                  </a:cubicBezTo>
                  <a:lnTo>
                    <a:pt x="5709" y="203"/>
                  </a:lnTo>
                  <a:cubicBezTo>
                    <a:pt x="2569" y="203"/>
                    <a:pt x="0" y="583"/>
                    <a:pt x="0" y="3715"/>
                  </a:cubicBezTo>
                  <a:lnTo>
                    <a:pt x="0" y="18239"/>
                  </a:lnTo>
                  <a:cubicBezTo>
                    <a:pt x="190" y="23556"/>
                    <a:pt x="-666" y="24600"/>
                    <a:pt x="3235" y="24790"/>
                  </a:cubicBezTo>
                  <a:cubicBezTo>
                    <a:pt x="9801" y="25074"/>
                    <a:pt x="16367" y="31340"/>
                    <a:pt x="16367" y="31340"/>
                  </a:cubicBezTo>
                  <a:lnTo>
                    <a:pt x="66895" y="103391"/>
                  </a:lnTo>
                  <a:lnTo>
                    <a:pt x="66895" y="151995"/>
                  </a:lnTo>
                  <a:cubicBezTo>
                    <a:pt x="67085" y="154463"/>
                    <a:pt x="61186" y="156077"/>
                    <a:pt x="57094" y="156741"/>
                  </a:cubicBezTo>
                  <a:lnTo>
                    <a:pt x="52336" y="157691"/>
                  </a:lnTo>
                  <a:cubicBezTo>
                    <a:pt x="51480" y="157691"/>
                    <a:pt x="50813" y="158355"/>
                    <a:pt x="50718" y="159115"/>
                  </a:cubicBezTo>
                  <a:cubicBezTo>
                    <a:pt x="50718" y="159115"/>
                    <a:pt x="50718" y="159115"/>
                    <a:pt x="50623" y="159115"/>
                  </a:cubicBezTo>
                  <a:lnTo>
                    <a:pt x="50623" y="159399"/>
                  </a:lnTo>
                  <a:lnTo>
                    <a:pt x="50623" y="183606"/>
                  </a:lnTo>
                  <a:lnTo>
                    <a:pt x="50623" y="183891"/>
                  </a:lnTo>
                  <a:lnTo>
                    <a:pt x="50718" y="183891"/>
                  </a:lnTo>
                  <a:cubicBezTo>
                    <a:pt x="50813" y="184745"/>
                    <a:pt x="51480" y="185315"/>
                    <a:pt x="52336" y="185315"/>
                  </a:cubicBezTo>
                  <a:lnTo>
                    <a:pt x="131506" y="185315"/>
                  </a:lnTo>
                  <a:cubicBezTo>
                    <a:pt x="132362" y="185315"/>
                    <a:pt x="133029" y="184651"/>
                    <a:pt x="133124" y="183891"/>
                  </a:cubicBezTo>
                  <a:lnTo>
                    <a:pt x="133219" y="183891"/>
                  </a:lnTo>
                  <a:lnTo>
                    <a:pt x="133219" y="183606"/>
                  </a:lnTo>
                  <a:lnTo>
                    <a:pt x="133219" y="159399"/>
                  </a:lnTo>
                  <a:lnTo>
                    <a:pt x="133219" y="159115"/>
                  </a:lnTo>
                  <a:cubicBezTo>
                    <a:pt x="133219" y="159115"/>
                    <a:pt x="133219" y="159115"/>
                    <a:pt x="133124" y="159115"/>
                  </a:cubicBezTo>
                  <a:cubicBezTo>
                    <a:pt x="133029" y="158355"/>
                    <a:pt x="132362" y="157691"/>
                    <a:pt x="131506" y="157691"/>
                  </a:cubicBezTo>
                  <a:lnTo>
                    <a:pt x="129508" y="157691"/>
                  </a:lnTo>
                  <a:cubicBezTo>
                    <a:pt x="123323" y="156741"/>
                    <a:pt x="115044" y="152944"/>
                    <a:pt x="114663" y="149906"/>
                  </a:cubicBezTo>
                  <a:lnTo>
                    <a:pt x="114663" y="107758"/>
                  </a:lnTo>
                  <a:lnTo>
                    <a:pt x="156056" y="43870"/>
                  </a:lnTo>
                  <a:cubicBezTo>
                    <a:pt x="156056" y="43870"/>
                    <a:pt x="163288" y="34093"/>
                    <a:pt x="165572" y="31530"/>
                  </a:cubicBezTo>
                  <a:cubicBezTo>
                    <a:pt x="168141" y="28587"/>
                    <a:pt x="170901" y="27068"/>
                    <a:pt x="173280" y="26308"/>
                  </a:cubicBezTo>
                  <a:lnTo>
                    <a:pt x="179560" y="25359"/>
                  </a:lnTo>
                  <a:cubicBezTo>
                    <a:pt x="184318" y="25644"/>
                    <a:pt x="184223" y="23745"/>
                    <a:pt x="184223" y="20613"/>
                  </a:cubicBezTo>
                  <a:lnTo>
                    <a:pt x="184223" y="5899"/>
                  </a:lnTo>
                  <a:cubicBezTo>
                    <a:pt x="184413" y="488"/>
                    <a:pt x="182891" y="-82"/>
                    <a:pt x="178513" y="13"/>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8" name="Freeform 17">
              <a:extLst>
                <a:ext uri="{FF2B5EF4-FFF2-40B4-BE49-F238E27FC236}">
                  <a16:creationId xmlns:a16="http://schemas.microsoft.com/office/drawing/2014/main" id="{D0D09628-8FD4-704E-ADBE-8645FFF8EBA8}"/>
                </a:ext>
              </a:extLst>
            </p:cNvPr>
            <p:cNvSpPr/>
            <p:nvPr/>
          </p:nvSpPr>
          <p:spPr>
            <a:xfrm>
              <a:off x="10253829" y="-1393553"/>
              <a:ext cx="151203" cy="183783"/>
            </a:xfrm>
            <a:custGeom>
              <a:avLst/>
              <a:gdLst>
                <a:gd name="connsiteX0" fmla="*/ 150537 w 151203"/>
                <a:gd name="connsiteY0" fmla="*/ 155115 h 183783"/>
                <a:gd name="connsiteX1" fmla="*/ 150537 w 151203"/>
                <a:gd name="connsiteY1" fmla="*/ 116763 h 183783"/>
                <a:gd name="connsiteX2" fmla="*/ 144828 w 151203"/>
                <a:gd name="connsiteY2" fmla="*/ 111067 h 183783"/>
                <a:gd name="connsiteX3" fmla="*/ 130079 w 151203"/>
                <a:gd name="connsiteY3" fmla="*/ 111067 h 183783"/>
                <a:gd name="connsiteX4" fmla="*/ 124369 w 151203"/>
                <a:gd name="connsiteY4" fmla="*/ 116763 h 183783"/>
                <a:gd name="connsiteX5" fmla="*/ 124369 w 151203"/>
                <a:gd name="connsiteY5" fmla="*/ 124073 h 183783"/>
                <a:gd name="connsiteX6" fmla="*/ 121990 w 151203"/>
                <a:gd name="connsiteY6" fmla="*/ 133850 h 183783"/>
                <a:gd name="connsiteX7" fmla="*/ 104862 w 151203"/>
                <a:gd name="connsiteY7" fmla="*/ 149514 h 183783"/>
                <a:gd name="connsiteX8" fmla="*/ 83452 w 151203"/>
                <a:gd name="connsiteY8" fmla="*/ 151887 h 183783"/>
                <a:gd name="connsiteX9" fmla="*/ 83452 w 151203"/>
                <a:gd name="connsiteY9" fmla="*/ 151982 h 183783"/>
                <a:gd name="connsiteX10" fmla="*/ 63850 w 151203"/>
                <a:gd name="connsiteY10" fmla="*/ 151982 h 183783"/>
                <a:gd name="connsiteX11" fmla="*/ 60139 w 151203"/>
                <a:gd name="connsiteY11" fmla="*/ 147140 h 183783"/>
                <a:gd name="connsiteX12" fmla="*/ 60139 w 151203"/>
                <a:gd name="connsiteY12" fmla="*/ 36738 h 183783"/>
                <a:gd name="connsiteX13" fmla="*/ 78028 w 151203"/>
                <a:gd name="connsiteY13" fmla="*/ 26675 h 183783"/>
                <a:gd name="connsiteX14" fmla="*/ 79836 w 151203"/>
                <a:gd name="connsiteY14" fmla="*/ 25916 h 183783"/>
                <a:gd name="connsiteX15" fmla="*/ 80217 w 151203"/>
                <a:gd name="connsiteY15" fmla="*/ 24112 h 183783"/>
                <a:gd name="connsiteX16" fmla="*/ 80027 w 151203"/>
                <a:gd name="connsiteY16" fmla="*/ 1709 h 183783"/>
                <a:gd name="connsiteX17" fmla="*/ 78314 w 151203"/>
                <a:gd name="connsiteY17" fmla="*/ 0 h 183783"/>
                <a:gd name="connsiteX18" fmla="*/ 1903 w 151203"/>
                <a:gd name="connsiteY18" fmla="*/ 0 h 183783"/>
                <a:gd name="connsiteX19" fmla="*/ 190 w 151203"/>
                <a:gd name="connsiteY19" fmla="*/ 1709 h 183783"/>
                <a:gd name="connsiteX20" fmla="*/ 0 w 151203"/>
                <a:gd name="connsiteY20" fmla="*/ 24112 h 183783"/>
                <a:gd name="connsiteX21" fmla="*/ 381 w 151203"/>
                <a:gd name="connsiteY21" fmla="*/ 25916 h 183783"/>
                <a:gd name="connsiteX22" fmla="*/ 2189 w 151203"/>
                <a:gd name="connsiteY22" fmla="*/ 26675 h 183783"/>
                <a:gd name="connsiteX23" fmla="*/ 20078 w 151203"/>
                <a:gd name="connsiteY23" fmla="*/ 36738 h 183783"/>
                <a:gd name="connsiteX24" fmla="*/ 20078 w 151203"/>
                <a:gd name="connsiteY24" fmla="*/ 147140 h 183783"/>
                <a:gd name="connsiteX25" fmla="*/ 2189 w 151203"/>
                <a:gd name="connsiteY25" fmla="*/ 157203 h 183783"/>
                <a:gd name="connsiteX26" fmla="*/ 381 w 151203"/>
                <a:gd name="connsiteY26" fmla="*/ 157867 h 183783"/>
                <a:gd name="connsiteX27" fmla="*/ 0 w 151203"/>
                <a:gd name="connsiteY27" fmla="*/ 159671 h 183783"/>
                <a:gd name="connsiteX28" fmla="*/ 190 w 151203"/>
                <a:gd name="connsiteY28" fmla="*/ 182074 h 183783"/>
                <a:gd name="connsiteX29" fmla="*/ 1903 w 151203"/>
                <a:gd name="connsiteY29" fmla="*/ 183783 h 183783"/>
                <a:gd name="connsiteX30" fmla="*/ 63089 w 151203"/>
                <a:gd name="connsiteY30" fmla="*/ 183783 h 183783"/>
                <a:gd name="connsiteX31" fmla="*/ 63184 w 151203"/>
                <a:gd name="connsiteY31" fmla="*/ 183783 h 183783"/>
                <a:gd name="connsiteX32" fmla="*/ 145494 w 151203"/>
                <a:gd name="connsiteY32" fmla="*/ 183783 h 183783"/>
                <a:gd name="connsiteX33" fmla="*/ 151203 w 151203"/>
                <a:gd name="connsiteY33" fmla="*/ 178087 h 183783"/>
                <a:gd name="connsiteX34" fmla="*/ 151203 w 151203"/>
                <a:gd name="connsiteY34" fmla="*/ 157678 h 183783"/>
                <a:gd name="connsiteX35" fmla="*/ 150537 w 151203"/>
                <a:gd name="connsiteY35" fmla="*/ 155115 h 18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203" h="183783">
                  <a:moveTo>
                    <a:pt x="150537" y="155115"/>
                  </a:moveTo>
                  <a:lnTo>
                    <a:pt x="150537" y="116763"/>
                  </a:lnTo>
                  <a:cubicBezTo>
                    <a:pt x="150537" y="113630"/>
                    <a:pt x="147968" y="111067"/>
                    <a:pt x="144828" y="111067"/>
                  </a:cubicBezTo>
                  <a:lnTo>
                    <a:pt x="130079" y="111067"/>
                  </a:lnTo>
                  <a:cubicBezTo>
                    <a:pt x="126939" y="111067"/>
                    <a:pt x="124369" y="113630"/>
                    <a:pt x="124369" y="116763"/>
                  </a:cubicBezTo>
                  <a:lnTo>
                    <a:pt x="124369" y="124073"/>
                  </a:lnTo>
                  <a:cubicBezTo>
                    <a:pt x="124179" y="127395"/>
                    <a:pt x="123323" y="131097"/>
                    <a:pt x="121990" y="133850"/>
                  </a:cubicBezTo>
                  <a:cubicBezTo>
                    <a:pt x="118184" y="141445"/>
                    <a:pt x="108669" y="148090"/>
                    <a:pt x="104862" y="149514"/>
                  </a:cubicBezTo>
                  <a:cubicBezTo>
                    <a:pt x="95537" y="153026"/>
                    <a:pt x="83452" y="151887"/>
                    <a:pt x="83452" y="151887"/>
                  </a:cubicBezTo>
                  <a:lnTo>
                    <a:pt x="83452" y="151982"/>
                  </a:lnTo>
                  <a:lnTo>
                    <a:pt x="63850" y="151982"/>
                  </a:lnTo>
                  <a:cubicBezTo>
                    <a:pt x="61566" y="150463"/>
                    <a:pt x="60139" y="148849"/>
                    <a:pt x="60139" y="147140"/>
                  </a:cubicBezTo>
                  <a:lnTo>
                    <a:pt x="60139" y="36738"/>
                  </a:lnTo>
                  <a:cubicBezTo>
                    <a:pt x="60139" y="32371"/>
                    <a:pt x="70225" y="27909"/>
                    <a:pt x="78028" y="26675"/>
                  </a:cubicBezTo>
                  <a:cubicBezTo>
                    <a:pt x="78028" y="26675"/>
                    <a:pt x="79265" y="26675"/>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147140"/>
                  </a:lnTo>
                  <a:cubicBezTo>
                    <a:pt x="20078" y="151507"/>
                    <a:pt x="9991" y="155969"/>
                    <a:pt x="2189" y="157203"/>
                  </a:cubicBezTo>
                  <a:cubicBezTo>
                    <a:pt x="2189" y="157203"/>
                    <a:pt x="952" y="157108"/>
                    <a:pt x="381" y="157867"/>
                  </a:cubicBezTo>
                  <a:cubicBezTo>
                    <a:pt x="-190" y="158627"/>
                    <a:pt x="95" y="159671"/>
                    <a:pt x="0" y="159671"/>
                  </a:cubicBezTo>
                  <a:lnTo>
                    <a:pt x="190" y="182074"/>
                  </a:lnTo>
                  <a:cubicBezTo>
                    <a:pt x="190" y="183024"/>
                    <a:pt x="952" y="183783"/>
                    <a:pt x="1903" y="183783"/>
                  </a:cubicBezTo>
                  <a:lnTo>
                    <a:pt x="63089" y="183783"/>
                  </a:lnTo>
                  <a:cubicBezTo>
                    <a:pt x="63089" y="183783"/>
                    <a:pt x="63184" y="183783"/>
                    <a:pt x="63184" y="183783"/>
                  </a:cubicBezTo>
                  <a:lnTo>
                    <a:pt x="145494" y="183783"/>
                  </a:lnTo>
                  <a:cubicBezTo>
                    <a:pt x="148634" y="183783"/>
                    <a:pt x="151203" y="181220"/>
                    <a:pt x="151203" y="178087"/>
                  </a:cubicBezTo>
                  <a:lnTo>
                    <a:pt x="151203" y="157678"/>
                  </a:lnTo>
                  <a:cubicBezTo>
                    <a:pt x="151203" y="156728"/>
                    <a:pt x="150918" y="155874"/>
                    <a:pt x="150537" y="15511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19" name="Freeform 18">
              <a:extLst>
                <a:ext uri="{FF2B5EF4-FFF2-40B4-BE49-F238E27FC236}">
                  <a16:creationId xmlns:a16="http://schemas.microsoft.com/office/drawing/2014/main" id="{75E3A93E-3DD2-5449-8673-7FCFEC5BF714}"/>
                </a:ext>
              </a:extLst>
            </p:cNvPr>
            <p:cNvSpPr/>
            <p:nvPr/>
          </p:nvSpPr>
          <p:spPr>
            <a:xfrm>
              <a:off x="9671473" y="-1393173"/>
              <a:ext cx="151203" cy="183403"/>
            </a:xfrm>
            <a:custGeom>
              <a:avLst/>
              <a:gdLst>
                <a:gd name="connsiteX0" fmla="*/ 150537 w 151203"/>
                <a:gd name="connsiteY0" fmla="*/ 154735 h 183403"/>
                <a:gd name="connsiteX1" fmla="*/ 150537 w 151203"/>
                <a:gd name="connsiteY1" fmla="*/ 116383 h 183403"/>
                <a:gd name="connsiteX2" fmla="*/ 144828 w 151203"/>
                <a:gd name="connsiteY2" fmla="*/ 110688 h 183403"/>
                <a:gd name="connsiteX3" fmla="*/ 130079 w 151203"/>
                <a:gd name="connsiteY3" fmla="*/ 110688 h 183403"/>
                <a:gd name="connsiteX4" fmla="*/ 124369 w 151203"/>
                <a:gd name="connsiteY4" fmla="*/ 116383 h 183403"/>
                <a:gd name="connsiteX5" fmla="*/ 124369 w 151203"/>
                <a:gd name="connsiteY5" fmla="*/ 123693 h 183403"/>
                <a:gd name="connsiteX6" fmla="*/ 121991 w 151203"/>
                <a:gd name="connsiteY6" fmla="*/ 133471 h 183403"/>
                <a:gd name="connsiteX7" fmla="*/ 104862 w 151203"/>
                <a:gd name="connsiteY7" fmla="*/ 149134 h 183403"/>
                <a:gd name="connsiteX8" fmla="*/ 83452 w 151203"/>
                <a:gd name="connsiteY8" fmla="*/ 151507 h 183403"/>
                <a:gd name="connsiteX9" fmla="*/ 83452 w 151203"/>
                <a:gd name="connsiteY9" fmla="*/ 151602 h 183403"/>
                <a:gd name="connsiteX10" fmla="*/ 63850 w 151203"/>
                <a:gd name="connsiteY10" fmla="*/ 151602 h 183403"/>
                <a:gd name="connsiteX11" fmla="*/ 60139 w 151203"/>
                <a:gd name="connsiteY11" fmla="*/ 146761 h 183403"/>
                <a:gd name="connsiteX12" fmla="*/ 60139 w 151203"/>
                <a:gd name="connsiteY12" fmla="*/ 36738 h 183403"/>
                <a:gd name="connsiteX13" fmla="*/ 78028 w 151203"/>
                <a:gd name="connsiteY13" fmla="*/ 26675 h 183403"/>
                <a:gd name="connsiteX14" fmla="*/ 79836 w 151203"/>
                <a:gd name="connsiteY14" fmla="*/ 25916 h 183403"/>
                <a:gd name="connsiteX15" fmla="*/ 80217 w 151203"/>
                <a:gd name="connsiteY15" fmla="*/ 24112 h 183403"/>
                <a:gd name="connsiteX16" fmla="*/ 80027 w 151203"/>
                <a:gd name="connsiteY16" fmla="*/ 1709 h 183403"/>
                <a:gd name="connsiteX17" fmla="*/ 78314 w 151203"/>
                <a:gd name="connsiteY17" fmla="*/ 0 h 183403"/>
                <a:gd name="connsiteX18" fmla="*/ 1903 w 151203"/>
                <a:gd name="connsiteY18" fmla="*/ 0 h 183403"/>
                <a:gd name="connsiteX19" fmla="*/ 190 w 151203"/>
                <a:gd name="connsiteY19" fmla="*/ 1709 h 183403"/>
                <a:gd name="connsiteX20" fmla="*/ 0 w 151203"/>
                <a:gd name="connsiteY20" fmla="*/ 24112 h 183403"/>
                <a:gd name="connsiteX21" fmla="*/ 381 w 151203"/>
                <a:gd name="connsiteY21" fmla="*/ 25916 h 183403"/>
                <a:gd name="connsiteX22" fmla="*/ 2189 w 151203"/>
                <a:gd name="connsiteY22" fmla="*/ 26675 h 183403"/>
                <a:gd name="connsiteX23" fmla="*/ 20078 w 151203"/>
                <a:gd name="connsiteY23" fmla="*/ 36738 h 183403"/>
                <a:gd name="connsiteX24" fmla="*/ 20078 w 151203"/>
                <a:gd name="connsiteY24" fmla="*/ 146761 h 183403"/>
                <a:gd name="connsiteX25" fmla="*/ 2189 w 151203"/>
                <a:gd name="connsiteY25" fmla="*/ 156823 h 183403"/>
                <a:gd name="connsiteX26" fmla="*/ 381 w 151203"/>
                <a:gd name="connsiteY26" fmla="*/ 157488 h 183403"/>
                <a:gd name="connsiteX27" fmla="*/ 0 w 151203"/>
                <a:gd name="connsiteY27" fmla="*/ 159291 h 183403"/>
                <a:gd name="connsiteX28" fmla="*/ 190 w 151203"/>
                <a:gd name="connsiteY28" fmla="*/ 181695 h 183403"/>
                <a:gd name="connsiteX29" fmla="*/ 1903 w 151203"/>
                <a:gd name="connsiteY29" fmla="*/ 183403 h 183403"/>
                <a:gd name="connsiteX30" fmla="*/ 63089 w 151203"/>
                <a:gd name="connsiteY30" fmla="*/ 183403 h 183403"/>
                <a:gd name="connsiteX31" fmla="*/ 63184 w 151203"/>
                <a:gd name="connsiteY31" fmla="*/ 183403 h 183403"/>
                <a:gd name="connsiteX32" fmla="*/ 145494 w 151203"/>
                <a:gd name="connsiteY32" fmla="*/ 183403 h 183403"/>
                <a:gd name="connsiteX33" fmla="*/ 151203 w 151203"/>
                <a:gd name="connsiteY33" fmla="*/ 177708 h 183403"/>
                <a:gd name="connsiteX34" fmla="*/ 151203 w 151203"/>
                <a:gd name="connsiteY34" fmla="*/ 157298 h 183403"/>
                <a:gd name="connsiteX35" fmla="*/ 150537 w 151203"/>
                <a:gd name="connsiteY35" fmla="*/ 154735 h 18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203" h="183403">
                  <a:moveTo>
                    <a:pt x="150537" y="154735"/>
                  </a:moveTo>
                  <a:lnTo>
                    <a:pt x="150537" y="116383"/>
                  </a:lnTo>
                  <a:cubicBezTo>
                    <a:pt x="150537" y="113251"/>
                    <a:pt x="147968" y="110688"/>
                    <a:pt x="144828" y="110688"/>
                  </a:cubicBezTo>
                  <a:lnTo>
                    <a:pt x="130079" y="110688"/>
                  </a:lnTo>
                  <a:cubicBezTo>
                    <a:pt x="126939" y="110688"/>
                    <a:pt x="124369" y="113251"/>
                    <a:pt x="124369" y="116383"/>
                  </a:cubicBezTo>
                  <a:lnTo>
                    <a:pt x="124369" y="123693"/>
                  </a:lnTo>
                  <a:cubicBezTo>
                    <a:pt x="124179" y="127015"/>
                    <a:pt x="123323" y="130718"/>
                    <a:pt x="121991" y="133471"/>
                  </a:cubicBezTo>
                  <a:cubicBezTo>
                    <a:pt x="118184" y="141065"/>
                    <a:pt x="108669" y="147710"/>
                    <a:pt x="104862" y="149134"/>
                  </a:cubicBezTo>
                  <a:cubicBezTo>
                    <a:pt x="95537" y="152646"/>
                    <a:pt x="83452" y="151507"/>
                    <a:pt x="83452" y="151507"/>
                  </a:cubicBezTo>
                  <a:lnTo>
                    <a:pt x="83452" y="151602"/>
                  </a:lnTo>
                  <a:lnTo>
                    <a:pt x="63850" y="151602"/>
                  </a:lnTo>
                  <a:cubicBezTo>
                    <a:pt x="61566" y="150083"/>
                    <a:pt x="60139" y="148469"/>
                    <a:pt x="60139" y="146761"/>
                  </a:cubicBezTo>
                  <a:lnTo>
                    <a:pt x="60139" y="36738"/>
                  </a:lnTo>
                  <a:cubicBezTo>
                    <a:pt x="60139" y="32371"/>
                    <a:pt x="70225" y="28004"/>
                    <a:pt x="78028" y="26675"/>
                  </a:cubicBezTo>
                  <a:cubicBezTo>
                    <a:pt x="78028" y="26675"/>
                    <a:pt x="79265" y="26770"/>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146761"/>
                  </a:lnTo>
                  <a:cubicBezTo>
                    <a:pt x="20078" y="151127"/>
                    <a:pt x="9991" y="155589"/>
                    <a:pt x="2189" y="156823"/>
                  </a:cubicBezTo>
                  <a:cubicBezTo>
                    <a:pt x="2189" y="156823"/>
                    <a:pt x="952" y="156728"/>
                    <a:pt x="381" y="157488"/>
                  </a:cubicBezTo>
                  <a:cubicBezTo>
                    <a:pt x="-190" y="158247"/>
                    <a:pt x="95" y="159291"/>
                    <a:pt x="0" y="159291"/>
                  </a:cubicBezTo>
                  <a:lnTo>
                    <a:pt x="190" y="181695"/>
                  </a:lnTo>
                  <a:cubicBezTo>
                    <a:pt x="190" y="182644"/>
                    <a:pt x="952" y="183403"/>
                    <a:pt x="1903" y="183403"/>
                  </a:cubicBezTo>
                  <a:lnTo>
                    <a:pt x="63089" y="183403"/>
                  </a:lnTo>
                  <a:cubicBezTo>
                    <a:pt x="63089" y="183403"/>
                    <a:pt x="63184" y="183403"/>
                    <a:pt x="63184" y="183403"/>
                  </a:cubicBezTo>
                  <a:lnTo>
                    <a:pt x="145494" y="183403"/>
                  </a:lnTo>
                  <a:cubicBezTo>
                    <a:pt x="148634" y="183403"/>
                    <a:pt x="151203" y="180840"/>
                    <a:pt x="151203" y="177708"/>
                  </a:cubicBezTo>
                  <a:lnTo>
                    <a:pt x="151203" y="157298"/>
                  </a:lnTo>
                  <a:cubicBezTo>
                    <a:pt x="151108" y="156349"/>
                    <a:pt x="150918" y="155494"/>
                    <a:pt x="150537" y="15473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0" name="Freeform 19">
              <a:extLst>
                <a:ext uri="{FF2B5EF4-FFF2-40B4-BE49-F238E27FC236}">
                  <a16:creationId xmlns:a16="http://schemas.microsoft.com/office/drawing/2014/main" id="{1B81F822-23C9-8F4A-91D7-2E619B0EC39C}"/>
                </a:ext>
              </a:extLst>
            </p:cNvPr>
            <p:cNvSpPr/>
            <p:nvPr/>
          </p:nvSpPr>
          <p:spPr>
            <a:xfrm>
              <a:off x="10395041" y="-1393553"/>
              <a:ext cx="207155" cy="186726"/>
            </a:xfrm>
            <a:custGeom>
              <a:avLst/>
              <a:gdLst>
                <a:gd name="connsiteX0" fmla="*/ 103340 w 207155"/>
                <a:gd name="connsiteY0" fmla="*/ 154165 h 186726"/>
                <a:gd name="connsiteX1" fmla="*/ 84499 w 207155"/>
                <a:gd name="connsiteY1" fmla="*/ 153311 h 186726"/>
                <a:gd name="connsiteX2" fmla="*/ 69083 w 207155"/>
                <a:gd name="connsiteY2" fmla="*/ 143818 h 186726"/>
                <a:gd name="connsiteX3" fmla="*/ 67466 w 207155"/>
                <a:gd name="connsiteY3" fmla="*/ 118946 h 186726"/>
                <a:gd name="connsiteX4" fmla="*/ 67466 w 207155"/>
                <a:gd name="connsiteY4" fmla="*/ 36738 h 186726"/>
                <a:gd name="connsiteX5" fmla="*/ 85355 w 207155"/>
                <a:gd name="connsiteY5" fmla="*/ 26675 h 186726"/>
                <a:gd name="connsiteX6" fmla="*/ 87163 w 207155"/>
                <a:gd name="connsiteY6" fmla="*/ 25916 h 186726"/>
                <a:gd name="connsiteX7" fmla="*/ 87544 w 207155"/>
                <a:gd name="connsiteY7" fmla="*/ 24112 h 186726"/>
                <a:gd name="connsiteX8" fmla="*/ 87353 w 207155"/>
                <a:gd name="connsiteY8" fmla="*/ 1709 h 186726"/>
                <a:gd name="connsiteX9" fmla="*/ 85641 w 207155"/>
                <a:gd name="connsiteY9" fmla="*/ 0 h 186726"/>
                <a:gd name="connsiteX10" fmla="*/ 1903 w 207155"/>
                <a:gd name="connsiteY10" fmla="*/ 0 h 186726"/>
                <a:gd name="connsiteX11" fmla="*/ 190 w 207155"/>
                <a:gd name="connsiteY11" fmla="*/ 1709 h 186726"/>
                <a:gd name="connsiteX12" fmla="*/ 0 w 207155"/>
                <a:gd name="connsiteY12" fmla="*/ 24112 h 186726"/>
                <a:gd name="connsiteX13" fmla="*/ 380 w 207155"/>
                <a:gd name="connsiteY13" fmla="*/ 25916 h 186726"/>
                <a:gd name="connsiteX14" fmla="*/ 2188 w 207155"/>
                <a:gd name="connsiteY14" fmla="*/ 26675 h 186726"/>
                <a:gd name="connsiteX15" fmla="*/ 20078 w 207155"/>
                <a:gd name="connsiteY15" fmla="*/ 36738 h 186726"/>
                <a:gd name="connsiteX16" fmla="*/ 20078 w 207155"/>
                <a:gd name="connsiteY16" fmla="*/ 114770 h 186726"/>
                <a:gd name="connsiteX17" fmla="*/ 19983 w 207155"/>
                <a:gd name="connsiteY17" fmla="*/ 114865 h 186726"/>
                <a:gd name="connsiteX18" fmla="*/ 19983 w 207155"/>
                <a:gd name="connsiteY18" fmla="*/ 131002 h 186726"/>
                <a:gd name="connsiteX19" fmla="*/ 23884 w 207155"/>
                <a:gd name="connsiteY19" fmla="*/ 161000 h 186726"/>
                <a:gd name="connsiteX20" fmla="*/ 97821 w 207155"/>
                <a:gd name="connsiteY20" fmla="*/ 186726 h 186726"/>
                <a:gd name="connsiteX21" fmla="*/ 107051 w 207155"/>
                <a:gd name="connsiteY21" fmla="*/ 186726 h 186726"/>
                <a:gd name="connsiteX22" fmla="*/ 183271 w 207155"/>
                <a:gd name="connsiteY22" fmla="*/ 161000 h 186726"/>
                <a:gd name="connsiteX23" fmla="*/ 187172 w 207155"/>
                <a:gd name="connsiteY23" fmla="*/ 131002 h 186726"/>
                <a:gd name="connsiteX24" fmla="*/ 187172 w 207155"/>
                <a:gd name="connsiteY24" fmla="*/ 114865 h 186726"/>
                <a:gd name="connsiteX25" fmla="*/ 187077 w 207155"/>
                <a:gd name="connsiteY25" fmla="*/ 114770 h 186726"/>
                <a:gd name="connsiteX26" fmla="*/ 187077 w 207155"/>
                <a:gd name="connsiteY26" fmla="*/ 36738 h 186726"/>
                <a:gd name="connsiteX27" fmla="*/ 204967 w 207155"/>
                <a:gd name="connsiteY27" fmla="*/ 26675 h 186726"/>
                <a:gd name="connsiteX28" fmla="*/ 206775 w 207155"/>
                <a:gd name="connsiteY28" fmla="*/ 25916 h 186726"/>
                <a:gd name="connsiteX29" fmla="*/ 207155 w 207155"/>
                <a:gd name="connsiteY29" fmla="*/ 24112 h 186726"/>
                <a:gd name="connsiteX30" fmla="*/ 206965 w 207155"/>
                <a:gd name="connsiteY30" fmla="*/ 1709 h 186726"/>
                <a:gd name="connsiteX31" fmla="*/ 205252 w 207155"/>
                <a:gd name="connsiteY31" fmla="*/ 0 h 186726"/>
                <a:gd name="connsiteX32" fmla="*/ 121515 w 207155"/>
                <a:gd name="connsiteY32" fmla="*/ 0 h 186726"/>
                <a:gd name="connsiteX33" fmla="*/ 119802 w 207155"/>
                <a:gd name="connsiteY33" fmla="*/ 1709 h 186726"/>
                <a:gd name="connsiteX34" fmla="*/ 119611 w 207155"/>
                <a:gd name="connsiteY34" fmla="*/ 24112 h 186726"/>
                <a:gd name="connsiteX35" fmla="*/ 119992 w 207155"/>
                <a:gd name="connsiteY35" fmla="*/ 25916 h 186726"/>
                <a:gd name="connsiteX36" fmla="*/ 121800 w 207155"/>
                <a:gd name="connsiteY36" fmla="*/ 26675 h 186726"/>
                <a:gd name="connsiteX37" fmla="*/ 139689 w 207155"/>
                <a:gd name="connsiteY37" fmla="*/ 36738 h 186726"/>
                <a:gd name="connsiteX38" fmla="*/ 139689 w 207155"/>
                <a:gd name="connsiteY38" fmla="*/ 118946 h 186726"/>
                <a:gd name="connsiteX39" fmla="*/ 138072 w 207155"/>
                <a:gd name="connsiteY39" fmla="*/ 143818 h 186726"/>
                <a:gd name="connsiteX40" fmla="*/ 122656 w 207155"/>
                <a:gd name="connsiteY40" fmla="*/ 153311 h 186726"/>
                <a:gd name="connsiteX41" fmla="*/ 103340 w 207155"/>
                <a:gd name="connsiteY41" fmla="*/ 154165 h 18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7155" h="186726">
                  <a:moveTo>
                    <a:pt x="103340" y="154165"/>
                  </a:moveTo>
                  <a:cubicBezTo>
                    <a:pt x="98201" y="154070"/>
                    <a:pt x="87734" y="153880"/>
                    <a:pt x="84499" y="153311"/>
                  </a:cubicBezTo>
                  <a:cubicBezTo>
                    <a:pt x="79075" y="152362"/>
                    <a:pt x="72414" y="149514"/>
                    <a:pt x="69083" y="143818"/>
                  </a:cubicBezTo>
                  <a:cubicBezTo>
                    <a:pt x="66419" y="139356"/>
                    <a:pt x="67751" y="124073"/>
                    <a:pt x="67466" y="118946"/>
                  </a:cubicBezTo>
                  <a:lnTo>
                    <a:pt x="67466" y="36738"/>
                  </a:lnTo>
                  <a:cubicBezTo>
                    <a:pt x="67466" y="32371"/>
                    <a:pt x="77552" y="27909"/>
                    <a:pt x="85355" y="26675"/>
                  </a:cubicBezTo>
                  <a:cubicBezTo>
                    <a:pt x="85355" y="26675"/>
                    <a:pt x="86592" y="26675"/>
                    <a:pt x="87163" y="25916"/>
                  </a:cubicBezTo>
                  <a:cubicBezTo>
                    <a:pt x="87734" y="25156"/>
                    <a:pt x="87449" y="24112"/>
                    <a:pt x="87544" y="24112"/>
                  </a:cubicBezTo>
                  <a:lnTo>
                    <a:pt x="87353" y="1709"/>
                  </a:lnTo>
                  <a:cubicBezTo>
                    <a:pt x="87353" y="759"/>
                    <a:pt x="86592" y="0"/>
                    <a:pt x="85641" y="0"/>
                  </a:cubicBezTo>
                  <a:lnTo>
                    <a:pt x="1903" y="0"/>
                  </a:lnTo>
                  <a:cubicBezTo>
                    <a:pt x="952" y="0"/>
                    <a:pt x="190" y="759"/>
                    <a:pt x="190" y="1709"/>
                  </a:cubicBezTo>
                  <a:lnTo>
                    <a:pt x="0" y="24112"/>
                  </a:lnTo>
                  <a:cubicBezTo>
                    <a:pt x="95" y="24112"/>
                    <a:pt x="-190" y="25156"/>
                    <a:pt x="380" y="25916"/>
                  </a:cubicBezTo>
                  <a:cubicBezTo>
                    <a:pt x="952" y="26675"/>
                    <a:pt x="2188" y="26675"/>
                    <a:pt x="2188" y="26675"/>
                  </a:cubicBezTo>
                  <a:cubicBezTo>
                    <a:pt x="9896" y="27909"/>
                    <a:pt x="20078" y="32371"/>
                    <a:pt x="20078" y="36738"/>
                  </a:cubicBezTo>
                  <a:lnTo>
                    <a:pt x="20078" y="114770"/>
                  </a:lnTo>
                  <a:lnTo>
                    <a:pt x="19983" y="114865"/>
                  </a:lnTo>
                  <a:lnTo>
                    <a:pt x="19983" y="131002"/>
                  </a:lnTo>
                  <a:cubicBezTo>
                    <a:pt x="19983" y="131002"/>
                    <a:pt x="19697" y="154450"/>
                    <a:pt x="23884" y="161000"/>
                  </a:cubicBezTo>
                  <a:cubicBezTo>
                    <a:pt x="34351" y="177423"/>
                    <a:pt x="50243" y="186726"/>
                    <a:pt x="97821" y="186726"/>
                  </a:cubicBezTo>
                  <a:cubicBezTo>
                    <a:pt x="98201" y="186726"/>
                    <a:pt x="106670" y="186726"/>
                    <a:pt x="107051" y="186726"/>
                  </a:cubicBezTo>
                  <a:cubicBezTo>
                    <a:pt x="154629" y="186726"/>
                    <a:pt x="172804" y="177423"/>
                    <a:pt x="183271" y="161000"/>
                  </a:cubicBezTo>
                  <a:cubicBezTo>
                    <a:pt x="187458" y="154450"/>
                    <a:pt x="187172" y="131002"/>
                    <a:pt x="187172" y="131002"/>
                  </a:cubicBezTo>
                  <a:lnTo>
                    <a:pt x="187172" y="114865"/>
                  </a:lnTo>
                  <a:lnTo>
                    <a:pt x="187077" y="114770"/>
                  </a:lnTo>
                  <a:lnTo>
                    <a:pt x="187077" y="36738"/>
                  </a:lnTo>
                  <a:cubicBezTo>
                    <a:pt x="187077" y="32371"/>
                    <a:pt x="197164" y="27909"/>
                    <a:pt x="204967" y="26675"/>
                  </a:cubicBezTo>
                  <a:cubicBezTo>
                    <a:pt x="204967" y="26675"/>
                    <a:pt x="206204" y="26675"/>
                    <a:pt x="206775" y="25916"/>
                  </a:cubicBezTo>
                  <a:cubicBezTo>
                    <a:pt x="207345" y="25156"/>
                    <a:pt x="207060" y="24112"/>
                    <a:pt x="207155" y="24112"/>
                  </a:cubicBezTo>
                  <a:lnTo>
                    <a:pt x="206965" y="1709"/>
                  </a:lnTo>
                  <a:cubicBezTo>
                    <a:pt x="206965" y="759"/>
                    <a:pt x="206204" y="0"/>
                    <a:pt x="205252" y="0"/>
                  </a:cubicBezTo>
                  <a:lnTo>
                    <a:pt x="121515" y="0"/>
                  </a:lnTo>
                  <a:cubicBezTo>
                    <a:pt x="120563" y="0"/>
                    <a:pt x="119802" y="759"/>
                    <a:pt x="119802" y="1709"/>
                  </a:cubicBezTo>
                  <a:lnTo>
                    <a:pt x="119611" y="24112"/>
                  </a:lnTo>
                  <a:cubicBezTo>
                    <a:pt x="119707" y="24112"/>
                    <a:pt x="119421" y="25156"/>
                    <a:pt x="119992" y="25916"/>
                  </a:cubicBezTo>
                  <a:cubicBezTo>
                    <a:pt x="120563" y="26675"/>
                    <a:pt x="121800" y="26675"/>
                    <a:pt x="121800" y="26675"/>
                  </a:cubicBezTo>
                  <a:cubicBezTo>
                    <a:pt x="129508" y="27909"/>
                    <a:pt x="139689" y="32371"/>
                    <a:pt x="139689" y="36738"/>
                  </a:cubicBezTo>
                  <a:lnTo>
                    <a:pt x="139689" y="118946"/>
                  </a:lnTo>
                  <a:cubicBezTo>
                    <a:pt x="139404" y="124073"/>
                    <a:pt x="140736" y="139261"/>
                    <a:pt x="138072" y="143818"/>
                  </a:cubicBezTo>
                  <a:cubicBezTo>
                    <a:pt x="134741" y="149514"/>
                    <a:pt x="128080" y="152362"/>
                    <a:pt x="122656" y="153311"/>
                  </a:cubicBezTo>
                  <a:cubicBezTo>
                    <a:pt x="118945" y="153880"/>
                    <a:pt x="108478" y="154070"/>
                    <a:pt x="103340" y="154165"/>
                  </a:cubicBezTo>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1" name="Freeform 20">
              <a:extLst>
                <a:ext uri="{FF2B5EF4-FFF2-40B4-BE49-F238E27FC236}">
                  <a16:creationId xmlns:a16="http://schemas.microsoft.com/office/drawing/2014/main" id="{3A747DE8-2A78-3E4F-979B-D71DDE4B5289}"/>
                </a:ext>
              </a:extLst>
            </p:cNvPr>
            <p:cNvSpPr/>
            <p:nvPr/>
          </p:nvSpPr>
          <p:spPr>
            <a:xfrm>
              <a:off x="10071224" y="-1397359"/>
              <a:ext cx="171091" cy="192394"/>
            </a:xfrm>
            <a:custGeom>
              <a:avLst/>
              <a:gdLst>
                <a:gd name="connsiteX0" fmla="*/ 170901 w 171091"/>
                <a:gd name="connsiteY0" fmla="*/ 136233 h 192394"/>
                <a:gd name="connsiteX1" fmla="*/ 165191 w 171091"/>
                <a:gd name="connsiteY1" fmla="*/ 130537 h 192394"/>
                <a:gd name="connsiteX2" fmla="*/ 150442 w 171091"/>
                <a:gd name="connsiteY2" fmla="*/ 130537 h 192394"/>
                <a:gd name="connsiteX3" fmla="*/ 144733 w 171091"/>
                <a:gd name="connsiteY3" fmla="*/ 136233 h 192394"/>
                <a:gd name="connsiteX4" fmla="*/ 144733 w 171091"/>
                <a:gd name="connsiteY4" fmla="*/ 138226 h 192394"/>
                <a:gd name="connsiteX5" fmla="*/ 129032 w 171091"/>
                <a:gd name="connsiteY5" fmla="*/ 158067 h 192394"/>
                <a:gd name="connsiteX6" fmla="*/ 102864 w 171091"/>
                <a:gd name="connsiteY6" fmla="*/ 162338 h 192394"/>
                <a:gd name="connsiteX7" fmla="*/ 102293 w 171091"/>
                <a:gd name="connsiteY7" fmla="*/ 162338 h 192394"/>
                <a:gd name="connsiteX8" fmla="*/ 102198 w 171091"/>
                <a:gd name="connsiteY8" fmla="*/ 162338 h 192394"/>
                <a:gd name="connsiteX9" fmla="*/ 76030 w 171091"/>
                <a:gd name="connsiteY9" fmla="*/ 158067 h 192394"/>
                <a:gd name="connsiteX10" fmla="*/ 56904 w 171091"/>
                <a:gd name="connsiteY10" fmla="*/ 136613 h 192394"/>
                <a:gd name="connsiteX11" fmla="*/ 51575 w 171091"/>
                <a:gd name="connsiteY11" fmla="*/ 94274 h 192394"/>
                <a:gd name="connsiteX12" fmla="*/ 56904 w 171091"/>
                <a:gd name="connsiteY12" fmla="*/ 48708 h 192394"/>
                <a:gd name="connsiteX13" fmla="*/ 95061 w 171091"/>
                <a:gd name="connsiteY13" fmla="*/ 29153 h 192394"/>
                <a:gd name="connsiteX14" fmla="*/ 129698 w 171091"/>
                <a:gd name="connsiteY14" fmla="*/ 42633 h 192394"/>
                <a:gd name="connsiteX15" fmla="*/ 136074 w 171091"/>
                <a:gd name="connsiteY15" fmla="*/ 54594 h 192394"/>
                <a:gd name="connsiteX16" fmla="*/ 136074 w 171091"/>
                <a:gd name="connsiteY16" fmla="*/ 56587 h 192394"/>
                <a:gd name="connsiteX17" fmla="*/ 141783 w 171091"/>
                <a:gd name="connsiteY17" fmla="*/ 62283 h 192394"/>
                <a:gd name="connsiteX18" fmla="*/ 156532 w 171091"/>
                <a:gd name="connsiteY18" fmla="*/ 62283 h 192394"/>
                <a:gd name="connsiteX19" fmla="*/ 162242 w 171091"/>
                <a:gd name="connsiteY19" fmla="*/ 56587 h 192394"/>
                <a:gd name="connsiteX20" fmla="*/ 162717 w 171091"/>
                <a:gd name="connsiteY20" fmla="*/ 12445 h 192394"/>
                <a:gd name="connsiteX21" fmla="*/ 159577 w 171091"/>
                <a:gd name="connsiteY21" fmla="*/ 6085 h 192394"/>
                <a:gd name="connsiteX22" fmla="*/ 102483 w 171091"/>
                <a:gd name="connsiteY22" fmla="*/ 9 h 192394"/>
                <a:gd name="connsiteX23" fmla="*/ 36064 w 171091"/>
                <a:gd name="connsiteY23" fmla="*/ 14249 h 192394"/>
                <a:gd name="connsiteX24" fmla="*/ 0 w 171091"/>
                <a:gd name="connsiteY24" fmla="*/ 91521 h 192394"/>
                <a:gd name="connsiteX25" fmla="*/ 22838 w 171091"/>
                <a:gd name="connsiteY25" fmla="*/ 166990 h 192394"/>
                <a:gd name="connsiteX26" fmla="*/ 79646 w 171091"/>
                <a:gd name="connsiteY26" fmla="*/ 190722 h 192394"/>
                <a:gd name="connsiteX27" fmla="*/ 95537 w 171091"/>
                <a:gd name="connsiteY27" fmla="*/ 192051 h 192394"/>
                <a:gd name="connsiteX28" fmla="*/ 102008 w 171091"/>
                <a:gd name="connsiteY28" fmla="*/ 192336 h 192394"/>
                <a:gd name="connsiteX29" fmla="*/ 119136 w 171091"/>
                <a:gd name="connsiteY29" fmla="*/ 191672 h 192394"/>
                <a:gd name="connsiteX30" fmla="*/ 165382 w 171091"/>
                <a:gd name="connsiteY30" fmla="*/ 186261 h 192394"/>
                <a:gd name="connsiteX31" fmla="*/ 171091 w 171091"/>
                <a:gd name="connsiteY31" fmla="*/ 180565 h 192394"/>
                <a:gd name="connsiteX32" fmla="*/ 170901 w 171091"/>
                <a:gd name="connsiteY32" fmla="*/ 136233 h 19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1091" h="192394">
                  <a:moveTo>
                    <a:pt x="170901" y="136233"/>
                  </a:moveTo>
                  <a:cubicBezTo>
                    <a:pt x="170901" y="133100"/>
                    <a:pt x="168332" y="130537"/>
                    <a:pt x="165191" y="130537"/>
                  </a:cubicBezTo>
                  <a:lnTo>
                    <a:pt x="150442" y="130537"/>
                  </a:lnTo>
                  <a:cubicBezTo>
                    <a:pt x="147302" y="130537"/>
                    <a:pt x="144733" y="133100"/>
                    <a:pt x="144733" y="136233"/>
                  </a:cubicBezTo>
                  <a:lnTo>
                    <a:pt x="144733" y="138226"/>
                  </a:lnTo>
                  <a:cubicBezTo>
                    <a:pt x="144352" y="146390"/>
                    <a:pt x="134361" y="155978"/>
                    <a:pt x="129032" y="158067"/>
                  </a:cubicBezTo>
                  <a:cubicBezTo>
                    <a:pt x="119516" y="161864"/>
                    <a:pt x="116186" y="161864"/>
                    <a:pt x="102864" y="162338"/>
                  </a:cubicBezTo>
                  <a:cubicBezTo>
                    <a:pt x="102674" y="162338"/>
                    <a:pt x="102483" y="162338"/>
                    <a:pt x="102293" y="162338"/>
                  </a:cubicBezTo>
                  <a:lnTo>
                    <a:pt x="102198" y="162338"/>
                  </a:lnTo>
                  <a:cubicBezTo>
                    <a:pt x="88876" y="161864"/>
                    <a:pt x="85546" y="161864"/>
                    <a:pt x="76030" y="158067"/>
                  </a:cubicBezTo>
                  <a:cubicBezTo>
                    <a:pt x="70701" y="155978"/>
                    <a:pt x="60139" y="145156"/>
                    <a:pt x="56904" y="136613"/>
                  </a:cubicBezTo>
                  <a:cubicBezTo>
                    <a:pt x="54620" y="130062"/>
                    <a:pt x="51575" y="121614"/>
                    <a:pt x="51575" y="94274"/>
                  </a:cubicBezTo>
                  <a:cubicBezTo>
                    <a:pt x="51575" y="66839"/>
                    <a:pt x="53478" y="54119"/>
                    <a:pt x="56904" y="48708"/>
                  </a:cubicBezTo>
                  <a:cubicBezTo>
                    <a:pt x="62994" y="39120"/>
                    <a:pt x="72604" y="29153"/>
                    <a:pt x="95061" y="29153"/>
                  </a:cubicBezTo>
                  <a:cubicBezTo>
                    <a:pt x="117518" y="29153"/>
                    <a:pt x="125797" y="37316"/>
                    <a:pt x="129698" y="42633"/>
                  </a:cubicBezTo>
                  <a:cubicBezTo>
                    <a:pt x="129698" y="42633"/>
                    <a:pt x="135788" y="47664"/>
                    <a:pt x="136074" y="54594"/>
                  </a:cubicBezTo>
                  <a:lnTo>
                    <a:pt x="136074" y="56587"/>
                  </a:lnTo>
                  <a:cubicBezTo>
                    <a:pt x="136074" y="59720"/>
                    <a:pt x="138643" y="62283"/>
                    <a:pt x="141783" y="62283"/>
                  </a:cubicBezTo>
                  <a:lnTo>
                    <a:pt x="156532" y="62283"/>
                  </a:lnTo>
                  <a:cubicBezTo>
                    <a:pt x="159672" y="62283"/>
                    <a:pt x="162242" y="59720"/>
                    <a:pt x="162242" y="56587"/>
                  </a:cubicBezTo>
                  <a:lnTo>
                    <a:pt x="162717" y="12445"/>
                  </a:lnTo>
                  <a:cubicBezTo>
                    <a:pt x="162717" y="12445"/>
                    <a:pt x="163574" y="9217"/>
                    <a:pt x="159577" y="6085"/>
                  </a:cubicBezTo>
                  <a:cubicBezTo>
                    <a:pt x="159577" y="6085"/>
                    <a:pt x="138167" y="-275"/>
                    <a:pt x="102483" y="9"/>
                  </a:cubicBezTo>
                  <a:cubicBezTo>
                    <a:pt x="72890" y="294"/>
                    <a:pt x="48625" y="6370"/>
                    <a:pt x="36064" y="14249"/>
                  </a:cubicBezTo>
                  <a:cubicBezTo>
                    <a:pt x="23599" y="22128"/>
                    <a:pt x="0" y="44911"/>
                    <a:pt x="0" y="91521"/>
                  </a:cubicBezTo>
                  <a:cubicBezTo>
                    <a:pt x="0" y="138131"/>
                    <a:pt x="10372" y="155219"/>
                    <a:pt x="22838" y="166990"/>
                  </a:cubicBezTo>
                  <a:cubicBezTo>
                    <a:pt x="33115" y="176673"/>
                    <a:pt x="48530" y="186830"/>
                    <a:pt x="79646" y="190722"/>
                  </a:cubicBezTo>
                  <a:cubicBezTo>
                    <a:pt x="80597" y="191482"/>
                    <a:pt x="88971" y="192051"/>
                    <a:pt x="95537" y="192051"/>
                  </a:cubicBezTo>
                  <a:cubicBezTo>
                    <a:pt x="97631" y="192146"/>
                    <a:pt x="99819" y="192241"/>
                    <a:pt x="102008" y="192336"/>
                  </a:cubicBezTo>
                  <a:cubicBezTo>
                    <a:pt x="108573" y="192526"/>
                    <a:pt x="114188" y="192241"/>
                    <a:pt x="119136" y="191672"/>
                  </a:cubicBezTo>
                  <a:cubicBezTo>
                    <a:pt x="156627" y="190248"/>
                    <a:pt x="165382" y="186261"/>
                    <a:pt x="165382" y="186261"/>
                  </a:cubicBezTo>
                  <a:cubicBezTo>
                    <a:pt x="168522" y="186261"/>
                    <a:pt x="171091" y="183698"/>
                    <a:pt x="171091" y="180565"/>
                  </a:cubicBezTo>
                  <a:lnTo>
                    <a:pt x="170901" y="136233"/>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2" name="Freeform 21">
              <a:extLst>
                <a:ext uri="{FF2B5EF4-FFF2-40B4-BE49-F238E27FC236}">
                  <a16:creationId xmlns:a16="http://schemas.microsoft.com/office/drawing/2014/main" id="{3A9148F0-C863-BD44-9CF4-F49FFD6BA0DD}"/>
                </a:ext>
              </a:extLst>
            </p:cNvPr>
            <p:cNvSpPr/>
            <p:nvPr/>
          </p:nvSpPr>
          <p:spPr>
            <a:xfrm>
              <a:off x="9172092" y="-1397264"/>
              <a:ext cx="179655" cy="192394"/>
            </a:xfrm>
            <a:custGeom>
              <a:avLst/>
              <a:gdLst>
                <a:gd name="connsiteX0" fmla="*/ 179084 w 179655"/>
                <a:gd name="connsiteY0" fmla="*/ 135663 h 192394"/>
                <a:gd name="connsiteX1" fmla="*/ 179655 w 179655"/>
                <a:gd name="connsiteY1" fmla="*/ 134714 h 192394"/>
                <a:gd name="connsiteX2" fmla="*/ 179179 w 179655"/>
                <a:gd name="connsiteY2" fmla="*/ 90572 h 192394"/>
                <a:gd name="connsiteX3" fmla="*/ 173470 w 179655"/>
                <a:gd name="connsiteY3" fmla="*/ 84876 h 192394"/>
                <a:gd name="connsiteX4" fmla="*/ 106861 w 179655"/>
                <a:gd name="connsiteY4" fmla="*/ 84876 h 192394"/>
                <a:gd name="connsiteX5" fmla="*/ 101151 w 179655"/>
                <a:gd name="connsiteY5" fmla="*/ 90572 h 192394"/>
                <a:gd name="connsiteX6" fmla="*/ 101151 w 179655"/>
                <a:gd name="connsiteY6" fmla="*/ 92565 h 192394"/>
                <a:gd name="connsiteX7" fmla="*/ 101151 w 179655"/>
                <a:gd name="connsiteY7" fmla="*/ 107849 h 192394"/>
                <a:gd name="connsiteX8" fmla="*/ 101151 w 179655"/>
                <a:gd name="connsiteY8" fmla="*/ 109843 h 192394"/>
                <a:gd name="connsiteX9" fmla="*/ 106861 w 179655"/>
                <a:gd name="connsiteY9" fmla="*/ 115538 h 192394"/>
                <a:gd name="connsiteX10" fmla="*/ 132553 w 179655"/>
                <a:gd name="connsiteY10" fmla="*/ 115538 h 192394"/>
                <a:gd name="connsiteX11" fmla="*/ 132553 w 179655"/>
                <a:gd name="connsiteY11" fmla="*/ 155978 h 192394"/>
                <a:gd name="connsiteX12" fmla="*/ 128937 w 179655"/>
                <a:gd name="connsiteY12" fmla="*/ 158067 h 192394"/>
                <a:gd name="connsiteX13" fmla="*/ 102769 w 179655"/>
                <a:gd name="connsiteY13" fmla="*/ 162338 h 192394"/>
                <a:gd name="connsiteX14" fmla="*/ 102198 w 179655"/>
                <a:gd name="connsiteY14" fmla="*/ 162338 h 192394"/>
                <a:gd name="connsiteX15" fmla="*/ 102103 w 179655"/>
                <a:gd name="connsiteY15" fmla="*/ 162338 h 192394"/>
                <a:gd name="connsiteX16" fmla="*/ 75935 w 179655"/>
                <a:gd name="connsiteY16" fmla="*/ 158067 h 192394"/>
                <a:gd name="connsiteX17" fmla="*/ 56808 w 179655"/>
                <a:gd name="connsiteY17" fmla="*/ 136613 h 192394"/>
                <a:gd name="connsiteX18" fmla="*/ 51479 w 179655"/>
                <a:gd name="connsiteY18" fmla="*/ 94274 h 192394"/>
                <a:gd name="connsiteX19" fmla="*/ 56808 w 179655"/>
                <a:gd name="connsiteY19" fmla="*/ 48708 h 192394"/>
                <a:gd name="connsiteX20" fmla="*/ 94966 w 179655"/>
                <a:gd name="connsiteY20" fmla="*/ 29153 h 192394"/>
                <a:gd name="connsiteX21" fmla="*/ 129603 w 179655"/>
                <a:gd name="connsiteY21" fmla="*/ 42633 h 192394"/>
                <a:gd name="connsiteX22" fmla="*/ 135978 w 179655"/>
                <a:gd name="connsiteY22" fmla="*/ 54594 h 192394"/>
                <a:gd name="connsiteX23" fmla="*/ 135978 w 179655"/>
                <a:gd name="connsiteY23" fmla="*/ 56587 h 192394"/>
                <a:gd name="connsiteX24" fmla="*/ 141688 w 179655"/>
                <a:gd name="connsiteY24" fmla="*/ 62283 h 192394"/>
                <a:gd name="connsiteX25" fmla="*/ 156437 w 179655"/>
                <a:gd name="connsiteY25" fmla="*/ 62283 h 192394"/>
                <a:gd name="connsiteX26" fmla="*/ 162146 w 179655"/>
                <a:gd name="connsiteY26" fmla="*/ 56587 h 192394"/>
                <a:gd name="connsiteX27" fmla="*/ 162622 w 179655"/>
                <a:gd name="connsiteY27" fmla="*/ 12445 h 192394"/>
                <a:gd name="connsiteX28" fmla="*/ 159577 w 179655"/>
                <a:gd name="connsiteY28" fmla="*/ 6085 h 192394"/>
                <a:gd name="connsiteX29" fmla="*/ 102483 w 179655"/>
                <a:gd name="connsiteY29" fmla="*/ 9 h 192394"/>
                <a:gd name="connsiteX30" fmla="*/ 36064 w 179655"/>
                <a:gd name="connsiteY30" fmla="*/ 14249 h 192394"/>
                <a:gd name="connsiteX31" fmla="*/ 0 w 179655"/>
                <a:gd name="connsiteY31" fmla="*/ 91521 h 192394"/>
                <a:gd name="connsiteX32" fmla="*/ 22837 w 179655"/>
                <a:gd name="connsiteY32" fmla="*/ 166990 h 192394"/>
                <a:gd name="connsiteX33" fmla="*/ 79646 w 179655"/>
                <a:gd name="connsiteY33" fmla="*/ 190722 h 192394"/>
                <a:gd name="connsiteX34" fmla="*/ 95537 w 179655"/>
                <a:gd name="connsiteY34" fmla="*/ 192051 h 192394"/>
                <a:gd name="connsiteX35" fmla="*/ 102008 w 179655"/>
                <a:gd name="connsiteY35" fmla="*/ 192336 h 192394"/>
                <a:gd name="connsiteX36" fmla="*/ 119136 w 179655"/>
                <a:gd name="connsiteY36" fmla="*/ 191672 h 192394"/>
                <a:gd name="connsiteX37" fmla="*/ 173755 w 179655"/>
                <a:gd name="connsiteY37" fmla="*/ 186261 h 192394"/>
                <a:gd name="connsiteX38" fmla="*/ 179465 w 179655"/>
                <a:gd name="connsiteY38" fmla="*/ 180565 h 192394"/>
                <a:gd name="connsiteX39" fmla="*/ 178989 w 179655"/>
                <a:gd name="connsiteY39" fmla="*/ 136423 h 192394"/>
                <a:gd name="connsiteX40" fmla="*/ 179084 w 179655"/>
                <a:gd name="connsiteY40" fmla="*/ 135663 h 19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9655" h="192394">
                  <a:moveTo>
                    <a:pt x="179084" y="135663"/>
                  </a:moveTo>
                  <a:lnTo>
                    <a:pt x="179655" y="134714"/>
                  </a:lnTo>
                  <a:lnTo>
                    <a:pt x="179179" y="90572"/>
                  </a:lnTo>
                  <a:cubicBezTo>
                    <a:pt x="179179" y="87439"/>
                    <a:pt x="176610" y="84876"/>
                    <a:pt x="173470" y="84876"/>
                  </a:cubicBezTo>
                  <a:lnTo>
                    <a:pt x="106861" y="84876"/>
                  </a:lnTo>
                  <a:cubicBezTo>
                    <a:pt x="103720" y="84876"/>
                    <a:pt x="101151" y="87439"/>
                    <a:pt x="101151" y="90572"/>
                  </a:cubicBezTo>
                  <a:lnTo>
                    <a:pt x="101151" y="92565"/>
                  </a:lnTo>
                  <a:lnTo>
                    <a:pt x="101151" y="107849"/>
                  </a:lnTo>
                  <a:lnTo>
                    <a:pt x="101151" y="109843"/>
                  </a:lnTo>
                  <a:cubicBezTo>
                    <a:pt x="101151" y="112975"/>
                    <a:pt x="103720" y="115538"/>
                    <a:pt x="106861" y="115538"/>
                  </a:cubicBezTo>
                  <a:lnTo>
                    <a:pt x="132553" y="115538"/>
                  </a:lnTo>
                  <a:lnTo>
                    <a:pt x="132553" y="155978"/>
                  </a:lnTo>
                  <a:cubicBezTo>
                    <a:pt x="131221" y="156927"/>
                    <a:pt x="129983" y="157592"/>
                    <a:pt x="128937" y="158067"/>
                  </a:cubicBezTo>
                  <a:cubicBezTo>
                    <a:pt x="119421" y="161864"/>
                    <a:pt x="116091" y="161864"/>
                    <a:pt x="102769" y="162338"/>
                  </a:cubicBezTo>
                  <a:cubicBezTo>
                    <a:pt x="102579" y="162338"/>
                    <a:pt x="102388" y="162338"/>
                    <a:pt x="102198" y="162338"/>
                  </a:cubicBezTo>
                  <a:lnTo>
                    <a:pt x="102103" y="162338"/>
                  </a:lnTo>
                  <a:cubicBezTo>
                    <a:pt x="88781" y="161864"/>
                    <a:pt x="85450" y="161864"/>
                    <a:pt x="75935" y="158067"/>
                  </a:cubicBezTo>
                  <a:cubicBezTo>
                    <a:pt x="70606" y="155978"/>
                    <a:pt x="60044" y="145156"/>
                    <a:pt x="56808" y="136613"/>
                  </a:cubicBezTo>
                  <a:cubicBezTo>
                    <a:pt x="54525" y="130063"/>
                    <a:pt x="51479" y="121614"/>
                    <a:pt x="51479" y="94274"/>
                  </a:cubicBezTo>
                  <a:cubicBezTo>
                    <a:pt x="51479" y="66840"/>
                    <a:pt x="53383" y="54119"/>
                    <a:pt x="56808" y="48708"/>
                  </a:cubicBezTo>
                  <a:cubicBezTo>
                    <a:pt x="62898" y="39120"/>
                    <a:pt x="72509" y="29153"/>
                    <a:pt x="94966" y="29153"/>
                  </a:cubicBezTo>
                  <a:cubicBezTo>
                    <a:pt x="117423" y="29153"/>
                    <a:pt x="125701" y="37317"/>
                    <a:pt x="129603" y="42633"/>
                  </a:cubicBezTo>
                  <a:cubicBezTo>
                    <a:pt x="129603" y="42633"/>
                    <a:pt x="135693" y="47664"/>
                    <a:pt x="135978" y="54594"/>
                  </a:cubicBezTo>
                  <a:lnTo>
                    <a:pt x="135978" y="56587"/>
                  </a:lnTo>
                  <a:cubicBezTo>
                    <a:pt x="135978" y="59720"/>
                    <a:pt x="138548" y="62283"/>
                    <a:pt x="141688" y="62283"/>
                  </a:cubicBezTo>
                  <a:lnTo>
                    <a:pt x="156437" y="62283"/>
                  </a:lnTo>
                  <a:cubicBezTo>
                    <a:pt x="159577" y="62283"/>
                    <a:pt x="162146" y="59720"/>
                    <a:pt x="162146" y="56587"/>
                  </a:cubicBezTo>
                  <a:lnTo>
                    <a:pt x="162622" y="12445"/>
                  </a:lnTo>
                  <a:cubicBezTo>
                    <a:pt x="162622" y="12445"/>
                    <a:pt x="163479" y="9217"/>
                    <a:pt x="159577" y="6085"/>
                  </a:cubicBezTo>
                  <a:cubicBezTo>
                    <a:pt x="159577" y="6085"/>
                    <a:pt x="138167" y="-275"/>
                    <a:pt x="102483" y="9"/>
                  </a:cubicBezTo>
                  <a:cubicBezTo>
                    <a:pt x="72890" y="294"/>
                    <a:pt x="48625" y="6370"/>
                    <a:pt x="36064" y="14249"/>
                  </a:cubicBezTo>
                  <a:cubicBezTo>
                    <a:pt x="23599" y="22128"/>
                    <a:pt x="0" y="44911"/>
                    <a:pt x="0" y="91521"/>
                  </a:cubicBezTo>
                  <a:cubicBezTo>
                    <a:pt x="0" y="138131"/>
                    <a:pt x="10372" y="155219"/>
                    <a:pt x="22837" y="166990"/>
                  </a:cubicBezTo>
                  <a:cubicBezTo>
                    <a:pt x="33114" y="176673"/>
                    <a:pt x="48530" y="186830"/>
                    <a:pt x="79646" y="190722"/>
                  </a:cubicBezTo>
                  <a:cubicBezTo>
                    <a:pt x="80597" y="191482"/>
                    <a:pt x="88971" y="192051"/>
                    <a:pt x="95537" y="192051"/>
                  </a:cubicBezTo>
                  <a:cubicBezTo>
                    <a:pt x="97630" y="192146"/>
                    <a:pt x="99724" y="192241"/>
                    <a:pt x="102008" y="192336"/>
                  </a:cubicBezTo>
                  <a:cubicBezTo>
                    <a:pt x="108573" y="192526"/>
                    <a:pt x="114188" y="192241"/>
                    <a:pt x="119136" y="191672"/>
                  </a:cubicBezTo>
                  <a:cubicBezTo>
                    <a:pt x="156627" y="190248"/>
                    <a:pt x="173755" y="186261"/>
                    <a:pt x="173755" y="186261"/>
                  </a:cubicBezTo>
                  <a:cubicBezTo>
                    <a:pt x="176896" y="186261"/>
                    <a:pt x="179465" y="183698"/>
                    <a:pt x="179465" y="180565"/>
                  </a:cubicBezTo>
                  <a:lnTo>
                    <a:pt x="178989" y="136423"/>
                  </a:lnTo>
                  <a:cubicBezTo>
                    <a:pt x="179179" y="135948"/>
                    <a:pt x="179084" y="135758"/>
                    <a:pt x="179084" y="135663"/>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3" name="Freeform 22">
              <a:extLst>
                <a:ext uri="{FF2B5EF4-FFF2-40B4-BE49-F238E27FC236}">
                  <a16:creationId xmlns:a16="http://schemas.microsoft.com/office/drawing/2014/main" id="{27A2C532-4DA5-DA49-AA47-5EEBC30043BF}"/>
                </a:ext>
              </a:extLst>
            </p:cNvPr>
            <p:cNvSpPr/>
            <p:nvPr/>
          </p:nvSpPr>
          <p:spPr>
            <a:xfrm>
              <a:off x="8267346" y="-1397445"/>
              <a:ext cx="202587" cy="192231"/>
            </a:xfrm>
            <a:custGeom>
              <a:avLst/>
              <a:gdLst>
                <a:gd name="connsiteX0" fmla="*/ 166619 w 202587"/>
                <a:gd name="connsiteY0" fmla="*/ 14239 h 192231"/>
                <a:gd name="connsiteX1" fmla="*/ 103816 w 202587"/>
                <a:gd name="connsiteY1" fmla="*/ 95 h 192231"/>
                <a:gd name="connsiteX2" fmla="*/ 103816 w 202587"/>
                <a:gd name="connsiteY2" fmla="*/ 0 h 192231"/>
                <a:gd name="connsiteX3" fmla="*/ 98867 w 202587"/>
                <a:gd name="connsiteY3" fmla="*/ 0 h 192231"/>
                <a:gd name="connsiteX4" fmla="*/ 98867 w 202587"/>
                <a:gd name="connsiteY4" fmla="*/ 95 h 192231"/>
                <a:gd name="connsiteX5" fmla="*/ 36064 w 202587"/>
                <a:gd name="connsiteY5" fmla="*/ 14239 h 192231"/>
                <a:gd name="connsiteX6" fmla="*/ 0 w 202587"/>
                <a:gd name="connsiteY6" fmla="*/ 91512 h 192231"/>
                <a:gd name="connsiteX7" fmla="*/ 22838 w 202587"/>
                <a:gd name="connsiteY7" fmla="*/ 166981 h 192231"/>
                <a:gd name="connsiteX8" fmla="*/ 79646 w 202587"/>
                <a:gd name="connsiteY8" fmla="*/ 190713 h 192231"/>
                <a:gd name="connsiteX9" fmla="*/ 95537 w 202587"/>
                <a:gd name="connsiteY9" fmla="*/ 192042 h 192231"/>
                <a:gd name="connsiteX10" fmla="*/ 103816 w 202587"/>
                <a:gd name="connsiteY10" fmla="*/ 192232 h 192231"/>
                <a:gd name="connsiteX11" fmla="*/ 122942 w 202587"/>
                <a:gd name="connsiteY11" fmla="*/ 190713 h 192231"/>
                <a:gd name="connsiteX12" fmla="*/ 179750 w 202587"/>
                <a:gd name="connsiteY12" fmla="*/ 166981 h 192231"/>
                <a:gd name="connsiteX13" fmla="*/ 202588 w 202587"/>
                <a:gd name="connsiteY13" fmla="*/ 91512 h 192231"/>
                <a:gd name="connsiteX14" fmla="*/ 166619 w 202587"/>
                <a:gd name="connsiteY14" fmla="*/ 14239 h 192231"/>
                <a:gd name="connsiteX15" fmla="*/ 145875 w 202587"/>
                <a:gd name="connsiteY15" fmla="*/ 136698 h 192231"/>
                <a:gd name="connsiteX16" fmla="*/ 126748 w 202587"/>
                <a:gd name="connsiteY16" fmla="*/ 158152 h 192231"/>
                <a:gd name="connsiteX17" fmla="*/ 101246 w 202587"/>
                <a:gd name="connsiteY17" fmla="*/ 162424 h 192231"/>
                <a:gd name="connsiteX18" fmla="*/ 75744 w 202587"/>
                <a:gd name="connsiteY18" fmla="*/ 158152 h 192231"/>
                <a:gd name="connsiteX19" fmla="*/ 56618 w 202587"/>
                <a:gd name="connsiteY19" fmla="*/ 136698 h 192231"/>
                <a:gd name="connsiteX20" fmla="*/ 51289 w 202587"/>
                <a:gd name="connsiteY20" fmla="*/ 94360 h 192231"/>
                <a:gd name="connsiteX21" fmla="*/ 56618 w 202587"/>
                <a:gd name="connsiteY21" fmla="*/ 48794 h 192231"/>
                <a:gd name="connsiteX22" fmla="*/ 94776 w 202587"/>
                <a:gd name="connsiteY22" fmla="*/ 29238 h 192231"/>
                <a:gd name="connsiteX23" fmla="*/ 107622 w 202587"/>
                <a:gd name="connsiteY23" fmla="*/ 29238 h 192231"/>
                <a:gd name="connsiteX24" fmla="*/ 145780 w 202587"/>
                <a:gd name="connsiteY24" fmla="*/ 48794 h 192231"/>
                <a:gd name="connsiteX25" fmla="*/ 151108 w 202587"/>
                <a:gd name="connsiteY25" fmla="*/ 94360 h 192231"/>
                <a:gd name="connsiteX26" fmla="*/ 145875 w 202587"/>
                <a:gd name="connsiteY26" fmla="*/ 136698 h 192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2587" h="192231">
                  <a:moveTo>
                    <a:pt x="166619" y="14239"/>
                  </a:moveTo>
                  <a:cubicBezTo>
                    <a:pt x="154629" y="6740"/>
                    <a:pt x="131792" y="759"/>
                    <a:pt x="103816" y="95"/>
                  </a:cubicBezTo>
                  <a:lnTo>
                    <a:pt x="103816" y="0"/>
                  </a:lnTo>
                  <a:cubicBezTo>
                    <a:pt x="103340" y="0"/>
                    <a:pt x="99343" y="0"/>
                    <a:pt x="98867" y="0"/>
                  </a:cubicBezTo>
                  <a:lnTo>
                    <a:pt x="98867" y="95"/>
                  </a:lnTo>
                  <a:cubicBezTo>
                    <a:pt x="70891" y="854"/>
                    <a:pt x="48054" y="6740"/>
                    <a:pt x="36064" y="14239"/>
                  </a:cubicBezTo>
                  <a:cubicBezTo>
                    <a:pt x="23599" y="22119"/>
                    <a:pt x="0" y="44902"/>
                    <a:pt x="0" y="91512"/>
                  </a:cubicBezTo>
                  <a:cubicBezTo>
                    <a:pt x="0" y="138122"/>
                    <a:pt x="10372" y="155209"/>
                    <a:pt x="22838" y="166981"/>
                  </a:cubicBezTo>
                  <a:cubicBezTo>
                    <a:pt x="33114" y="176663"/>
                    <a:pt x="48530" y="186821"/>
                    <a:pt x="79646" y="190713"/>
                  </a:cubicBezTo>
                  <a:cubicBezTo>
                    <a:pt x="80597" y="191472"/>
                    <a:pt x="88971" y="192042"/>
                    <a:pt x="95537" y="192042"/>
                  </a:cubicBezTo>
                  <a:cubicBezTo>
                    <a:pt x="96584" y="192137"/>
                    <a:pt x="103816" y="192232"/>
                    <a:pt x="103816" y="192232"/>
                  </a:cubicBezTo>
                  <a:cubicBezTo>
                    <a:pt x="104957" y="192232"/>
                    <a:pt x="121990" y="191567"/>
                    <a:pt x="122942" y="190713"/>
                  </a:cubicBezTo>
                  <a:cubicBezTo>
                    <a:pt x="154153" y="186821"/>
                    <a:pt x="169473" y="176663"/>
                    <a:pt x="179750" y="166981"/>
                  </a:cubicBezTo>
                  <a:cubicBezTo>
                    <a:pt x="192216" y="155209"/>
                    <a:pt x="202588" y="138122"/>
                    <a:pt x="202588" y="91512"/>
                  </a:cubicBezTo>
                  <a:cubicBezTo>
                    <a:pt x="202588" y="44807"/>
                    <a:pt x="179084" y="22024"/>
                    <a:pt x="166619" y="14239"/>
                  </a:cubicBezTo>
                  <a:close/>
                  <a:moveTo>
                    <a:pt x="145875" y="136698"/>
                  </a:moveTo>
                  <a:cubicBezTo>
                    <a:pt x="142639" y="145242"/>
                    <a:pt x="132077" y="156064"/>
                    <a:pt x="126748" y="158152"/>
                  </a:cubicBezTo>
                  <a:cubicBezTo>
                    <a:pt x="117423" y="161854"/>
                    <a:pt x="113997" y="161949"/>
                    <a:pt x="101246" y="162424"/>
                  </a:cubicBezTo>
                  <a:cubicBezTo>
                    <a:pt x="88495" y="161949"/>
                    <a:pt x="85070" y="161949"/>
                    <a:pt x="75744" y="158152"/>
                  </a:cubicBezTo>
                  <a:cubicBezTo>
                    <a:pt x="70416" y="156064"/>
                    <a:pt x="59853" y="145242"/>
                    <a:pt x="56618" y="136698"/>
                  </a:cubicBezTo>
                  <a:cubicBezTo>
                    <a:pt x="54334" y="130148"/>
                    <a:pt x="51289" y="121699"/>
                    <a:pt x="51289" y="94360"/>
                  </a:cubicBezTo>
                  <a:cubicBezTo>
                    <a:pt x="51289" y="66925"/>
                    <a:pt x="53192" y="54205"/>
                    <a:pt x="56618" y="48794"/>
                  </a:cubicBezTo>
                  <a:cubicBezTo>
                    <a:pt x="62708" y="39206"/>
                    <a:pt x="72319" y="29238"/>
                    <a:pt x="94776" y="29238"/>
                  </a:cubicBezTo>
                  <a:cubicBezTo>
                    <a:pt x="96108" y="29238"/>
                    <a:pt x="106290" y="29238"/>
                    <a:pt x="107622" y="29238"/>
                  </a:cubicBezTo>
                  <a:cubicBezTo>
                    <a:pt x="133695" y="29143"/>
                    <a:pt x="139785" y="39206"/>
                    <a:pt x="145780" y="48794"/>
                  </a:cubicBezTo>
                  <a:cubicBezTo>
                    <a:pt x="149205" y="54205"/>
                    <a:pt x="151108" y="66925"/>
                    <a:pt x="151108" y="94360"/>
                  </a:cubicBezTo>
                  <a:cubicBezTo>
                    <a:pt x="151203" y="121699"/>
                    <a:pt x="148158" y="130053"/>
                    <a:pt x="145875" y="13669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4" name="Freeform 23">
              <a:extLst>
                <a:ext uri="{FF2B5EF4-FFF2-40B4-BE49-F238E27FC236}">
                  <a16:creationId xmlns:a16="http://schemas.microsoft.com/office/drawing/2014/main" id="{29C7795A-2D3A-3F47-A8BE-2201823E9DE6}"/>
                </a:ext>
              </a:extLst>
            </p:cNvPr>
            <p:cNvSpPr/>
            <p:nvPr/>
          </p:nvSpPr>
          <p:spPr>
            <a:xfrm>
              <a:off x="9370683" y="-1393268"/>
              <a:ext cx="80247" cy="183403"/>
            </a:xfrm>
            <a:custGeom>
              <a:avLst/>
              <a:gdLst>
                <a:gd name="connsiteX0" fmla="*/ 79836 w 80247"/>
                <a:gd name="connsiteY0" fmla="*/ 157488 h 183403"/>
                <a:gd name="connsiteX1" fmla="*/ 78028 w 80247"/>
                <a:gd name="connsiteY1" fmla="*/ 156728 h 183403"/>
                <a:gd name="connsiteX2" fmla="*/ 60139 w 80247"/>
                <a:gd name="connsiteY2" fmla="*/ 146666 h 183403"/>
                <a:gd name="connsiteX3" fmla="*/ 60139 w 80247"/>
                <a:gd name="connsiteY3" fmla="*/ 106985 h 183403"/>
                <a:gd name="connsiteX4" fmla="*/ 60139 w 80247"/>
                <a:gd name="connsiteY4" fmla="*/ 77842 h 183403"/>
                <a:gd name="connsiteX5" fmla="*/ 60139 w 80247"/>
                <a:gd name="connsiteY5" fmla="*/ 36738 h 183403"/>
                <a:gd name="connsiteX6" fmla="*/ 78028 w 80247"/>
                <a:gd name="connsiteY6" fmla="*/ 26675 h 183403"/>
                <a:gd name="connsiteX7" fmla="*/ 79836 w 80247"/>
                <a:gd name="connsiteY7" fmla="*/ 25916 h 183403"/>
                <a:gd name="connsiteX8" fmla="*/ 80217 w 80247"/>
                <a:gd name="connsiteY8" fmla="*/ 24112 h 183403"/>
                <a:gd name="connsiteX9" fmla="*/ 80027 w 80247"/>
                <a:gd name="connsiteY9" fmla="*/ 1709 h 183403"/>
                <a:gd name="connsiteX10" fmla="*/ 78314 w 80247"/>
                <a:gd name="connsiteY10" fmla="*/ 0 h 183403"/>
                <a:gd name="connsiteX11" fmla="*/ 1903 w 80247"/>
                <a:gd name="connsiteY11" fmla="*/ 0 h 183403"/>
                <a:gd name="connsiteX12" fmla="*/ 190 w 80247"/>
                <a:gd name="connsiteY12" fmla="*/ 1709 h 183403"/>
                <a:gd name="connsiteX13" fmla="*/ 0 w 80247"/>
                <a:gd name="connsiteY13" fmla="*/ 24112 h 183403"/>
                <a:gd name="connsiteX14" fmla="*/ 381 w 80247"/>
                <a:gd name="connsiteY14" fmla="*/ 25916 h 183403"/>
                <a:gd name="connsiteX15" fmla="*/ 2189 w 80247"/>
                <a:gd name="connsiteY15" fmla="*/ 26675 h 183403"/>
                <a:gd name="connsiteX16" fmla="*/ 20078 w 80247"/>
                <a:gd name="connsiteY16" fmla="*/ 36738 h 183403"/>
                <a:gd name="connsiteX17" fmla="*/ 20078 w 80247"/>
                <a:gd name="connsiteY17" fmla="*/ 77842 h 183403"/>
                <a:gd name="connsiteX18" fmla="*/ 20078 w 80247"/>
                <a:gd name="connsiteY18" fmla="*/ 106985 h 183403"/>
                <a:gd name="connsiteX19" fmla="*/ 20078 w 80247"/>
                <a:gd name="connsiteY19" fmla="*/ 146666 h 183403"/>
                <a:gd name="connsiteX20" fmla="*/ 2189 w 80247"/>
                <a:gd name="connsiteY20" fmla="*/ 156728 h 183403"/>
                <a:gd name="connsiteX21" fmla="*/ 381 w 80247"/>
                <a:gd name="connsiteY21" fmla="*/ 157488 h 183403"/>
                <a:gd name="connsiteX22" fmla="*/ 0 w 80247"/>
                <a:gd name="connsiteY22" fmla="*/ 159291 h 183403"/>
                <a:gd name="connsiteX23" fmla="*/ 190 w 80247"/>
                <a:gd name="connsiteY23" fmla="*/ 181695 h 183403"/>
                <a:gd name="connsiteX24" fmla="*/ 1903 w 80247"/>
                <a:gd name="connsiteY24" fmla="*/ 183403 h 183403"/>
                <a:gd name="connsiteX25" fmla="*/ 78314 w 80247"/>
                <a:gd name="connsiteY25" fmla="*/ 183403 h 183403"/>
                <a:gd name="connsiteX26" fmla="*/ 80027 w 80247"/>
                <a:gd name="connsiteY26" fmla="*/ 181695 h 183403"/>
                <a:gd name="connsiteX27" fmla="*/ 80217 w 80247"/>
                <a:gd name="connsiteY27" fmla="*/ 159291 h 183403"/>
                <a:gd name="connsiteX28" fmla="*/ 79836 w 80247"/>
                <a:gd name="connsiteY28" fmla="*/ 157488 h 183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247" h="183403">
                  <a:moveTo>
                    <a:pt x="79836" y="157488"/>
                  </a:moveTo>
                  <a:cubicBezTo>
                    <a:pt x="79265" y="156728"/>
                    <a:pt x="78028" y="156728"/>
                    <a:pt x="78028" y="156728"/>
                  </a:cubicBezTo>
                  <a:cubicBezTo>
                    <a:pt x="70321" y="155494"/>
                    <a:pt x="60139" y="151033"/>
                    <a:pt x="60139" y="146666"/>
                  </a:cubicBezTo>
                  <a:lnTo>
                    <a:pt x="60139" y="106985"/>
                  </a:lnTo>
                  <a:lnTo>
                    <a:pt x="60139" y="77842"/>
                  </a:lnTo>
                  <a:lnTo>
                    <a:pt x="60139" y="36738"/>
                  </a:lnTo>
                  <a:cubicBezTo>
                    <a:pt x="60139" y="32371"/>
                    <a:pt x="70225" y="28004"/>
                    <a:pt x="78028" y="26675"/>
                  </a:cubicBezTo>
                  <a:cubicBezTo>
                    <a:pt x="78028" y="26675"/>
                    <a:pt x="79265" y="26675"/>
                    <a:pt x="79836" y="25916"/>
                  </a:cubicBezTo>
                  <a:cubicBezTo>
                    <a:pt x="80407" y="25156"/>
                    <a:pt x="80122" y="24112"/>
                    <a:pt x="80217" y="24112"/>
                  </a:cubicBezTo>
                  <a:lnTo>
                    <a:pt x="80027" y="1709"/>
                  </a:lnTo>
                  <a:cubicBezTo>
                    <a:pt x="80027" y="759"/>
                    <a:pt x="79265" y="0"/>
                    <a:pt x="78314" y="0"/>
                  </a:cubicBezTo>
                  <a:lnTo>
                    <a:pt x="1903" y="0"/>
                  </a:lnTo>
                  <a:cubicBezTo>
                    <a:pt x="952" y="0"/>
                    <a:pt x="190" y="759"/>
                    <a:pt x="190" y="1709"/>
                  </a:cubicBezTo>
                  <a:lnTo>
                    <a:pt x="0" y="24112"/>
                  </a:lnTo>
                  <a:cubicBezTo>
                    <a:pt x="95" y="24112"/>
                    <a:pt x="-190" y="25156"/>
                    <a:pt x="381" y="25916"/>
                  </a:cubicBezTo>
                  <a:cubicBezTo>
                    <a:pt x="952" y="26675"/>
                    <a:pt x="2189" y="26675"/>
                    <a:pt x="2189" y="26675"/>
                  </a:cubicBezTo>
                  <a:cubicBezTo>
                    <a:pt x="9896" y="27909"/>
                    <a:pt x="20078" y="32371"/>
                    <a:pt x="20078" y="36738"/>
                  </a:cubicBezTo>
                  <a:lnTo>
                    <a:pt x="20078" y="77842"/>
                  </a:lnTo>
                  <a:lnTo>
                    <a:pt x="20078" y="106985"/>
                  </a:lnTo>
                  <a:lnTo>
                    <a:pt x="20078" y="146666"/>
                  </a:lnTo>
                  <a:cubicBezTo>
                    <a:pt x="20078" y="151033"/>
                    <a:pt x="9991" y="155399"/>
                    <a:pt x="2189" y="156728"/>
                  </a:cubicBezTo>
                  <a:cubicBezTo>
                    <a:pt x="2189" y="156728"/>
                    <a:pt x="952" y="156728"/>
                    <a:pt x="381" y="157488"/>
                  </a:cubicBezTo>
                  <a:cubicBezTo>
                    <a:pt x="-190" y="158247"/>
                    <a:pt x="95" y="159291"/>
                    <a:pt x="0" y="159291"/>
                  </a:cubicBezTo>
                  <a:lnTo>
                    <a:pt x="190" y="181695"/>
                  </a:lnTo>
                  <a:cubicBezTo>
                    <a:pt x="190" y="182644"/>
                    <a:pt x="952" y="183403"/>
                    <a:pt x="1903" y="183403"/>
                  </a:cubicBezTo>
                  <a:lnTo>
                    <a:pt x="78314" y="183403"/>
                  </a:lnTo>
                  <a:cubicBezTo>
                    <a:pt x="79265" y="183403"/>
                    <a:pt x="80027" y="182644"/>
                    <a:pt x="80027" y="181695"/>
                  </a:cubicBezTo>
                  <a:lnTo>
                    <a:pt x="80217" y="159291"/>
                  </a:lnTo>
                  <a:cubicBezTo>
                    <a:pt x="80217" y="159291"/>
                    <a:pt x="80407" y="158342"/>
                    <a:pt x="79836" y="15748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5" name="Freeform 24">
              <a:extLst>
                <a:ext uri="{FF2B5EF4-FFF2-40B4-BE49-F238E27FC236}">
                  <a16:creationId xmlns:a16="http://schemas.microsoft.com/office/drawing/2014/main" id="{AEA782B2-CCD5-DE48-BC1B-7BFACE342066}"/>
                </a:ext>
              </a:extLst>
            </p:cNvPr>
            <p:cNvSpPr/>
            <p:nvPr/>
          </p:nvSpPr>
          <p:spPr>
            <a:xfrm>
              <a:off x="9463270" y="-1393268"/>
              <a:ext cx="200222" cy="183688"/>
            </a:xfrm>
            <a:custGeom>
              <a:avLst/>
              <a:gdLst>
                <a:gd name="connsiteX0" fmla="*/ 199924 w 200222"/>
                <a:gd name="connsiteY0" fmla="*/ 157488 h 183688"/>
                <a:gd name="connsiteX1" fmla="*/ 198116 w 200222"/>
                <a:gd name="connsiteY1" fmla="*/ 156728 h 183688"/>
                <a:gd name="connsiteX2" fmla="*/ 180226 w 200222"/>
                <a:gd name="connsiteY2" fmla="*/ 146666 h 183688"/>
                <a:gd name="connsiteX3" fmla="*/ 180131 w 200222"/>
                <a:gd name="connsiteY3" fmla="*/ 121605 h 183688"/>
                <a:gd name="connsiteX4" fmla="*/ 143305 w 200222"/>
                <a:gd name="connsiteY4" fmla="*/ 86386 h 183688"/>
                <a:gd name="connsiteX5" fmla="*/ 142259 w 200222"/>
                <a:gd name="connsiteY5" fmla="*/ 86386 h 183688"/>
                <a:gd name="connsiteX6" fmla="*/ 142259 w 200222"/>
                <a:gd name="connsiteY6" fmla="*/ 86101 h 183688"/>
                <a:gd name="connsiteX7" fmla="*/ 142069 w 200222"/>
                <a:gd name="connsiteY7" fmla="*/ 86101 h 183688"/>
                <a:gd name="connsiteX8" fmla="*/ 139880 w 200222"/>
                <a:gd name="connsiteY8" fmla="*/ 83918 h 183688"/>
                <a:gd name="connsiteX9" fmla="*/ 142069 w 200222"/>
                <a:gd name="connsiteY9" fmla="*/ 81829 h 183688"/>
                <a:gd name="connsiteX10" fmla="*/ 147302 w 200222"/>
                <a:gd name="connsiteY10" fmla="*/ 81829 h 183688"/>
                <a:gd name="connsiteX11" fmla="*/ 178609 w 200222"/>
                <a:gd name="connsiteY11" fmla="*/ 45471 h 183688"/>
                <a:gd name="connsiteX12" fmla="*/ 178609 w 200222"/>
                <a:gd name="connsiteY12" fmla="*/ 35219 h 183688"/>
                <a:gd name="connsiteX13" fmla="*/ 143305 w 200222"/>
                <a:gd name="connsiteY13" fmla="*/ 0 h 183688"/>
                <a:gd name="connsiteX14" fmla="*/ 66705 w 200222"/>
                <a:gd name="connsiteY14" fmla="*/ 95 h 183688"/>
                <a:gd name="connsiteX15" fmla="*/ 66705 w 200222"/>
                <a:gd name="connsiteY15" fmla="*/ 285 h 183688"/>
                <a:gd name="connsiteX16" fmla="*/ 1903 w 200222"/>
                <a:gd name="connsiteY16" fmla="*/ 285 h 183688"/>
                <a:gd name="connsiteX17" fmla="*/ 190 w 200222"/>
                <a:gd name="connsiteY17" fmla="*/ 1994 h 183688"/>
                <a:gd name="connsiteX18" fmla="*/ 0 w 200222"/>
                <a:gd name="connsiteY18" fmla="*/ 24397 h 183688"/>
                <a:gd name="connsiteX19" fmla="*/ 381 w 200222"/>
                <a:gd name="connsiteY19" fmla="*/ 26201 h 183688"/>
                <a:gd name="connsiteX20" fmla="*/ 2189 w 200222"/>
                <a:gd name="connsiteY20" fmla="*/ 26960 h 183688"/>
                <a:gd name="connsiteX21" fmla="*/ 20078 w 200222"/>
                <a:gd name="connsiteY21" fmla="*/ 37023 h 183688"/>
                <a:gd name="connsiteX22" fmla="*/ 20078 w 200222"/>
                <a:gd name="connsiteY22" fmla="*/ 78127 h 183688"/>
                <a:gd name="connsiteX23" fmla="*/ 20078 w 200222"/>
                <a:gd name="connsiteY23" fmla="*/ 107270 h 183688"/>
                <a:gd name="connsiteX24" fmla="*/ 20078 w 200222"/>
                <a:gd name="connsiteY24" fmla="*/ 146951 h 183688"/>
                <a:gd name="connsiteX25" fmla="*/ 2189 w 200222"/>
                <a:gd name="connsiteY25" fmla="*/ 157013 h 183688"/>
                <a:gd name="connsiteX26" fmla="*/ 381 w 200222"/>
                <a:gd name="connsiteY26" fmla="*/ 157773 h 183688"/>
                <a:gd name="connsiteX27" fmla="*/ 0 w 200222"/>
                <a:gd name="connsiteY27" fmla="*/ 159576 h 183688"/>
                <a:gd name="connsiteX28" fmla="*/ 190 w 200222"/>
                <a:gd name="connsiteY28" fmla="*/ 181980 h 183688"/>
                <a:gd name="connsiteX29" fmla="*/ 1903 w 200222"/>
                <a:gd name="connsiteY29" fmla="*/ 183688 h 183688"/>
                <a:gd name="connsiteX30" fmla="*/ 78314 w 200222"/>
                <a:gd name="connsiteY30" fmla="*/ 183688 h 183688"/>
                <a:gd name="connsiteX31" fmla="*/ 80027 w 200222"/>
                <a:gd name="connsiteY31" fmla="*/ 181980 h 183688"/>
                <a:gd name="connsiteX32" fmla="*/ 80217 w 200222"/>
                <a:gd name="connsiteY32" fmla="*/ 159576 h 183688"/>
                <a:gd name="connsiteX33" fmla="*/ 79836 w 200222"/>
                <a:gd name="connsiteY33" fmla="*/ 157773 h 183688"/>
                <a:gd name="connsiteX34" fmla="*/ 78028 w 200222"/>
                <a:gd name="connsiteY34" fmla="*/ 157013 h 183688"/>
                <a:gd name="connsiteX35" fmla="*/ 60139 w 200222"/>
                <a:gd name="connsiteY35" fmla="*/ 146951 h 183688"/>
                <a:gd name="connsiteX36" fmla="*/ 60139 w 200222"/>
                <a:gd name="connsiteY36" fmla="*/ 107270 h 183688"/>
                <a:gd name="connsiteX37" fmla="*/ 60139 w 200222"/>
                <a:gd name="connsiteY37" fmla="*/ 78127 h 183688"/>
                <a:gd name="connsiteX38" fmla="*/ 60139 w 200222"/>
                <a:gd name="connsiteY38" fmla="*/ 37023 h 183688"/>
                <a:gd name="connsiteX39" fmla="*/ 66990 w 200222"/>
                <a:gd name="connsiteY39" fmla="*/ 30472 h 183688"/>
                <a:gd name="connsiteX40" fmla="*/ 111047 w 200222"/>
                <a:gd name="connsiteY40" fmla="*/ 30472 h 183688"/>
                <a:gd name="connsiteX41" fmla="*/ 128651 w 200222"/>
                <a:gd name="connsiteY41" fmla="*/ 46326 h 183688"/>
                <a:gd name="connsiteX42" fmla="*/ 128651 w 200222"/>
                <a:gd name="connsiteY42" fmla="*/ 54300 h 183688"/>
                <a:gd name="connsiteX43" fmla="*/ 110667 w 200222"/>
                <a:gd name="connsiteY43" fmla="*/ 73191 h 183688"/>
                <a:gd name="connsiteX44" fmla="*/ 110001 w 200222"/>
                <a:gd name="connsiteY44" fmla="*/ 73380 h 183688"/>
                <a:gd name="connsiteX45" fmla="*/ 83547 w 200222"/>
                <a:gd name="connsiteY45" fmla="*/ 73380 h 183688"/>
                <a:gd name="connsiteX46" fmla="*/ 77838 w 200222"/>
                <a:gd name="connsiteY46" fmla="*/ 79076 h 183688"/>
                <a:gd name="connsiteX47" fmla="*/ 77838 w 200222"/>
                <a:gd name="connsiteY47" fmla="*/ 99011 h 183688"/>
                <a:gd name="connsiteX48" fmla="*/ 83547 w 200222"/>
                <a:gd name="connsiteY48" fmla="*/ 104707 h 183688"/>
                <a:gd name="connsiteX49" fmla="*/ 112855 w 200222"/>
                <a:gd name="connsiteY49" fmla="*/ 104707 h 183688"/>
                <a:gd name="connsiteX50" fmla="*/ 131696 w 200222"/>
                <a:gd name="connsiteY50" fmla="*/ 121699 h 183688"/>
                <a:gd name="connsiteX51" fmla="*/ 131316 w 200222"/>
                <a:gd name="connsiteY51" fmla="*/ 173246 h 183688"/>
                <a:gd name="connsiteX52" fmla="*/ 131982 w 200222"/>
                <a:gd name="connsiteY52" fmla="*/ 179132 h 183688"/>
                <a:gd name="connsiteX53" fmla="*/ 140070 w 200222"/>
                <a:gd name="connsiteY53" fmla="*/ 183403 h 183688"/>
                <a:gd name="connsiteX54" fmla="*/ 198116 w 200222"/>
                <a:gd name="connsiteY54" fmla="*/ 183403 h 183688"/>
                <a:gd name="connsiteX55" fmla="*/ 199828 w 200222"/>
                <a:gd name="connsiteY55" fmla="*/ 181695 h 183688"/>
                <a:gd name="connsiteX56" fmla="*/ 200019 w 200222"/>
                <a:gd name="connsiteY56" fmla="*/ 159291 h 183688"/>
                <a:gd name="connsiteX57" fmla="*/ 199924 w 200222"/>
                <a:gd name="connsiteY57" fmla="*/ 157488 h 18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00222" h="183688">
                  <a:moveTo>
                    <a:pt x="199924" y="157488"/>
                  </a:moveTo>
                  <a:cubicBezTo>
                    <a:pt x="199353" y="156728"/>
                    <a:pt x="198116" y="156728"/>
                    <a:pt x="198116" y="156728"/>
                  </a:cubicBezTo>
                  <a:cubicBezTo>
                    <a:pt x="190408" y="155494"/>
                    <a:pt x="180226" y="151033"/>
                    <a:pt x="180226" y="146666"/>
                  </a:cubicBezTo>
                  <a:lnTo>
                    <a:pt x="180131" y="121605"/>
                  </a:lnTo>
                  <a:cubicBezTo>
                    <a:pt x="180131" y="102144"/>
                    <a:pt x="174802" y="86386"/>
                    <a:pt x="143305" y="86386"/>
                  </a:cubicBezTo>
                  <a:lnTo>
                    <a:pt x="142259" y="86386"/>
                  </a:lnTo>
                  <a:lnTo>
                    <a:pt x="142259" y="86101"/>
                  </a:lnTo>
                  <a:lnTo>
                    <a:pt x="142069" y="86101"/>
                  </a:lnTo>
                  <a:cubicBezTo>
                    <a:pt x="140927" y="86101"/>
                    <a:pt x="139880" y="85152"/>
                    <a:pt x="139880" y="83918"/>
                  </a:cubicBezTo>
                  <a:cubicBezTo>
                    <a:pt x="139880" y="82778"/>
                    <a:pt x="140831" y="81829"/>
                    <a:pt x="142069" y="81829"/>
                  </a:cubicBezTo>
                  <a:lnTo>
                    <a:pt x="147302" y="81829"/>
                  </a:lnTo>
                  <a:cubicBezTo>
                    <a:pt x="164906" y="79836"/>
                    <a:pt x="178609" y="63508"/>
                    <a:pt x="178609" y="45471"/>
                  </a:cubicBezTo>
                  <a:lnTo>
                    <a:pt x="178609" y="35219"/>
                  </a:lnTo>
                  <a:cubicBezTo>
                    <a:pt x="178609" y="15758"/>
                    <a:pt x="162813" y="0"/>
                    <a:pt x="143305" y="0"/>
                  </a:cubicBezTo>
                  <a:lnTo>
                    <a:pt x="66705" y="95"/>
                  </a:lnTo>
                  <a:lnTo>
                    <a:pt x="66705" y="285"/>
                  </a:lnTo>
                  <a:lnTo>
                    <a:pt x="1903" y="285"/>
                  </a:lnTo>
                  <a:cubicBezTo>
                    <a:pt x="952" y="285"/>
                    <a:pt x="190" y="1044"/>
                    <a:pt x="190" y="1994"/>
                  </a:cubicBezTo>
                  <a:lnTo>
                    <a:pt x="0" y="24397"/>
                  </a:lnTo>
                  <a:cubicBezTo>
                    <a:pt x="95" y="24397"/>
                    <a:pt x="-190" y="25441"/>
                    <a:pt x="381" y="26201"/>
                  </a:cubicBezTo>
                  <a:cubicBezTo>
                    <a:pt x="952" y="26960"/>
                    <a:pt x="2189" y="26960"/>
                    <a:pt x="2189" y="26960"/>
                  </a:cubicBezTo>
                  <a:cubicBezTo>
                    <a:pt x="9896" y="28194"/>
                    <a:pt x="20078" y="32656"/>
                    <a:pt x="20078" y="37023"/>
                  </a:cubicBezTo>
                  <a:lnTo>
                    <a:pt x="20078" y="78127"/>
                  </a:lnTo>
                  <a:lnTo>
                    <a:pt x="20078" y="107270"/>
                  </a:lnTo>
                  <a:lnTo>
                    <a:pt x="20078" y="146951"/>
                  </a:lnTo>
                  <a:cubicBezTo>
                    <a:pt x="20078" y="151317"/>
                    <a:pt x="9991" y="155684"/>
                    <a:pt x="2189" y="157013"/>
                  </a:cubicBezTo>
                  <a:cubicBezTo>
                    <a:pt x="2189" y="157013"/>
                    <a:pt x="952" y="157013"/>
                    <a:pt x="381" y="157773"/>
                  </a:cubicBezTo>
                  <a:cubicBezTo>
                    <a:pt x="-190" y="158532"/>
                    <a:pt x="95" y="159576"/>
                    <a:pt x="0" y="159576"/>
                  </a:cubicBezTo>
                  <a:lnTo>
                    <a:pt x="190" y="181980"/>
                  </a:lnTo>
                  <a:cubicBezTo>
                    <a:pt x="190" y="182929"/>
                    <a:pt x="952" y="183688"/>
                    <a:pt x="1903" y="183688"/>
                  </a:cubicBezTo>
                  <a:lnTo>
                    <a:pt x="78314" y="183688"/>
                  </a:lnTo>
                  <a:cubicBezTo>
                    <a:pt x="79265" y="183688"/>
                    <a:pt x="80027" y="182929"/>
                    <a:pt x="80027" y="181980"/>
                  </a:cubicBezTo>
                  <a:lnTo>
                    <a:pt x="80217" y="159576"/>
                  </a:lnTo>
                  <a:cubicBezTo>
                    <a:pt x="80122" y="159576"/>
                    <a:pt x="80407" y="158532"/>
                    <a:pt x="79836" y="157773"/>
                  </a:cubicBezTo>
                  <a:cubicBezTo>
                    <a:pt x="79265" y="157013"/>
                    <a:pt x="78028" y="157013"/>
                    <a:pt x="78028" y="157013"/>
                  </a:cubicBezTo>
                  <a:cubicBezTo>
                    <a:pt x="70321" y="155779"/>
                    <a:pt x="60139" y="151317"/>
                    <a:pt x="60139" y="146951"/>
                  </a:cubicBezTo>
                  <a:lnTo>
                    <a:pt x="60139" y="107270"/>
                  </a:lnTo>
                  <a:lnTo>
                    <a:pt x="60139" y="78127"/>
                  </a:lnTo>
                  <a:lnTo>
                    <a:pt x="60139" y="37023"/>
                  </a:lnTo>
                  <a:cubicBezTo>
                    <a:pt x="60139" y="34649"/>
                    <a:pt x="63089" y="32276"/>
                    <a:pt x="66990" y="30472"/>
                  </a:cubicBezTo>
                  <a:lnTo>
                    <a:pt x="111047" y="30472"/>
                  </a:lnTo>
                  <a:cubicBezTo>
                    <a:pt x="119802" y="30472"/>
                    <a:pt x="128651" y="37592"/>
                    <a:pt x="128651" y="46326"/>
                  </a:cubicBezTo>
                  <a:lnTo>
                    <a:pt x="128651" y="54300"/>
                  </a:lnTo>
                  <a:cubicBezTo>
                    <a:pt x="128842" y="59331"/>
                    <a:pt x="121039" y="73855"/>
                    <a:pt x="110667" y="73191"/>
                  </a:cubicBezTo>
                  <a:lnTo>
                    <a:pt x="110001" y="73380"/>
                  </a:lnTo>
                  <a:lnTo>
                    <a:pt x="83547" y="73380"/>
                  </a:lnTo>
                  <a:cubicBezTo>
                    <a:pt x="80407" y="73380"/>
                    <a:pt x="77838" y="75943"/>
                    <a:pt x="77838" y="79076"/>
                  </a:cubicBezTo>
                  <a:lnTo>
                    <a:pt x="77838" y="99011"/>
                  </a:lnTo>
                  <a:cubicBezTo>
                    <a:pt x="77838" y="102144"/>
                    <a:pt x="80407" y="104707"/>
                    <a:pt x="83547" y="104707"/>
                  </a:cubicBezTo>
                  <a:lnTo>
                    <a:pt x="112855" y="104707"/>
                  </a:lnTo>
                  <a:cubicBezTo>
                    <a:pt x="132363" y="105846"/>
                    <a:pt x="131506" y="116953"/>
                    <a:pt x="131696" y="121699"/>
                  </a:cubicBezTo>
                  <a:lnTo>
                    <a:pt x="131316" y="173246"/>
                  </a:lnTo>
                  <a:cubicBezTo>
                    <a:pt x="131316" y="173246"/>
                    <a:pt x="131411" y="177138"/>
                    <a:pt x="131982" y="179132"/>
                  </a:cubicBezTo>
                  <a:cubicBezTo>
                    <a:pt x="133124" y="182929"/>
                    <a:pt x="140070" y="183403"/>
                    <a:pt x="140070" y="183403"/>
                  </a:cubicBezTo>
                  <a:lnTo>
                    <a:pt x="198116" y="183403"/>
                  </a:lnTo>
                  <a:cubicBezTo>
                    <a:pt x="199067" y="183403"/>
                    <a:pt x="199828" y="182644"/>
                    <a:pt x="199828" y="181695"/>
                  </a:cubicBezTo>
                  <a:lnTo>
                    <a:pt x="200019" y="159291"/>
                  </a:lnTo>
                  <a:cubicBezTo>
                    <a:pt x="200209" y="159291"/>
                    <a:pt x="200399" y="158342"/>
                    <a:pt x="199924" y="15748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6" name="Freeform 25">
              <a:extLst>
                <a:ext uri="{FF2B5EF4-FFF2-40B4-BE49-F238E27FC236}">
                  <a16:creationId xmlns:a16="http://schemas.microsoft.com/office/drawing/2014/main" id="{4445F3C3-6BE4-EE42-8092-3050BE21A829}"/>
                </a:ext>
              </a:extLst>
            </p:cNvPr>
            <p:cNvSpPr/>
            <p:nvPr/>
          </p:nvSpPr>
          <p:spPr>
            <a:xfrm>
              <a:off x="8650126" y="-1394977"/>
              <a:ext cx="151270" cy="186554"/>
            </a:xfrm>
            <a:custGeom>
              <a:avLst/>
              <a:gdLst>
                <a:gd name="connsiteX0" fmla="*/ 29342 w 151270"/>
                <a:gd name="connsiteY0" fmla="*/ 96828 h 186554"/>
                <a:gd name="connsiteX1" fmla="*/ 87863 w 151270"/>
                <a:gd name="connsiteY1" fmla="*/ 111827 h 186554"/>
                <a:gd name="connsiteX2" fmla="*/ 110701 w 151270"/>
                <a:gd name="connsiteY2" fmla="*/ 138882 h 186554"/>
                <a:gd name="connsiteX3" fmla="*/ 80631 w 151270"/>
                <a:gd name="connsiteY3" fmla="*/ 157583 h 186554"/>
                <a:gd name="connsiteX4" fmla="*/ 48468 w 151270"/>
                <a:gd name="connsiteY4" fmla="*/ 155210 h 186554"/>
                <a:gd name="connsiteX5" fmla="*/ 32101 w 151270"/>
                <a:gd name="connsiteY5" fmla="*/ 138312 h 186554"/>
                <a:gd name="connsiteX6" fmla="*/ 28390 w 151270"/>
                <a:gd name="connsiteY6" fmla="*/ 129199 h 186554"/>
                <a:gd name="connsiteX7" fmla="*/ 23252 w 151270"/>
                <a:gd name="connsiteY7" fmla="*/ 126161 h 186554"/>
                <a:gd name="connsiteX8" fmla="*/ 6980 w 151270"/>
                <a:gd name="connsiteY8" fmla="*/ 126161 h 186554"/>
                <a:gd name="connsiteX9" fmla="*/ 2793 w 151270"/>
                <a:gd name="connsiteY9" fmla="*/ 129199 h 186554"/>
                <a:gd name="connsiteX10" fmla="*/ 2888 w 151270"/>
                <a:gd name="connsiteY10" fmla="*/ 164798 h 186554"/>
                <a:gd name="connsiteX11" fmla="*/ 2888 w 151270"/>
                <a:gd name="connsiteY11" fmla="*/ 180556 h 186554"/>
                <a:gd name="connsiteX12" fmla="*/ 30674 w 151270"/>
                <a:gd name="connsiteY12" fmla="*/ 186536 h 186554"/>
                <a:gd name="connsiteX13" fmla="*/ 85103 w 151270"/>
                <a:gd name="connsiteY13" fmla="*/ 186536 h 186554"/>
                <a:gd name="connsiteX14" fmla="*/ 125545 w 151270"/>
                <a:gd name="connsiteY14" fmla="*/ 177233 h 186554"/>
                <a:gd name="connsiteX15" fmla="*/ 151237 w 151270"/>
                <a:gd name="connsiteY15" fmla="*/ 130243 h 186554"/>
                <a:gd name="connsiteX16" fmla="*/ 133348 w 151270"/>
                <a:gd name="connsiteY16" fmla="*/ 80405 h 186554"/>
                <a:gd name="connsiteX17" fmla="*/ 74827 w 151270"/>
                <a:gd name="connsiteY17" fmla="*/ 65501 h 186554"/>
                <a:gd name="connsiteX18" fmla="*/ 41998 w 151270"/>
                <a:gd name="connsiteY18" fmla="*/ 44142 h 186554"/>
                <a:gd name="connsiteX19" fmla="*/ 72067 w 151270"/>
                <a:gd name="connsiteY19" fmla="*/ 25441 h 186554"/>
                <a:gd name="connsiteX20" fmla="*/ 93477 w 151270"/>
                <a:gd name="connsiteY20" fmla="*/ 27815 h 186554"/>
                <a:gd name="connsiteX21" fmla="*/ 106228 w 151270"/>
                <a:gd name="connsiteY21" fmla="*/ 37023 h 186554"/>
                <a:gd name="connsiteX22" fmla="*/ 112984 w 151270"/>
                <a:gd name="connsiteY22" fmla="*/ 50598 h 186554"/>
                <a:gd name="connsiteX23" fmla="*/ 118694 w 151270"/>
                <a:gd name="connsiteY23" fmla="*/ 56293 h 186554"/>
                <a:gd name="connsiteX24" fmla="*/ 133443 w 151270"/>
                <a:gd name="connsiteY24" fmla="*/ 56293 h 186554"/>
                <a:gd name="connsiteX25" fmla="*/ 139152 w 151270"/>
                <a:gd name="connsiteY25" fmla="*/ 50598 h 186554"/>
                <a:gd name="connsiteX26" fmla="*/ 139057 w 151270"/>
                <a:gd name="connsiteY26" fmla="*/ 3133 h 186554"/>
                <a:gd name="connsiteX27" fmla="*/ 111176 w 151270"/>
                <a:gd name="connsiteY27" fmla="*/ 0 h 186554"/>
                <a:gd name="connsiteX28" fmla="*/ 51228 w 151270"/>
                <a:gd name="connsiteY28" fmla="*/ 0 h 186554"/>
                <a:gd name="connsiteX29" fmla="*/ 17923 w 151270"/>
                <a:gd name="connsiteY29" fmla="*/ 12056 h 186554"/>
                <a:gd name="connsiteX30" fmla="*/ 34 w 151270"/>
                <a:gd name="connsiteY30" fmla="*/ 54110 h 186554"/>
                <a:gd name="connsiteX31" fmla="*/ 29342 w 151270"/>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270" h="186554">
                  <a:moveTo>
                    <a:pt x="29342" y="96828"/>
                  </a:moveTo>
                  <a:cubicBezTo>
                    <a:pt x="44281" y="101385"/>
                    <a:pt x="69974" y="108884"/>
                    <a:pt x="87863" y="111827"/>
                  </a:cubicBezTo>
                  <a:cubicBezTo>
                    <a:pt x="105657" y="114675"/>
                    <a:pt x="113555" y="123218"/>
                    <a:pt x="110701" y="138882"/>
                  </a:cubicBezTo>
                  <a:cubicBezTo>
                    <a:pt x="107846" y="154260"/>
                    <a:pt x="89956" y="157393"/>
                    <a:pt x="80631" y="157583"/>
                  </a:cubicBezTo>
                  <a:cubicBezTo>
                    <a:pt x="80631" y="157583"/>
                    <a:pt x="57794" y="158722"/>
                    <a:pt x="48468" y="155210"/>
                  </a:cubicBezTo>
                  <a:cubicBezTo>
                    <a:pt x="44662" y="153786"/>
                    <a:pt x="34005" y="141730"/>
                    <a:pt x="32101" y="138312"/>
                  </a:cubicBezTo>
                  <a:lnTo>
                    <a:pt x="28390" y="129199"/>
                  </a:lnTo>
                  <a:cubicBezTo>
                    <a:pt x="28390" y="127680"/>
                    <a:pt x="26392" y="126161"/>
                    <a:pt x="23252" y="126161"/>
                  </a:cubicBezTo>
                  <a:lnTo>
                    <a:pt x="6980" y="126161"/>
                  </a:lnTo>
                  <a:cubicBezTo>
                    <a:pt x="3840" y="126161"/>
                    <a:pt x="2793" y="126066"/>
                    <a:pt x="2793" y="129199"/>
                  </a:cubicBezTo>
                  <a:lnTo>
                    <a:pt x="2888" y="164798"/>
                  </a:lnTo>
                  <a:lnTo>
                    <a:pt x="2888" y="180556"/>
                  </a:lnTo>
                  <a:cubicBezTo>
                    <a:pt x="2888" y="185397"/>
                    <a:pt x="10215" y="186536"/>
                    <a:pt x="30674" y="186536"/>
                  </a:cubicBezTo>
                  <a:lnTo>
                    <a:pt x="85103" y="186536"/>
                  </a:lnTo>
                  <a:cubicBezTo>
                    <a:pt x="85103" y="186536"/>
                    <a:pt x="108322" y="187391"/>
                    <a:pt x="125545" y="177233"/>
                  </a:cubicBezTo>
                  <a:cubicBezTo>
                    <a:pt x="139628" y="168974"/>
                    <a:pt x="151998" y="146666"/>
                    <a:pt x="151237" y="130243"/>
                  </a:cubicBezTo>
                  <a:cubicBezTo>
                    <a:pt x="150095" y="103853"/>
                    <a:pt x="148382" y="89708"/>
                    <a:pt x="133348" y="80405"/>
                  </a:cubicBezTo>
                  <a:cubicBezTo>
                    <a:pt x="120026" y="72147"/>
                    <a:pt x="92716" y="68349"/>
                    <a:pt x="74827" y="65501"/>
                  </a:cubicBezTo>
                  <a:cubicBezTo>
                    <a:pt x="56937" y="62654"/>
                    <a:pt x="41998" y="59806"/>
                    <a:pt x="41998" y="44142"/>
                  </a:cubicBezTo>
                  <a:cubicBezTo>
                    <a:pt x="41998" y="28479"/>
                    <a:pt x="62647" y="25631"/>
                    <a:pt x="72067" y="25441"/>
                  </a:cubicBezTo>
                  <a:cubicBezTo>
                    <a:pt x="72067" y="25441"/>
                    <a:pt x="84152" y="24302"/>
                    <a:pt x="93477" y="27815"/>
                  </a:cubicBezTo>
                  <a:cubicBezTo>
                    <a:pt x="97283" y="29239"/>
                    <a:pt x="100899" y="30473"/>
                    <a:pt x="106228" y="37023"/>
                  </a:cubicBezTo>
                  <a:cubicBezTo>
                    <a:pt x="108797" y="40250"/>
                    <a:pt x="112984" y="50598"/>
                    <a:pt x="112984" y="50598"/>
                  </a:cubicBezTo>
                  <a:cubicBezTo>
                    <a:pt x="112984" y="53730"/>
                    <a:pt x="115553" y="56293"/>
                    <a:pt x="118694" y="56293"/>
                  </a:cubicBezTo>
                  <a:lnTo>
                    <a:pt x="133443" y="56293"/>
                  </a:lnTo>
                  <a:cubicBezTo>
                    <a:pt x="138010" y="56863"/>
                    <a:pt x="139152" y="55629"/>
                    <a:pt x="139152" y="50598"/>
                  </a:cubicBezTo>
                  <a:lnTo>
                    <a:pt x="139057" y="3133"/>
                  </a:lnTo>
                  <a:cubicBezTo>
                    <a:pt x="139057" y="-95"/>
                    <a:pt x="120502" y="0"/>
                    <a:pt x="111176" y="0"/>
                  </a:cubicBezTo>
                  <a:lnTo>
                    <a:pt x="51228" y="0"/>
                  </a:lnTo>
                  <a:cubicBezTo>
                    <a:pt x="51228" y="0"/>
                    <a:pt x="30484" y="190"/>
                    <a:pt x="17923" y="12056"/>
                  </a:cubicBezTo>
                  <a:cubicBezTo>
                    <a:pt x="8693" y="20790"/>
                    <a:pt x="-632" y="37687"/>
                    <a:pt x="34" y="54110"/>
                  </a:cubicBezTo>
                  <a:cubicBezTo>
                    <a:pt x="795" y="70438"/>
                    <a:pt x="3650" y="88949"/>
                    <a:pt x="29342"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7" name="Freeform 26">
              <a:extLst>
                <a:ext uri="{FF2B5EF4-FFF2-40B4-BE49-F238E27FC236}">
                  <a16:creationId xmlns:a16="http://schemas.microsoft.com/office/drawing/2014/main" id="{4D988231-4B94-6B4E-ACF0-48C947B81C92}"/>
                </a:ext>
              </a:extLst>
            </p:cNvPr>
            <p:cNvSpPr/>
            <p:nvPr/>
          </p:nvSpPr>
          <p:spPr>
            <a:xfrm>
              <a:off x="9830350" y="-1394977"/>
              <a:ext cx="151555" cy="186554"/>
            </a:xfrm>
            <a:custGeom>
              <a:avLst/>
              <a:gdLst>
                <a:gd name="connsiteX0" fmla="*/ 29627 w 151555"/>
                <a:gd name="connsiteY0" fmla="*/ 96828 h 186554"/>
                <a:gd name="connsiteX1" fmla="*/ 88149 w 151555"/>
                <a:gd name="connsiteY1" fmla="*/ 111827 h 186554"/>
                <a:gd name="connsiteX2" fmla="*/ 110986 w 151555"/>
                <a:gd name="connsiteY2" fmla="*/ 138882 h 186554"/>
                <a:gd name="connsiteX3" fmla="*/ 80917 w 151555"/>
                <a:gd name="connsiteY3" fmla="*/ 157583 h 186554"/>
                <a:gd name="connsiteX4" fmla="*/ 48754 w 151555"/>
                <a:gd name="connsiteY4" fmla="*/ 155210 h 186554"/>
                <a:gd name="connsiteX5" fmla="*/ 32387 w 151555"/>
                <a:gd name="connsiteY5" fmla="*/ 138312 h 186554"/>
                <a:gd name="connsiteX6" fmla="*/ 28676 w 151555"/>
                <a:gd name="connsiteY6" fmla="*/ 129199 h 186554"/>
                <a:gd name="connsiteX7" fmla="*/ 23537 w 151555"/>
                <a:gd name="connsiteY7" fmla="*/ 126161 h 186554"/>
                <a:gd name="connsiteX8" fmla="*/ 7266 w 151555"/>
                <a:gd name="connsiteY8" fmla="*/ 126161 h 186554"/>
                <a:gd name="connsiteX9" fmla="*/ 3079 w 151555"/>
                <a:gd name="connsiteY9" fmla="*/ 129199 h 186554"/>
                <a:gd name="connsiteX10" fmla="*/ 3174 w 151555"/>
                <a:gd name="connsiteY10" fmla="*/ 164798 h 186554"/>
                <a:gd name="connsiteX11" fmla="*/ 3174 w 151555"/>
                <a:gd name="connsiteY11" fmla="*/ 180556 h 186554"/>
                <a:gd name="connsiteX12" fmla="*/ 30959 w 151555"/>
                <a:gd name="connsiteY12" fmla="*/ 186536 h 186554"/>
                <a:gd name="connsiteX13" fmla="*/ 85389 w 151555"/>
                <a:gd name="connsiteY13" fmla="*/ 186536 h 186554"/>
                <a:gd name="connsiteX14" fmla="*/ 125830 w 151555"/>
                <a:gd name="connsiteY14" fmla="*/ 177233 h 186554"/>
                <a:gd name="connsiteX15" fmla="*/ 151523 w 151555"/>
                <a:gd name="connsiteY15" fmla="*/ 130243 h 186554"/>
                <a:gd name="connsiteX16" fmla="*/ 133633 w 151555"/>
                <a:gd name="connsiteY16" fmla="*/ 80405 h 186554"/>
                <a:gd name="connsiteX17" fmla="*/ 75112 w 151555"/>
                <a:gd name="connsiteY17" fmla="*/ 65501 h 186554"/>
                <a:gd name="connsiteX18" fmla="*/ 42283 w 151555"/>
                <a:gd name="connsiteY18" fmla="*/ 44142 h 186554"/>
                <a:gd name="connsiteX19" fmla="*/ 72353 w 151555"/>
                <a:gd name="connsiteY19" fmla="*/ 25441 h 186554"/>
                <a:gd name="connsiteX20" fmla="*/ 93763 w 151555"/>
                <a:gd name="connsiteY20" fmla="*/ 27815 h 186554"/>
                <a:gd name="connsiteX21" fmla="*/ 106514 w 151555"/>
                <a:gd name="connsiteY21" fmla="*/ 37023 h 186554"/>
                <a:gd name="connsiteX22" fmla="*/ 113270 w 151555"/>
                <a:gd name="connsiteY22" fmla="*/ 50598 h 186554"/>
                <a:gd name="connsiteX23" fmla="*/ 118979 w 151555"/>
                <a:gd name="connsiteY23" fmla="*/ 56293 h 186554"/>
                <a:gd name="connsiteX24" fmla="*/ 133728 w 151555"/>
                <a:gd name="connsiteY24" fmla="*/ 56293 h 186554"/>
                <a:gd name="connsiteX25" fmla="*/ 139438 w 151555"/>
                <a:gd name="connsiteY25" fmla="*/ 50598 h 186554"/>
                <a:gd name="connsiteX26" fmla="*/ 139343 w 151555"/>
                <a:gd name="connsiteY26" fmla="*/ 3133 h 186554"/>
                <a:gd name="connsiteX27" fmla="*/ 111462 w 151555"/>
                <a:gd name="connsiteY27" fmla="*/ 0 h 186554"/>
                <a:gd name="connsiteX28" fmla="*/ 51228 w 151555"/>
                <a:gd name="connsiteY28" fmla="*/ 0 h 186554"/>
                <a:gd name="connsiteX29" fmla="*/ 17923 w 151555"/>
                <a:gd name="connsiteY29" fmla="*/ 12056 h 186554"/>
                <a:gd name="connsiteX30" fmla="*/ 34 w 151555"/>
                <a:gd name="connsiteY30" fmla="*/ 54110 h 186554"/>
                <a:gd name="connsiteX31" fmla="*/ 29627 w 151555"/>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555" h="186554">
                  <a:moveTo>
                    <a:pt x="29627" y="96828"/>
                  </a:moveTo>
                  <a:cubicBezTo>
                    <a:pt x="44567" y="101385"/>
                    <a:pt x="70259" y="108884"/>
                    <a:pt x="88149" y="111827"/>
                  </a:cubicBezTo>
                  <a:cubicBezTo>
                    <a:pt x="106038" y="114675"/>
                    <a:pt x="113841" y="123218"/>
                    <a:pt x="110986" y="138882"/>
                  </a:cubicBezTo>
                  <a:cubicBezTo>
                    <a:pt x="108131" y="154260"/>
                    <a:pt x="90242" y="157393"/>
                    <a:pt x="80917" y="157583"/>
                  </a:cubicBezTo>
                  <a:cubicBezTo>
                    <a:pt x="80917" y="157583"/>
                    <a:pt x="58079" y="158722"/>
                    <a:pt x="48754" y="155210"/>
                  </a:cubicBezTo>
                  <a:cubicBezTo>
                    <a:pt x="44947" y="153786"/>
                    <a:pt x="34290" y="141730"/>
                    <a:pt x="32387" y="138312"/>
                  </a:cubicBezTo>
                  <a:lnTo>
                    <a:pt x="28676" y="129199"/>
                  </a:lnTo>
                  <a:cubicBezTo>
                    <a:pt x="28676" y="127680"/>
                    <a:pt x="26677" y="126161"/>
                    <a:pt x="23537" y="126161"/>
                  </a:cubicBezTo>
                  <a:lnTo>
                    <a:pt x="7266" y="126161"/>
                  </a:lnTo>
                  <a:cubicBezTo>
                    <a:pt x="4125" y="126161"/>
                    <a:pt x="3079" y="126066"/>
                    <a:pt x="3079" y="129199"/>
                  </a:cubicBezTo>
                  <a:lnTo>
                    <a:pt x="3174" y="164798"/>
                  </a:lnTo>
                  <a:lnTo>
                    <a:pt x="3174" y="180556"/>
                  </a:lnTo>
                  <a:cubicBezTo>
                    <a:pt x="3174" y="185397"/>
                    <a:pt x="10501" y="186536"/>
                    <a:pt x="30959" y="186536"/>
                  </a:cubicBezTo>
                  <a:lnTo>
                    <a:pt x="85389" y="186536"/>
                  </a:lnTo>
                  <a:cubicBezTo>
                    <a:pt x="85389" y="186536"/>
                    <a:pt x="108607" y="187391"/>
                    <a:pt x="125830" y="177233"/>
                  </a:cubicBezTo>
                  <a:cubicBezTo>
                    <a:pt x="139913" y="168974"/>
                    <a:pt x="152284" y="146666"/>
                    <a:pt x="151523" y="130243"/>
                  </a:cubicBezTo>
                  <a:cubicBezTo>
                    <a:pt x="150381" y="103853"/>
                    <a:pt x="148668" y="89708"/>
                    <a:pt x="133633" y="80405"/>
                  </a:cubicBezTo>
                  <a:cubicBezTo>
                    <a:pt x="120311" y="72147"/>
                    <a:pt x="93001" y="68349"/>
                    <a:pt x="75112" y="65501"/>
                  </a:cubicBezTo>
                  <a:cubicBezTo>
                    <a:pt x="57223" y="62654"/>
                    <a:pt x="42283" y="59806"/>
                    <a:pt x="42283" y="44142"/>
                  </a:cubicBezTo>
                  <a:cubicBezTo>
                    <a:pt x="42283" y="28479"/>
                    <a:pt x="62932" y="25631"/>
                    <a:pt x="72353" y="25441"/>
                  </a:cubicBezTo>
                  <a:cubicBezTo>
                    <a:pt x="72353" y="25441"/>
                    <a:pt x="84437" y="24302"/>
                    <a:pt x="93763" y="27815"/>
                  </a:cubicBezTo>
                  <a:cubicBezTo>
                    <a:pt x="97569" y="29239"/>
                    <a:pt x="101185" y="30473"/>
                    <a:pt x="106514" y="37023"/>
                  </a:cubicBezTo>
                  <a:cubicBezTo>
                    <a:pt x="109083" y="40250"/>
                    <a:pt x="113270" y="50598"/>
                    <a:pt x="113270" y="50598"/>
                  </a:cubicBezTo>
                  <a:cubicBezTo>
                    <a:pt x="113270" y="53730"/>
                    <a:pt x="115839" y="56293"/>
                    <a:pt x="118979" y="56293"/>
                  </a:cubicBezTo>
                  <a:lnTo>
                    <a:pt x="133728" y="56293"/>
                  </a:lnTo>
                  <a:cubicBezTo>
                    <a:pt x="138296" y="56863"/>
                    <a:pt x="139438" y="55629"/>
                    <a:pt x="139438" y="50598"/>
                  </a:cubicBezTo>
                  <a:lnTo>
                    <a:pt x="139343" y="3133"/>
                  </a:lnTo>
                  <a:cubicBezTo>
                    <a:pt x="139343" y="-95"/>
                    <a:pt x="120787" y="0"/>
                    <a:pt x="111462" y="0"/>
                  </a:cubicBezTo>
                  <a:lnTo>
                    <a:pt x="51228" y="0"/>
                  </a:lnTo>
                  <a:cubicBezTo>
                    <a:pt x="51228" y="0"/>
                    <a:pt x="30484" y="190"/>
                    <a:pt x="17923" y="12056"/>
                  </a:cubicBezTo>
                  <a:cubicBezTo>
                    <a:pt x="8693" y="20790"/>
                    <a:pt x="-632" y="37687"/>
                    <a:pt x="34" y="54110"/>
                  </a:cubicBezTo>
                  <a:cubicBezTo>
                    <a:pt x="1080" y="70438"/>
                    <a:pt x="3935" y="88949"/>
                    <a:pt x="29627"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8" name="Freeform 27">
              <a:extLst>
                <a:ext uri="{FF2B5EF4-FFF2-40B4-BE49-F238E27FC236}">
                  <a16:creationId xmlns:a16="http://schemas.microsoft.com/office/drawing/2014/main" id="{2EE4C108-1879-904F-AC21-0FA3C3DA3E41}"/>
                </a:ext>
              </a:extLst>
            </p:cNvPr>
            <p:cNvSpPr/>
            <p:nvPr/>
          </p:nvSpPr>
          <p:spPr>
            <a:xfrm>
              <a:off x="10808081" y="-1394977"/>
              <a:ext cx="151555" cy="186554"/>
            </a:xfrm>
            <a:custGeom>
              <a:avLst/>
              <a:gdLst>
                <a:gd name="connsiteX0" fmla="*/ 29627 w 151555"/>
                <a:gd name="connsiteY0" fmla="*/ 96828 h 186554"/>
                <a:gd name="connsiteX1" fmla="*/ 88148 w 151555"/>
                <a:gd name="connsiteY1" fmla="*/ 111827 h 186554"/>
                <a:gd name="connsiteX2" fmla="*/ 110986 w 151555"/>
                <a:gd name="connsiteY2" fmla="*/ 138882 h 186554"/>
                <a:gd name="connsiteX3" fmla="*/ 80917 w 151555"/>
                <a:gd name="connsiteY3" fmla="*/ 157583 h 186554"/>
                <a:gd name="connsiteX4" fmla="*/ 48754 w 151555"/>
                <a:gd name="connsiteY4" fmla="*/ 155210 h 186554"/>
                <a:gd name="connsiteX5" fmla="*/ 32387 w 151555"/>
                <a:gd name="connsiteY5" fmla="*/ 138312 h 186554"/>
                <a:gd name="connsiteX6" fmla="*/ 28676 w 151555"/>
                <a:gd name="connsiteY6" fmla="*/ 129199 h 186554"/>
                <a:gd name="connsiteX7" fmla="*/ 23537 w 151555"/>
                <a:gd name="connsiteY7" fmla="*/ 126161 h 186554"/>
                <a:gd name="connsiteX8" fmla="*/ 7265 w 151555"/>
                <a:gd name="connsiteY8" fmla="*/ 126161 h 186554"/>
                <a:gd name="connsiteX9" fmla="*/ 3078 w 151555"/>
                <a:gd name="connsiteY9" fmla="*/ 129199 h 186554"/>
                <a:gd name="connsiteX10" fmla="*/ 3174 w 151555"/>
                <a:gd name="connsiteY10" fmla="*/ 164798 h 186554"/>
                <a:gd name="connsiteX11" fmla="*/ 3174 w 151555"/>
                <a:gd name="connsiteY11" fmla="*/ 180556 h 186554"/>
                <a:gd name="connsiteX12" fmla="*/ 30960 w 151555"/>
                <a:gd name="connsiteY12" fmla="*/ 186536 h 186554"/>
                <a:gd name="connsiteX13" fmla="*/ 85389 w 151555"/>
                <a:gd name="connsiteY13" fmla="*/ 186536 h 186554"/>
                <a:gd name="connsiteX14" fmla="*/ 125830 w 151555"/>
                <a:gd name="connsiteY14" fmla="*/ 177233 h 186554"/>
                <a:gd name="connsiteX15" fmla="*/ 151522 w 151555"/>
                <a:gd name="connsiteY15" fmla="*/ 130243 h 186554"/>
                <a:gd name="connsiteX16" fmla="*/ 133633 w 151555"/>
                <a:gd name="connsiteY16" fmla="*/ 80405 h 186554"/>
                <a:gd name="connsiteX17" fmla="*/ 75112 w 151555"/>
                <a:gd name="connsiteY17" fmla="*/ 65501 h 186554"/>
                <a:gd name="connsiteX18" fmla="*/ 42283 w 151555"/>
                <a:gd name="connsiteY18" fmla="*/ 44142 h 186554"/>
                <a:gd name="connsiteX19" fmla="*/ 72352 w 151555"/>
                <a:gd name="connsiteY19" fmla="*/ 25441 h 186554"/>
                <a:gd name="connsiteX20" fmla="*/ 93762 w 151555"/>
                <a:gd name="connsiteY20" fmla="*/ 27815 h 186554"/>
                <a:gd name="connsiteX21" fmla="*/ 106514 w 151555"/>
                <a:gd name="connsiteY21" fmla="*/ 37023 h 186554"/>
                <a:gd name="connsiteX22" fmla="*/ 113270 w 151555"/>
                <a:gd name="connsiteY22" fmla="*/ 50598 h 186554"/>
                <a:gd name="connsiteX23" fmla="*/ 118979 w 151555"/>
                <a:gd name="connsiteY23" fmla="*/ 56293 h 186554"/>
                <a:gd name="connsiteX24" fmla="*/ 133728 w 151555"/>
                <a:gd name="connsiteY24" fmla="*/ 56293 h 186554"/>
                <a:gd name="connsiteX25" fmla="*/ 139438 w 151555"/>
                <a:gd name="connsiteY25" fmla="*/ 50598 h 186554"/>
                <a:gd name="connsiteX26" fmla="*/ 139342 w 151555"/>
                <a:gd name="connsiteY26" fmla="*/ 3133 h 186554"/>
                <a:gd name="connsiteX27" fmla="*/ 111462 w 151555"/>
                <a:gd name="connsiteY27" fmla="*/ 0 h 186554"/>
                <a:gd name="connsiteX28" fmla="*/ 51228 w 151555"/>
                <a:gd name="connsiteY28" fmla="*/ 0 h 186554"/>
                <a:gd name="connsiteX29" fmla="*/ 17923 w 151555"/>
                <a:gd name="connsiteY29" fmla="*/ 12056 h 186554"/>
                <a:gd name="connsiteX30" fmla="*/ 34 w 151555"/>
                <a:gd name="connsiteY30" fmla="*/ 54110 h 186554"/>
                <a:gd name="connsiteX31" fmla="*/ 29627 w 151555"/>
                <a:gd name="connsiteY31" fmla="*/ 96828 h 18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1555" h="186554">
                  <a:moveTo>
                    <a:pt x="29627" y="96828"/>
                  </a:moveTo>
                  <a:cubicBezTo>
                    <a:pt x="44567" y="101385"/>
                    <a:pt x="70259" y="108884"/>
                    <a:pt x="88148" y="111827"/>
                  </a:cubicBezTo>
                  <a:cubicBezTo>
                    <a:pt x="106038" y="114675"/>
                    <a:pt x="113841" y="123218"/>
                    <a:pt x="110986" y="138882"/>
                  </a:cubicBezTo>
                  <a:cubicBezTo>
                    <a:pt x="108226" y="154260"/>
                    <a:pt x="90242" y="157393"/>
                    <a:pt x="80917" y="157583"/>
                  </a:cubicBezTo>
                  <a:cubicBezTo>
                    <a:pt x="80917" y="157583"/>
                    <a:pt x="58079" y="158722"/>
                    <a:pt x="48754" y="155210"/>
                  </a:cubicBezTo>
                  <a:cubicBezTo>
                    <a:pt x="44948" y="153786"/>
                    <a:pt x="34290" y="141730"/>
                    <a:pt x="32387" y="138312"/>
                  </a:cubicBezTo>
                  <a:lnTo>
                    <a:pt x="28676" y="129199"/>
                  </a:lnTo>
                  <a:cubicBezTo>
                    <a:pt x="28676" y="127680"/>
                    <a:pt x="26677" y="126161"/>
                    <a:pt x="23537" y="126161"/>
                  </a:cubicBezTo>
                  <a:lnTo>
                    <a:pt x="7265" y="126161"/>
                  </a:lnTo>
                  <a:cubicBezTo>
                    <a:pt x="4125" y="126161"/>
                    <a:pt x="3078" y="126066"/>
                    <a:pt x="3078" y="129199"/>
                  </a:cubicBezTo>
                  <a:lnTo>
                    <a:pt x="3174" y="164798"/>
                  </a:lnTo>
                  <a:lnTo>
                    <a:pt x="3174" y="180556"/>
                  </a:lnTo>
                  <a:cubicBezTo>
                    <a:pt x="3174" y="185397"/>
                    <a:pt x="10501" y="186536"/>
                    <a:pt x="30960" y="186536"/>
                  </a:cubicBezTo>
                  <a:lnTo>
                    <a:pt x="85389" y="186536"/>
                  </a:lnTo>
                  <a:cubicBezTo>
                    <a:pt x="85389" y="186536"/>
                    <a:pt x="108607" y="187391"/>
                    <a:pt x="125830" y="177233"/>
                  </a:cubicBezTo>
                  <a:cubicBezTo>
                    <a:pt x="139913" y="168974"/>
                    <a:pt x="152284" y="146666"/>
                    <a:pt x="151522" y="130243"/>
                  </a:cubicBezTo>
                  <a:cubicBezTo>
                    <a:pt x="150381" y="103853"/>
                    <a:pt x="148668" y="89708"/>
                    <a:pt x="133633" y="80405"/>
                  </a:cubicBezTo>
                  <a:cubicBezTo>
                    <a:pt x="120311" y="72147"/>
                    <a:pt x="93001" y="68349"/>
                    <a:pt x="75112" y="65501"/>
                  </a:cubicBezTo>
                  <a:cubicBezTo>
                    <a:pt x="57222" y="62654"/>
                    <a:pt x="42283" y="59806"/>
                    <a:pt x="42283" y="44142"/>
                  </a:cubicBezTo>
                  <a:cubicBezTo>
                    <a:pt x="42283" y="28479"/>
                    <a:pt x="62932" y="25631"/>
                    <a:pt x="72352" y="25441"/>
                  </a:cubicBezTo>
                  <a:cubicBezTo>
                    <a:pt x="72352" y="25441"/>
                    <a:pt x="84437" y="24302"/>
                    <a:pt x="93762" y="27815"/>
                  </a:cubicBezTo>
                  <a:cubicBezTo>
                    <a:pt x="97569" y="29239"/>
                    <a:pt x="101185" y="30473"/>
                    <a:pt x="106514" y="37023"/>
                  </a:cubicBezTo>
                  <a:cubicBezTo>
                    <a:pt x="109083" y="40250"/>
                    <a:pt x="113270" y="50598"/>
                    <a:pt x="113270" y="50598"/>
                  </a:cubicBezTo>
                  <a:cubicBezTo>
                    <a:pt x="113270" y="53730"/>
                    <a:pt x="115839" y="56293"/>
                    <a:pt x="118979" y="56293"/>
                  </a:cubicBezTo>
                  <a:lnTo>
                    <a:pt x="133728" y="56293"/>
                  </a:lnTo>
                  <a:cubicBezTo>
                    <a:pt x="138296" y="56863"/>
                    <a:pt x="139438" y="55629"/>
                    <a:pt x="139438" y="50598"/>
                  </a:cubicBezTo>
                  <a:lnTo>
                    <a:pt x="139342" y="3133"/>
                  </a:lnTo>
                  <a:cubicBezTo>
                    <a:pt x="139342" y="-95"/>
                    <a:pt x="120787" y="0"/>
                    <a:pt x="111462" y="0"/>
                  </a:cubicBezTo>
                  <a:lnTo>
                    <a:pt x="51228" y="0"/>
                  </a:lnTo>
                  <a:cubicBezTo>
                    <a:pt x="51228" y="0"/>
                    <a:pt x="30484" y="190"/>
                    <a:pt x="17923" y="12056"/>
                  </a:cubicBezTo>
                  <a:cubicBezTo>
                    <a:pt x="8693" y="20790"/>
                    <a:pt x="-632" y="37687"/>
                    <a:pt x="34" y="54110"/>
                  </a:cubicBezTo>
                  <a:cubicBezTo>
                    <a:pt x="1080" y="70438"/>
                    <a:pt x="3935" y="88949"/>
                    <a:pt x="29627" y="96828"/>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29" name="Freeform 28">
              <a:extLst>
                <a:ext uri="{FF2B5EF4-FFF2-40B4-BE49-F238E27FC236}">
                  <a16:creationId xmlns:a16="http://schemas.microsoft.com/office/drawing/2014/main" id="{8D6F8B41-AE52-0942-A49E-00E7D0ADBE1C}"/>
                </a:ext>
              </a:extLst>
            </p:cNvPr>
            <p:cNvSpPr/>
            <p:nvPr/>
          </p:nvSpPr>
          <p:spPr>
            <a:xfrm>
              <a:off x="8879677" y="-1397944"/>
              <a:ext cx="227328" cy="196684"/>
            </a:xfrm>
            <a:custGeom>
              <a:avLst/>
              <a:gdLst>
                <a:gd name="connsiteX0" fmla="*/ 226567 w 227328"/>
                <a:gd name="connsiteY0" fmla="*/ 174030 h 196684"/>
                <a:gd name="connsiteX1" fmla="*/ 218669 w 227328"/>
                <a:gd name="connsiteY1" fmla="*/ 171847 h 196684"/>
                <a:gd name="connsiteX2" fmla="*/ 211533 w 227328"/>
                <a:gd name="connsiteY2" fmla="*/ 168999 h 196684"/>
                <a:gd name="connsiteX3" fmla="*/ 189171 w 227328"/>
                <a:gd name="connsiteY3" fmla="*/ 153146 h 196684"/>
                <a:gd name="connsiteX4" fmla="*/ 196498 w 227328"/>
                <a:gd name="connsiteY4" fmla="*/ 137482 h 196684"/>
                <a:gd name="connsiteX5" fmla="*/ 200780 w 227328"/>
                <a:gd name="connsiteY5" fmla="*/ 103308 h 196684"/>
                <a:gd name="connsiteX6" fmla="*/ 199924 w 227328"/>
                <a:gd name="connsiteY6" fmla="*/ 81569 h 196684"/>
                <a:gd name="connsiteX7" fmla="*/ 196308 w 227328"/>
                <a:gd name="connsiteY7" fmla="*/ 80525 h 196684"/>
                <a:gd name="connsiteX8" fmla="*/ 165762 w 227328"/>
                <a:gd name="connsiteY8" fmla="*/ 80525 h 196684"/>
                <a:gd name="connsiteX9" fmla="*/ 162908 w 227328"/>
                <a:gd name="connsiteY9" fmla="*/ 81949 h 196684"/>
                <a:gd name="connsiteX10" fmla="*/ 162242 w 227328"/>
                <a:gd name="connsiteY10" fmla="*/ 86885 h 196684"/>
                <a:gd name="connsiteX11" fmla="*/ 162242 w 227328"/>
                <a:gd name="connsiteY11" fmla="*/ 101884 h 196684"/>
                <a:gd name="connsiteX12" fmla="*/ 157389 w 227328"/>
                <a:gd name="connsiteY12" fmla="*/ 126850 h 196684"/>
                <a:gd name="connsiteX13" fmla="*/ 112284 w 227328"/>
                <a:gd name="connsiteY13" fmla="*/ 89448 h 196684"/>
                <a:gd name="connsiteX14" fmla="*/ 153011 w 227328"/>
                <a:gd name="connsiteY14" fmla="*/ 43502 h 196684"/>
                <a:gd name="connsiteX15" fmla="*/ 85926 w 227328"/>
                <a:gd name="connsiteY15" fmla="*/ 25 h 196684"/>
                <a:gd name="connsiteX16" fmla="*/ 13132 w 227328"/>
                <a:gd name="connsiteY16" fmla="*/ 43502 h 196684"/>
                <a:gd name="connsiteX17" fmla="*/ 19031 w 227328"/>
                <a:gd name="connsiteY17" fmla="*/ 64671 h 196684"/>
                <a:gd name="connsiteX18" fmla="*/ 18841 w 227328"/>
                <a:gd name="connsiteY18" fmla="*/ 65526 h 196684"/>
                <a:gd name="connsiteX19" fmla="*/ 20459 w 227328"/>
                <a:gd name="connsiteY19" fmla="*/ 66855 h 196684"/>
                <a:gd name="connsiteX20" fmla="*/ 31116 w 227328"/>
                <a:gd name="connsiteY20" fmla="*/ 77867 h 196684"/>
                <a:gd name="connsiteX21" fmla="*/ 0 w 227328"/>
                <a:gd name="connsiteY21" fmla="*/ 130362 h 196684"/>
                <a:gd name="connsiteX22" fmla="*/ 90969 w 227328"/>
                <a:gd name="connsiteY22" fmla="*/ 196623 h 196684"/>
                <a:gd name="connsiteX23" fmla="*/ 161385 w 227328"/>
                <a:gd name="connsiteY23" fmla="*/ 180010 h 196684"/>
                <a:gd name="connsiteX24" fmla="*/ 168807 w 227328"/>
                <a:gd name="connsiteY24" fmla="*/ 183238 h 196684"/>
                <a:gd name="connsiteX25" fmla="*/ 180416 w 227328"/>
                <a:gd name="connsiteY25" fmla="*/ 188934 h 196684"/>
                <a:gd name="connsiteX26" fmla="*/ 222380 w 227328"/>
                <a:gd name="connsiteY26" fmla="*/ 188744 h 196684"/>
                <a:gd name="connsiteX27" fmla="*/ 227233 w 227328"/>
                <a:gd name="connsiteY27" fmla="*/ 184662 h 196684"/>
                <a:gd name="connsiteX28" fmla="*/ 227329 w 227328"/>
                <a:gd name="connsiteY28" fmla="*/ 182384 h 196684"/>
                <a:gd name="connsiteX29" fmla="*/ 226567 w 227328"/>
                <a:gd name="connsiteY29" fmla="*/ 174030 h 196684"/>
                <a:gd name="connsiteX30" fmla="*/ 85926 w 227328"/>
                <a:gd name="connsiteY30" fmla="*/ 26415 h 196684"/>
                <a:gd name="connsiteX31" fmla="*/ 112380 w 227328"/>
                <a:gd name="connsiteY31" fmla="*/ 43502 h 196684"/>
                <a:gd name="connsiteX32" fmla="*/ 83833 w 227328"/>
                <a:gd name="connsiteY32" fmla="*/ 62678 h 196684"/>
                <a:gd name="connsiteX33" fmla="*/ 80217 w 227328"/>
                <a:gd name="connsiteY33" fmla="*/ 62013 h 196684"/>
                <a:gd name="connsiteX34" fmla="*/ 72319 w 227328"/>
                <a:gd name="connsiteY34" fmla="*/ 58881 h 196684"/>
                <a:gd name="connsiteX35" fmla="*/ 57570 w 227328"/>
                <a:gd name="connsiteY35" fmla="*/ 43502 h 196684"/>
                <a:gd name="connsiteX36" fmla="*/ 85926 w 227328"/>
                <a:gd name="connsiteY36" fmla="*/ 26415 h 196684"/>
                <a:gd name="connsiteX37" fmla="*/ 95252 w 227328"/>
                <a:gd name="connsiteY37" fmla="*/ 164537 h 196684"/>
                <a:gd name="connsiteX38" fmla="*/ 48244 w 227328"/>
                <a:gd name="connsiteY38" fmla="*/ 126945 h 196684"/>
                <a:gd name="connsiteX39" fmla="*/ 61471 w 227328"/>
                <a:gd name="connsiteY39" fmla="*/ 99795 h 196684"/>
                <a:gd name="connsiteX40" fmla="*/ 133409 w 227328"/>
                <a:gd name="connsiteY40" fmla="*/ 157512 h 196684"/>
                <a:gd name="connsiteX41" fmla="*/ 95252 w 227328"/>
                <a:gd name="connsiteY41" fmla="*/ 164537 h 19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7328" h="196684">
                  <a:moveTo>
                    <a:pt x="226567" y="174030"/>
                  </a:moveTo>
                  <a:cubicBezTo>
                    <a:pt x="225140" y="171847"/>
                    <a:pt x="222951" y="172606"/>
                    <a:pt x="218669" y="171847"/>
                  </a:cubicBezTo>
                  <a:cubicBezTo>
                    <a:pt x="214387" y="171182"/>
                    <a:pt x="211533" y="168999"/>
                    <a:pt x="211533" y="168999"/>
                  </a:cubicBezTo>
                  <a:lnTo>
                    <a:pt x="189171" y="153146"/>
                  </a:lnTo>
                  <a:cubicBezTo>
                    <a:pt x="192216" y="147545"/>
                    <a:pt x="194690" y="141659"/>
                    <a:pt x="196498" y="137482"/>
                  </a:cubicBezTo>
                  <a:cubicBezTo>
                    <a:pt x="199353" y="131122"/>
                    <a:pt x="200780" y="110427"/>
                    <a:pt x="200780" y="103308"/>
                  </a:cubicBezTo>
                  <a:cubicBezTo>
                    <a:pt x="200780" y="96188"/>
                    <a:pt x="202398" y="83752"/>
                    <a:pt x="199924" y="81569"/>
                  </a:cubicBezTo>
                  <a:cubicBezTo>
                    <a:pt x="199257" y="80999"/>
                    <a:pt x="196308" y="80525"/>
                    <a:pt x="196308" y="80525"/>
                  </a:cubicBezTo>
                  <a:lnTo>
                    <a:pt x="165762" y="80525"/>
                  </a:lnTo>
                  <a:cubicBezTo>
                    <a:pt x="165762" y="80525"/>
                    <a:pt x="163954" y="80904"/>
                    <a:pt x="162908" y="81949"/>
                  </a:cubicBezTo>
                  <a:cubicBezTo>
                    <a:pt x="162051" y="82803"/>
                    <a:pt x="162242" y="86885"/>
                    <a:pt x="162242" y="86885"/>
                  </a:cubicBezTo>
                  <a:cubicBezTo>
                    <a:pt x="162242" y="86885"/>
                    <a:pt x="161861" y="96852"/>
                    <a:pt x="162242" y="101884"/>
                  </a:cubicBezTo>
                  <a:cubicBezTo>
                    <a:pt x="162908" y="111187"/>
                    <a:pt x="160529" y="119730"/>
                    <a:pt x="157389" y="126850"/>
                  </a:cubicBezTo>
                  <a:lnTo>
                    <a:pt x="112284" y="89448"/>
                  </a:lnTo>
                  <a:cubicBezTo>
                    <a:pt x="137120" y="80145"/>
                    <a:pt x="153392" y="59071"/>
                    <a:pt x="153011" y="43502"/>
                  </a:cubicBezTo>
                  <a:cubicBezTo>
                    <a:pt x="152250" y="12840"/>
                    <a:pt x="124940" y="689"/>
                    <a:pt x="85926" y="25"/>
                  </a:cubicBezTo>
                  <a:cubicBezTo>
                    <a:pt x="42440" y="-735"/>
                    <a:pt x="13132" y="16163"/>
                    <a:pt x="13132" y="43502"/>
                  </a:cubicBezTo>
                  <a:cubicBezTo>
                    <a:pt x="13132" y="51381"/>
                    <a:pt x="15225" y="58406"/>
                    <a:pt x="19031" y="64671"/>
                  </a:cubicBezTo>
                  <a:cubicBezTo>
                    <a:pt x="18936" y="64956"/>
                    <a:pt x="18841" y="65241"/>
                    <a:pt x="18841" y="65526"/>
                  </a:cubicBezTo>
                  <a:lnTo>
                    <a:pt x="20459" y="66855"/>
                  </a:lnTo>
                  <a:cubicBezTo>
                    <a:pt x="23313" y="70937"/>
                    <a:pt x="26929" y="74639"/>
                    <a:pt x="31116" y="77867"/>
                  </a:cubicBezTo>
                  <a:cubicBezTo>
                    <a:pt x="11799" y="91347"/>
                    <a:pt x="0" y="110237"/>
                    <a:pt x="0" y="130362"/>
                  </a:cubicBezTo>
                  <a:cubicBezTo>
                    <a:pt x="0" y="168144"/>
                    <a:pt x="17414" y="194440"/>
                    <a:pt x="90969" y="196623"/>
                  </a:cubicBezTo>
                  <a:cubicBezTo>
                    <a:pt x="117423" y="197383"/>
                    <a:pt x="142449" y="191022"/>
                    <a:pt x="161385" y="180010"/>
                  </a:cubicBezTo>
                  <a:lnTo>
                    <a:pt x="168807" y="183238"/>
                  </a:lnTo>
                  <a:cubicBezTo>
                    <a:pt x="171852" y="185706"/>
                    <a:pt x="174326" y="188744"/>
                    <a:pt x="180416" y="188934"/>
                  </a:cubicBezTo>
                  <a:lnTo>
                    <a:pt x="222380" y="188744"/>
                  </a:lnTo>
                  <a:cubicBezTo>
                    <a:pt x="225521" y="188744"/>
                    <a:pt x="227233" y="187795"/>
                    <a:pt x="227233" y="184662"/>
                  </a:cubicBezTo>
                  <a:lnTo>
                    <a:pt x="227329" y="182384"/>
                  </a:lnTo>
                  <a:cubicBezTo>
                    <a:pt x="227138" y="182384"/>
                    <a:pt x="227519" y="175549"/>
                    <a:pt x="226567" y="174030"/>
                  </a:cubicBezTo>
                  <a:close/>
                  <a:moveTo>
                    <a:pt x="85926" y="26415"/>
                  </a:moveTo>
                  <a:cubicBezTo>
                    <a:pt x="103054" y="27174"/>
                    <a:pt x="112380" y="34958"/>
                    <a:pt x="112380" y="43502"/>
                  </a:cubicBezTo>
                  <a:cubicBezTo>
                    <a:pt x="112380" y="53470"/>
                    <a:pt x="89542" y="62678"/>
                    <a:pt x="83833" y="62678"/>
                  </a:cubicBezTo>
                  <a:cubicBezTo>
                    <a:pt x="82976" y="62678"/>
                    <a:pt x="81644" y="62393"/>
                    <a:pt x="80217" y="62013"/>
                  </a:cubicBezTo>
                  <a:cubicBezTo>
                    <a:pt x="77933" y="60684"/>
                    <a:pt x="74793" y="59450"/>
                    <a:pt x="72319" y="58881"/>
                  </a:cubicBezTo>
                  <a:cubicBezTo>
                    <a:pt x="65087" y="55273"/>
                    <a:pt x="57570" y="49483"/>
                    <a:pt x="57570" y="43502"/>
                  </a:cubicBezTo>
                  <a:cubicBezTo>
                    <a:pt x="57570" y="34958"/>
                    <a:pt x="68798" y="25750"/>
                    <a:pt x="85926" y="26415"/>
                  </a:cubicBezTo>
                  <a:close/>
                  <a:moveTo>
                    <a:pt x="95252" y="164537"/>
                  </a:moveTo>
                  <a:cubicBezTo>
                    <a:pt x="54620" y="163778"/>
                    <a:pt x="48244" y="149633"/>
                    <a:pt x="48244" y="126945"/>
                  </a:cubicBezTo>
                  <a:cubicBezTo>
                    <a:pt x="48244" y="116883"/>
                    <a:pt x="53192" y="107295"/>
                    <a:pt x="61471" y="99795"/>
                  </a:cubicBezTo>
                  <a:lnTo>
                    <a:pt x="133409" y="157512"/>
                  </a:lnTo>
                  <a:cubicBezTo>
                    <a:pt x="125892" y="162259"/>
                    <a:pt x="110381" y="164822"/>
                    <a:pt x="95252" y="164537"/>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0" name="Freeform 29">
              <a:extLst>
                <a:ext uri="{FF2B5EF4-FFF2-40B4-BE49-F238E27FC236}">
                  <a16:creationId xmlns:a16="http://schemas.microsoft.com/office/drawing/2014/main" id="{D31C6D59-349E-5146-A437-3E18E78680E4}"/>
                </a:ext>
              </a:extLst>
            </p:cNvPr>
            <p:cNvSpPr/>
            <p:nvPr/>
          </p:nvSpPr>
          <p:spPr>
            <a:xfrm>
              <a:off x="9266868" y="-1120726"/>
              <a:ext cx="3711" cy="3417"/>
            </a:xfrm>
            <a:custGeom>
              <a:avLst/>
              <a:gdLst>
                <a:gd name="connsiteX0" fmla="*/ 3711 w 3711"/>
                <a:gd name="connsiteY0" fmla="*/ 0 h 3417"/>
                <a:gd name="connsiteX1" fmla="*/ 1427 w 3711"/>
                <a:gd name="connsiteY1" fmla="*/ 759 h 3417"/>
                <a:gd name="connsiteX2" fmla="*/ 0 w 3711"/>
                <a:gd name="connsiteY2" fmla="*/ 3417 h 3417"/>
              </a:gdLst>
              <a:ahLst/>
              <a:cxnLst>
                <a:cxn ang="0">
                  <a:pos x="connsiteX0" y="connsiteY0"/>
                </a:cxn>
                <a:cxn ang="0">
                  <a:pos x="connsiteX1" y="connsiteY1"/>
                </a:cxn>
                <a:cxn ang="0">
                  <a:pos x="connsiteX2" y="connsiteY2"/>
                </a:cxn>
              </a:cxnLst>
              <a:rect l="l" t="t" r="r" b="b"/>
              <a:pathLst>
                <a:path w="3711" h="3417">
                  <a:moveTo>
                    <a:pt x="3711" y="0"/>
                  </a:moveTo>
                  <a:cubicBezTo>
                    <a:pt x="3711" y="0"/>
                    <a:pt x="2093" y="0"/>
                    <a:pt x="1427" y="759"/>
                  </a:cubicBezTo>
                  <a:cubicBezTo>
                    <a:pt x="666" y="1519"/>
                    <a:pt x="0" y="3417"/>
                    <a:pt x="0" y="3417"/>
                  </a:cubicBezTo>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2" name="Freeform 31">
              <a:extLst>
                <a:ext uri="{FF2B5EF4-FFF2-40B4-BE49-F238E27FC236}">
                  <a16:creationId xmlns:a16="http://schemas.microsoft.com/office/drawing/2014/main" id="{46A4232B-261C-C343-A364-BF12941C5A88}"/>
                </a:ext>
              </a:extLst>
            </p:cNvPr>
            <p:cNvSpPr/>
            <p:nvPr/>
          </p:nvSpPr>
          <p:spPr>
            <a:xfrm>
              <a:off x="8871683" y="-1122814"/>
              <a:ext cx="156057" cy="148089"/>
            </a:xfrm>
            <a:custGeom>
              <a:avLst/>
              <a:gdLst>
                <a:gd name="connsiteX0" fmla="*/ 128461 w 156057"/>
                <a:gd name="connsiteY0" fmla="*/ 11012 h 148089"/>
                <a:gd name="connsiteX1" fmla="*/ 80122 w 156057"/>
                <a:gd name="connsiteY1" fmla="*/ 95 h 148089"/>
                <a:gd name="connsiteX2" fmla="*/ 80122 w 156057"/>
                <a:gd name="connsiteY2" fmla="*/ 0 h 148089"/>
                <a:gd name="connsiteX3" fmla="*/ 78980 w 156057"/>
                <a:gd name="connsiteY3" fmla="*/ 0 h 148089"/>
                <a:gd name="connsiteX4" fmla="*/ 78123 w 156057"/>
                <a:gd name="connsiteY4" fmla="*/ 0 h 148089"/>
                <a:gd name="connsiteX5" fmla="*/ 77267 w 156057"/>
                <a:gd name="connsiteY5" fmla="*/ 0 h 148089"/>
                <a:gd name="connsiteX6" fmla="*/ 76125 w 156057"/>
                <a:gd name="connsiteY6" fmla="*/ 0 h 148089"/>
                <a:gd name="connsiteX7" fmla="*/ 76125 w 156057"/>
                <a:gd name="connsiteY7" fmla="*/ 95 h 148089"/>
                <a:gd name="connsiteX8" fmla="*/ 27786 w 156057"/>
                <a:gd name="connsiteY8" fmla="*/ 11012 h 148089"/>
                <a:gd name="connsiteX9" fmla="*/ 0 w 156057"/>
                <a:gd name="connsiteY9" fmla="*/ 70533 h 148089"/>
                <a:gd name="connsiteX10" fmla="*/ 17604 w 156057"/>
                <a:gd name="connsiteY10" fmla="*/ 128629 h 148089"/>
                <a:gd name="connsiteX11" fmla="*/ 61376 w 156057"/>
                <a:gd name="connsiteY11" fmla="*/ 146856 h 148089"/>
                <a:gd name="connsiteX12" fmla="*/ 73651 w 156057"/>
                <a:gd name="connsiteY12" fmla="*/ 147900 h 148089"/>
                <a:gd name="connsiteX13" fmla="*/ 76125 w 156057"/>
                <a:gd name="connsiteY13" fmla="*/ 147995 h 148089"/>
                <a:gd name="connsiteX14" fmla="*/ 76125 w 156057"/>
                <a:gd name="connsiteY14" fmla="*/ 148090 h 148089"/>
                <a:gd name="connsiteX15" fmla="*/ 77457 w 156057"/>
                <a:gd name="connsiteY15" fmla="*/ 148090 h 148089"/>
                <a:gd name="connsiteX16" fmla="*/ 78028 w 156057"/>
                <a:gd name="connsiteY16" fmla="*/ 148090 h 148089"/>
                <a:gd name="connsiteX17" fmla="*/ 78599 w 156057"/>
                <a:gd name="connsiteY17" fmla="*/ 148090 h 148089"/>
                <a:gd name="connsiteX18" fmla="*/ 79931 w 156057"/>
                <a:gd name="connsiteY18" fmla="*/ 148090 h 148089"/>
                <a:gd name="connsiteX19" fmla="*/ 79931 w 156057"/>
                <a:gd name="connsiteY19" fmla="*/ 147995 h 148089"/>
                <a:gd name="connsiteX20" fmla="*/ 82405 w 156057"/>
                <a:gd name="connsiteY20" fmla="*/ 147900 h 148089"/>
                <a:gd name="connsiteX21" fmla="*/ 94681 w 156057"/>
                <a:gd name="connsiteY21" fmla="*/ 146856 h 148089"/>
                <a:gd name="connsiteX22" fmla="*/ 138453 w 156057"/>
                <a:gd name="connsiteY22" fmla="*/ 128629 h 148089"/>
                <a:gd name="connsiteX23" fmla="*/ 156056 w 156057"/>
                <a:gd name="connsiteY23" fmla="*/ 70533 h 148089"/>
                <a:gd name="connsiteX24" fmla="*/ 128461 w 156057"/>
                <a:gd name="connsiteY24" fmla="*/ 11012 h 148089"/>
                <a:gd name="connsiteX25" fmla="*/ 112475 w 156057"/>
                <a:gd name="connsiteY25" fmla="*/ 105372 h 148089"/>
                <a:gd name="connsiteX26" fmla="*/ 97821 w 156057"/>
                <a:gd name="connsiteY26" fmla="*/ 121889 h 148089"/>
                <a:gd name="connsiteX27" fmla="*/ 78219 w 156057"/>
                <a:gd name="connsiteY27" fmla="*/ 125117 h 148089"/>
                <a:gd name="connsiteX28" fmla="*/ 58616 w 156057"/>
                <a:gd name="connsiteY28" fmla="*/ 121889 h 148089"/>
                <a:gd name="connsiteX29" fmla="*/ 43962 w 156057"/>
                <a:gd name="connsiteY29" fmla="*/ 105372 h 148089"/>
                <a:gd name="connsiteX30" fmla="*/ 39871 w 156057"/>
                <a:gd name="connsiteY30" fmla="*/ 72716 h 148089"/>
                <a:gd name="connsiteX31" fmla="*/ 43962 w 156057"/>
                <a:gd name="connsiteY31" fmla="*/ 37592 h 148089"/>
                <a:gd name="connsiteX32" fmla="*/ 73366 w 156057"/>
                <a:gd name="connsiteY32" fmla="*/ 22498 h 148089"/>
                <a:gd name="connsiteX33" fmla="*/ 76411 w 156057"/>
                <a:gd name="connsiteY33" fmla="*/ 22593 h 148089"/>
                <a:gd name="connsiteX34" fmla="*/ 76411 w 156057"/>
                <a:gd name="connsiteY34" fmla="*/ 22878 h 148089"/>
                <a:gd name="connsiteX35" fmla="*/ 78314 w 156057"/>
                <a:gd name="connsiteY35" fmla="*/ 22688 h 148089"/>
                <a:gd name="connsiteX36" fmla="*/ 80217 w 156057"/>
                <a:gd name="connsiteY36" fmla="*/ 22878 h 148089"/>
                <a:gd name="connsiteX37" fmla="*/ 80217 w 156057"/>
                <a:gd name="connsiteY37" fmla="*/ 22593 h 148089"/>
                <a:gd name="connsiteX38" fmla="*/ 83262 w 156057"/>
                <a:gd name="connsiteY38" fmla="*/ 22498 h 148089"/>
                <a:gd name="connsiteX39" fmla="*/ 112665 w 156057"/>
                <a:gd name="connsiteY39" fmla="*/ 37592 h 148089"/>
                <a:gd name="connsiteX40" fmla="*/ 116757 w 156057"/>
                <a:gd name="connsiteY40" fmla="*/ 72716 h 148089"/>
                <a:gd name="connsiteX41" fmla="*/ 112475 w 156057"/>
                <a:gd name="connsiteY41" fmla="*/ 105372 h 14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6057" h="148089">
                  <a:moveTo>
                    <a:pt x="128461" y="11012"/>
                  </a:moveTo>
                  <a:cubicBezTo>
                    <a:pt x="119231" y="5221"/>
                    <a:pt x="101627" y="665"/>
                    <a:pt x="80122" y="95"/>
                  </a:cubicBezTo>
                  <a:lnTo>
                    <a:pt x="80122" y="0"/>
                  </a:lnTo>
                  <a:cubicBezTo>
                    <a:pt x="79741" y="0"/>
                    <a:pt x="79360" y="0"/>
                    <a:pt x="78980" y="0"/>
                  </a:cubicBezTo>
                  <a:cubicBezTo>
                    <a:pt x="78694" y="0"/>
                    <a:pt x="78409" y="0"/>
                    <a:pt x="78123" y="0"/>
                  </a:cubicBezTo>
                  <a:cubicBezTo>
                    <a:pt x="77838" y="0"/>
                    <a:pt x="77552" y="0"/>
                    <a:pt x="77267" y="0"/>
                  </a:cubicBezTo>
                  <a:cubicBezTo>
                    <a:pt x="76886" y="0"/>
                    <a:pt x="76506" y="0"/>
                    <a:pt x="76125" y="0"/>
                  </a:cubicBezTo>
                  <a:lnTo>
                    <a:pt x="76125" y="95"/>
                  </a:lnTo>
                  <a:cubicBezTo>
                    <a:pt x="54620" y="665"/>
                    <a:pt x="37016" y="5221"/>
                    <a:pt x="27786" y="11012"/>
                  </a:cubicBezTo>
                  <a:cubicBezTo>
                    <a:pt x="18175" y="17087"/>
                    <a:pt x="0" y="34554"/>
                    <a:pt x="0" y="70533"/>
                  </a:cubicBezTo>
                  <a:cubicBezTo>
                    <a:pt x="0" y="106416"/>
                    <a:pt x="7993" y="119611"/>
                    <a:pt x="17604" y="128629"/>
                  </a:cubicBezTo>
                  <a:cubicBezTo>
                    <a:pt x="25502" y="136034"/>
                    <a:pt x="37396" y="143913"/>
                    <a:pt x="61376" y="146856"/>
                  </a:cubicBezTo>
                  <a:cubicBezTo>
                    <a:pt x="62137" y="147425"/>
                    <a:pt x="68513" y="147900"/>
                    <a:pt x="73651" y="147900"/>
                  </a:cubicBezTo>
                  <a:cubicBezTo>
                    <a:pt x="74507" y="147900"/>
                    <a:pt x="75269" y="147995"/>
                    <a:pt x="76125" y="147995"/>
                  </a:cubicBezTo>
                  <a:lnTo>
                    <a:pt x="76125" y="148090"/>
                  </a:lnTo>
                  <a:cubicBezTo>
                    <a:pt x="76601" y="148090"/>
                    <a:pt x="76982" y="148090"/>
                    <a:pt x="77457" y="148090"/>
                  </a:cubicBezTo>
                  <a:cubicBezTo>
                    <a:pt x="77648" y="148090"/>
                    <a:pt x="77838" y="148090"/>
                    <a:pt x="78028" y="148090"/>
                  </a:cubicBezTo>
                  <a:cubicBezTo>
                    <a:pt x="78219" y="148090"/>
                    <a:pt x="78409" y="148090"/>
                    <a:pt x="78599" y="148090"/>
                  </a:cubicBezTo>
                  <a:cubicBezTo>
                    <a:pt x="79075" y="148090"/>
                    <a:pt x="79551" y="148090"/>
                    <a:pt x="79931" y="148090"/>
                  </a:cubicBezTo>
                  <a:lnTo>
                    <a:pt x="79931" y="147995"/>
                  </a:lnTo>
                  <a:cubicBezTo>
                    <a:pt x="80788" y="147995"/>
                    <a:pt x="81644" y="147900"/>
                    <a:pt x="82405" y="147900"/>
                  </a:cubicBezTo>
                  <a:cubicBezTo>
                    <a:pt x="87449" y="147900"/>
                    <a:pt x="93919" y="147520"/>
                    <a:pt x="94681" y="146856"/>
                  </a:cubicBezTo>
                  <a:cubicBezTo>
                    <a:pt x="118660" y="143818"/>
                    <a:pt x="130555" y="136034"/>
                    <a:pt x="138453" y="128629"/>
                  </a:cubicBezTo>
                  <a:cubicBezTo>
                    <a:pt x="148063" y="119611"/>
                    <a:pt x="156056" y="106416"/>
                    <a:pt x="156056" y="70533"/>
                  </a:cubicBezTo>
                  <a:cubicBezTo>
                    <a:pt x="156247" y="34649"/>
                    <a:pt x="138072" y="17087"/>
                    <a:pt x="128461" y="11012"/>
                  </a:cubicBezTo>
                  <a:close/>
                  <a:moveTo>
                    <a:pt x="112475" y="105372"/>
                  </a:moveTo>
                  <a:cubicBezTo>
                    <a:pt x="110001" y="111922"/>
                    <a:pt x="101913" y="120275"/>
                    <a:pt x="97821" y="121889"/>
                  </a:cubicBezTo>
                  <a:cubicBezTo>
                    <a:pt x="90589" y="124737"/>
                    <a:pt x="88020" y="124832"/>
                    <a:pt x="78219" y="125117"/>
                  </a:cubicBezTo>
                  <a:cubicBezTo>
                    <a:pt x="68417" y="124737"/>
                    <a:pt x="65753" y="124737"/>
                    <a:pt x="58616" y="121889"/>
                  </a:cubicBezTo>
                  <a:cubicBezTo>
                    <a:pt x="54525" y="120275"/>
                    <a:pt x="46341" y="111922"/>
                    <a:pt x="43962" y="105372"/>
                  </a:cubicBezTo>
                  <a:cubicBezTo>
                    <a:pt x="42154" y="100340"/>
                    <a:pt x="39871" y="93885"/>
                    <a:pt x="39871" y="72716"/>
                  </a:cubicBezTo>
                  <a:cubicBezTo>
                    <a:pt x="39871" y="51642"/>
                    <a:pt x="41393" y="41769"/>
                    <a:pt x="43962" y="37592"/>
                  </a:cubicBezTo>
                  <a:cubicBezTo>
                    <a:pt x="48625" y="30188"/>
                    <a:pt x="56047" y="22498"/>
                    <a:pt x="73366" y="22498"/>
                  </a:cubicBezTo>
                  <a:cubicBezTo>
                    <a:pt x="74412" y="22498"/>
                    <a:pt x="75459" y="22498"/>
                    <a:pt x="76411" y="22593"/>
                  </a:cubicBezTo>
                  <a:lnTo>
                    <a:pt x="76411" y="22878"/>
                  </a:lnTo>
                  <a:cubicBezTo>
                    <a:pt x="76982" y="22783"/>
                    <a:pt x="77648" y="22783"/>
                    <a:pt x="78314" y="22688"/>
                  </a:cubicBezTo>
                  <a:cubicBezTo>
                    <a:pt x="78980" y="22688"/>
                    <a:pt x="79646" y="22783"/>
                    <a:pt x="80217" y="22878"/>
                  </a:cubicBezTo>
                  <a:lnTo>
                    <a:pt x="80217" y="22593"/>
                  </a:lnTo>
                  <a:cubicBezTo>
                    <a:pt x="81168" y="22498"/>
                    <a:pt x="82215" y="22498"/>
                    <a:pt x="83262" y="22498"/>
                  </a:cubicBezTo>
                  <a:cubicBezTo>
                    <a:pt x="100580" y="22498"/>
                    <a:pt x="108003" y="30188"/>
                    <a:pt x="112665" y="37592"/>
                  </a:cubicBezTo>
                  <a:cubicBezTo>
                    <a:pt x="115330" y="41769"/>
                    <a:pt x="116757" y="51547"/>
                    <a:pt x="116757" y="72716"/>
                  </a:cubicBezTo>
                  <a:cubicBezTo>
                    <a:pt x="116662" y="93790"/>
                    <a:pt x="114283" y="100245"/>
                    <a:pt x="112475" y="105372"/>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3" name="Freeform 32">
              <a:extLst>
                <a:ext uri="{FF2B5EF4-FFF2-40B4-BE49-F238E27FC236}">
                  <a16:creationId xmlns:a16="http://schemas.microsoft.com/office/drawing/2014/main" id="{164A8B15-621C-8047-9465-A5E6F5E58EFC}"/>
                </a:ext>
              </a:extLst>
            </p:cNvPr>
            <p:cNvSpPr/>
            <p:nvPr/>
          </p:nvSpPr>
          <p:spPr>
            <a:xfrm>
              <a:off x="9838081" y="-1120916"/>
              <a:ext cx="61767" cy="140875"/>
            </a:xfrm>
            <a:custGeom>
              <a:avLst/>
              <a:gdLst>
                <a:gd name="connsiteX0" fmla="*/ 61482 w 61767"/>
                <a:gd name="connsiteY0" fmla="*/ 121035 h 140875"/>
                <a:gd name="connsiteX1" fmla="*/ 60149 w 61767"/>
                <a:gd name="connsiteY1" fmla="*/ 120465 h 140875"/>
                <a:gd name="connsiteX2" fmla="*/ 46447 w 61767"/>
                <a:gd name="connsiteY2" fmla="*/ 112776 h 140875"/>
                <a:gd name="connsiteX3" fmla="*/ 46447 w 61767"/>
                <a:gd name="connsiteY3" fmla="*/ 82304 h 140875"/>
                <a:gd name="connsiteX4" fmla="*/ 46447 w 61767"/>
                <a:gd name="connsiteY4" fmla="*/ 59805 h 140875"/>
                <a:gd name="connsiteX5" fmla="*/ 46447 w 61767"/>
                <a:gd name="connsiteY5" fmla="*/ 28194 h 140875"/>
                <a:gd name="connsiteX6" fmla="*/ 60149 w 61767"/>
                <a:gd name="connsiteY6" fmla="*/ 20410 h 140875"/>
                <a:gd name="connsiteX7" fmla="*/ 61482 w 61767"/>
                <a:gd name="connsiteY7" fmla="*/ 19840 h 140875"/>
                <a:gd name="connsiteX8" fmla="*/ 61767 w 61767"/>
                <a:gd name="connsiteY8" fmla="*/ 18511 h 140875"/>
                <a:gd name="connsiteX9" fmla="*/ 61672 w 61767"/>
                <a:gd name="connsiteY9" fmla="*/ 1329 h 140875"/>
                <a:gd name="connsiteX10" fmla="*/ 60340 w 61767"/>
                <a:gd name="connsiteY10" fmla="*/ 0 h 140875"/>
                <a:gd name="connsiteX11" fmla="*/ 1438 w 61767"/>
                <a:gd name="connsiteY11" fmla="*/ 0 h 140875"/>
                <a:gd name="connsiteX12" fmla="*/ 106 w 61767"/>
                <a:gd name="connsiteY12" fmla="*/ 1329 h 140875"/>
                <a:gd name="connsiteX13" fmla="*/ 11 w 61767"/>
                <a:gd name="connsiteY13" fmla="*/ 18511 h 140875"/>
                <a:gd name="connsiteX14" fmla="*/ 296 w 61767"/>
                <a:gd name="connsiteY14" fmla="*/ 19840 h 140875"/>
                <a:gd name="connsiteX15" fmla="*/ 1628 w 61767"/>
                <a:gd name="connsiteY15" fmla="*/ 20410 h 140875"/>
                <a:gd name="connsiteX16" fmla="*/ 15331 w 61767"/>
                <a:gd name="connsiteY16" fmla="*/ 28194 h 140875"/>
                <a:gd name="connsiteX17" fmla="*/ 15331 w 61767"/>
                <a:gd name="connsiteY17" fmla="*/ 59805 h 140875"/>
                <a:gd name="connsiteX18" fmla="*/ 15331 w 61767"/>
                <a:gd name="connsiteY18" fmla="*/ 82304 h 140875"/>
                <a:gd name="connsiteX19" fmla="*/ 15331 w 61767"/>
                <a:gd name="connsiteY19" fmla="*/ 112776 h 140875"/>
                <a:gd name="connsiteX20" fmla="*/ 1628 w 61767"/>
                <a:gd name="connsiteY20" fmla="*/ 120465 h 140875"/>
                <a:gd name="connsiteX21" fmla="*/ 296 w 61767"/>
                <a:gd name="connsiteY21" fmla="*/ 121035 h 140875"/>
                <a:gd name="connsiteX22" fmla="*/ 11 w 61767"/>
                <a:gd name="connsiteY22" fmla="*/ 122364 h 140875"/>
                <a:gd name="connsiteX23" fmla="*/ 106 w 61767"/>
                <a:gd name="connsiteY23" fmla="*/ 139546 h 140875"/>
                <a:gd name="connsiteX24" fmla="*/ 1438 w 61767"/>
                <a:gd name="connsiteY24" fmla="*/ 140875 h 140875"/>
                <a:gd name="connsiteX25" fmla="*/ 60340 w 61767"/>
                <a:gd name="connsiteY25" fmla="*/ 140875 h 140875"/>
                <a:gd name="connsiteX26" fmla="*/ 61672 w 61767"/>
                <a:gd name="connsiteY26" fmla="*/ 139546 h 140875"/>
                <a:gd name="connsiteX27" fmla="*/ 61767 w 61767"/>
                <a:gd name="connsiteY27" fmla="*/ 122364 h 140875"/>
                <a:gd name="connsiteX28" fmla="*/ 61482 w 61767"/>
                <a:gd name="connsiteY28" fmla="*/ 121035 h 140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767" h="140875">
                  <a:moveTo>
                    <a:pt x="61482" y="121035"/>
                  </a:moveTo>
                  <a:cubicBezTo>
                    <a:pt x="61101" y="120465"/>
                    <a:pt x="60149" y="120465"/>
                    <a:pt x="60149" y="120465"/>
                  </a:cubicBezTo>
                  <a:cubicBezTo>
                    <a:pt x="54155" y="119516"/>
                    <a:pt x="46447" y="116099"/>
                    <a:pt x="46447" y="112776"/>
                  </a:cubicBezTo>
                  <a:lnTo>
                    <a:pt x="46447" y="82304"/>
                  </a:lnTo>
                  <a:lnTo>
                    <a:pt x="46447" y="59805"/>
                  </a:lnTo>
                  <a:lnTo>
                    <a:pt x="46447" y="28194"/>
                  </a:lnTo>
                  <a:cubicBezTo>
                    <a:pt x="46447" y="24872"/>
                    <a:pt x="54250" y="21454"/>
                    <a:pt x="60149" y="20410"/>
                  </a:cubicBezTo>
                  <a:cubicBezTo>
                    <a:pt x="60149" y="20410"/>
                    <a:pt x="61101" y="20410"/>
                    <a:pt x="61482" y="19840"/>
                  </a:cubicBezTo>
                  <a:cubicBezTo>
                    <a:pt x="61862" y="19271"/>
                    <a:pt x="61672" y="18511"/>
                    <a:pt x="61767" y="18511"/>
                  </a:cubicBezTo>
                  <a:lnTo>
                    <a:pt x="61672" y="1329"/>
                  </a:lnTo>
                  <a:cubicBezTo>
                    <a:pt x="61672" y="570"/>
                    <a:pt x="61101" y="0"/>
                    <a:pt x="60340" y="0"/>
                  </a:cubicBez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194"/>
                  </a:cubicBezTo>
                  <a:lnTo>
                    <a:pt x="15331" y="59805"/>
                  </a:lnTo>
                  <a:lnTo>
                    <a:pt x="15331" y="82304"/>
                  </a:lnTo>
                  <a:lnTo>
                    <a:pt x="15331" y="112776"/>
                  </a:lnTo>
                  <a:cubicBezTo>
                    <a:pt x="15331" y="116099"/>
                    <a:pt x="7528" y="119516"/>
                    <a:pt x="1628" y="120465"/>
                  </a:cubicBezTo>
                  <a:cubicBezTo>
                    <a:pt x="1628" y="120465"/>
                    <a:pt x="677" y="120465"/>
                    <a:pt x="296" y="121035"/>
                  </a:cubicBezTo>
                  <a:cubicBezTo>
                    <a:pt x="-85" y="121604"/>
                    <a:pt x="106" y="122364"/>
                    <a:pt x="11" y="122364"/>
                  </a:cubicBezTo>
                  <a:lnTo>
                    <a:pt x="106" y="139546"/>
                  </a:lnTo>
                  <a:cubicBezTo>
                    <a:pt x="106" y="140305"/>
                    <a:pt x="677" y="140875"/>
                    <a:pt x="1438" y="140875"/>
                  </a:cubicBezTo>
                  <a:lnTo>
                    <a:pt x="60340" y="140875"/>
                  </a:lnTo>
                  <a:cubicBezTo>
                    <a:pt x="61101" y="140875"/>
                    <a:pt x="61672" y="140305"/>
                    <a:pt x="61672" y="139546"/>
                  </a:cubicBezTo>
                  <a:lnTo>
                    <a:pt x="61767" y="122364"/>
                  </a:lnTo>
                  <a:cubicBezTo>
                    <a:pt x="61672" y="122459"/>
                    <a:pt x="61862" y="121699"/>
                    <a:pt x="61482" y="121035"/>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4" name="Freeform 33">
              <a:extLst>
                <a:ext uri="{FF2B5EF4-FFF2-40B4-BE49-F238E27FC236}">
                  <a16:creationId xmlns:a16="http://schemas.microsoft.com/office/drawing/2014/main" id="{F813A66D-F57D-3540-8E45-E0A577ADAF10}"/>
                </a:ext>
              </a:extLst>
            </p:cNvPr>
            <p:cNvSpPr/>
            <p:nvPr/>
          </p:nvSpPr>
          <p:spPr>
            <a:xfrm>
              <a:off x="9675934" y="-1120916"/>
              <a:ext cx="154116" cy="141064"/>
            </a:xfrm>
            <a:custGeom>
              <a:avLst/>
              <a:gdLst>
                <a:gd name="connsiteX0" fmla="*/ 153878 w 154116"/>
                <a:gd name="connsiteY0" fmla="*/ 121130 h 141064"/>
                <a:gd name="connsiteX1" fmla="*/ 152546 w 154116"/>
                <a:gd name="connsiteY1" fmla="*/ 120560 h 141064"/>
                <a:gd name="connsiteX2" fmla="*/ 138844 w 154116"/>
                <a:gd name="connsiteY2" fmla="*/ 112871 h 141064"/>
                <a:gd name="connsiteX3" fmla="*/ 138749 w 154116"/>
                <a:gd name="connsiteY3" fmla="*/ 93600 h 141064"/>
                <a:gd name="connsiteX4" fmla="*/ 110392 w 154116"/>
                <a:gd name="connsiteY4" fmla="*/ 66451 h 141064"/>
                <a:gd name="connsiteX5" fmla="*/ 109631 w 154116"/>
                <a:gd name="connsiteY5" fmla="*/ 66451 h 141064"/>
                <a:gd name="connsiteX6" fmla="*/ 109631 w 154116"/>
                <a:gd name="connsiteY6" fmla="*/ 66261 h 141064"/>
                <a:gd name="connsiteX7" fmla="*/ 109440 w 154116"/>
                <a:gd name="connsiteY7" fmla="*/ 66261 h 141064"/>
                <a:gd name="connsiteX8" fmla="*/ 107823 w 154116"/>
                <a:gd name="connsiteY8" fmla="*/ 64647 h 141064"/>
                <a:gd name="connsiteX9" fmla="*/ 109440 w 154116"/>
                <a:gd name="connsiteY9" fmla="*/ 63033 h 141064"/>
                <a:gd name="connsiteX10" fmla="*/ 113437 w 154116"/>
                <a:gd name="connsiteY10" fmla="*/ 63033 h 141064"/>
                <a:gd name="connsiteX11" fmla="*/ 137511 w 154116"/>
                <a:gd name="connsiteY11" fmla="*/ 35029 h 141064"/>
                <a:gd name="connsiteX12" fmla="*/ 137511 w 154116"/>
                <a:gd name="connsiteY12" fmla="*/ 27150 h 141064"/>
                <a:gd name="connsiteX13" fmla="*/ 110297 w 154116"/>
                <a:gd name="connsiteY13" fmla="*/ 0 h 141064"/>
                <a:gd name="connsiteX14" fmla="*/ 51300 w 154116"/>
                <a:gd name="connsiteY14" fmla="*/ 0 h 141064"/>
                <a:gd name="connsiteX15" fmla="*/ 51300 w 154116"/>
                <a:gd name="connsiteY15" fmla="*/ 95 h 141064"/>
                <a:gd name="connsiteX16" fmla="*/ 1438 w 154116"/>
                <a:gd name="connsiteY16" fmla="*/ 95 h 141064"/>
                <a:gd name="connsiteX17" fmla="*/ 106 w 154116"/>
                <a:gd name="connsiteY17" fmla="*/ 1424 h 141064"/>
                <a:gd name="connsiteX18" fmla="*/ 11 w 154116"/>
                <a:gd name="connsiteY18" fmla="*/ 18606 h 141064"/>
                <a:gd name="connsiteX19" fmla="*/ 296 w 154116"/>
                <a:gd name="connsiteY19" fmla="*/ 19935 h 141064"/>
                <a:gd name="connsiteX20" fmla="*/ 1628 w 154116"/>
                <a:gd name="connsiteY20" fmla="*/ 20505 h 141064"/>
                <a:gd name="connsiteX21" fmla="*/ 15331 w 154116"/>
                <a:gd name="connsiteY21" fmla="*/ 28194 h 141064"/>
                <a:gd name="connsiteX22" fmla="*/ 15331 w 154116"/>
                <a:gd name="connsiteY22" fmla="*/ 59805 h 141064"/>
                <a:gd name="connsiteX23" fmla="*/ 15331 w 154116"/>
                <a:gd name="connsiteY23" fmla="*/ 82304 h 141064"/>
                <a:gd name="connsiteX24" fmla="*/ 15331 w 154116"/>
                <a:gd name="connsiteY24" fmla="*/ 112776 h 141064"/>
                <a:gd name="connsiteX25" fmla="*/ 1628 w 154116"/>
                <a:gd name="connsiteY25" fmla="*/ 120465 h 141064"/>
                <a:gd name="connsiteX26" fmla="*/ 296 w 154116"/>
                <a:gd name="connsiteY26" fmla="*/ 121035 h 141064"/>
                <a:gd name="connsiteX27" fmla="*/ 11 w 154116"/>
                <a:gd name="connsiteY27" fmla="*/ 122364 h 141064"/>
                <a:gd name="connsiteX28" fmla="*/ 106 w 154116"/>
                <a:gd name="connsiteY28" fmla="*/ 139641 h 141064"/>
                <a:gd name="connsiteX29" fmla="*/ 1438 w 154116"/>
                <a:gd name="connsiteY29" fmla="*/ 140970 h 141064"/>
                <a:gd name="connsiteX30" fmla="*/ 60340 w 154116"/>
                <a:gd name="connsiteY30" fmla="*/ 140970 h 141064"/>
                <a:gd name="connsiteX31" fmla="*/ 61672 w 154116"/>
                <a:gd name="connsiteY31" fmla="*/ 139641 h 141064"/>
                <a:gd name="connsiteX32" fmla="*/ 61767 w 154116"/>
                <a:gd name="connsiteY32" fmla="*/ 122364 h 141064"/>
                <a:gd name="connsiteX33" fmla="*/ 61481 w 154116"/>
                <a:gd name="connsiteY33" fmla="*/ 121035 h 141064"/>
                <a:gd name="connsiteX34" fmla="*/ 60149 w 154116"/>
                <a:gd name="connsiteY34" fmla="*/ 120465 h 141064"/>
                <a:gd name="connsiteX35" fmla="*/ 46447 w 154116"/>
                <a:gd name="connsiteY35" fmla="*/ 112776 h 141064"/>
                <a:gd name="connsiteX36" fmla="*/ 46447 w 154116"/>
                <a:gd name="connsiteY36" fmla="*/ 82304 h 141064"/>
                <a:gd name="connsiteX37" fmla="*/ 46447 w 154116"/>
                <a:gd name="connsiteY37" fmla="*/ 59805 h 141064"/>
                <a:gd name="connsiteX38" fmla="*/ 46447 w 154116"/>
                <a:gd name="connsiteY38" fmla="*/ 28194 h 141064"/>
                <a:gd name="connsiteX39" fmla="*/ 51680 w 154116"/>
                <a:gd name="connsiteY39" fmla="*/ 23163 h 141064"/>
                <a:gd name="connsiteX40" fmla="*/ 85556 w 154116"/>
                <a:gd name="connsiteY40" fmla="*/ 23163 h 141064"/>
                <a:gd name="connsiteX41" fmla="*/ 99068 w 154116"/>
                <a:gd name="connsiteY41" fmla="*/ 35409 h 141064"/>
                <a:gd name="connsiteX42" fmla="*/ 99068 w 154116"/>
                <a:gd name="connsiteY42" fmla="*/ 41579 h 141064"/>
                <a:gd name="connsiteX43" fmla="*/ 85271 w 154116"/>
                <a:gd name="connsiteY43" fmla="*/ 56198 h 141064"/>
                <a:gd name="connsiteX44" fmla="*/ 84700 w 154116"/>
                <a:gd name="connsiteY44" fmla="*/ 56293 h 141064"/>
                <a:gd name="connsiteX45" fmla="*/ 64527 w 154116"/>
                <a:gd name="connsiteY45" fmla="*/ 56293 h 141064"/>
                <a:gd name="connsiteX46" fmla="*/ 60149 w 154116"/>
                <a:gd name="connsiteY46" fmla="*/ 60660 h 141064"/>
                <a:gd name="connsiteX47" fmla="*/ 60149 w 154116"/>
                <a:gd name="connsiteY47" fmla="*/ 76038 h 141064"/>
                <a:gd name="connsiteX48" fmla="*/ 64527 w 154116"/>
                <a:gd name="connsiteY48" fmla="*/ 80405 h 141064"/>
                <a:gd name="connsiteX49" fmla="*/ 87079 w 154116"/>
                <a:gd name="connsiteY49" fmla="*/ 80405 h 141064"/>
                <a:gd name="connsiteX50" fmla="*/ 101542 w 154116"/>
                <a:gd name="connsiteY50" fmla="*/ 93505 h 141064"/>
                <a:gd name="connsiteX51" fmla="*/ 101257 w 154116"/>
                <a:gd name="connsiteY51" fmla="*/ 133186 h 141064"/>
                <a:gd name="connsiteX52" fmla="*/ 101828 w 154116"/>
                <a:gd name="connsiteY52" fmla="*/ 137743 h 141064"/>
                <a:gd name="connsiteX53" fmla="*/ 108013 w 154116"/>
                <a:gd name="connsiteY53" fmla="*/ 141065 h 141064"/>
                <a:gd name="connsiteX54" fmla="*/ 152641 w 154116"/>
                <a:gd name="connsiteY54" fmla="*/ 141065 h 141064"/>
                <a:gd name="connsiteX55" fmla="*/ 153973 w 154116"/>
                <a:gd name="connsiteY55" fmla="*/ 139736 h 141064"/>
                <a:gd name="connsiteX56" fmla="*/ 154069 w 154116"/>
                <a:gd name="connsiteY56" fmla="*/ 122459 h 141064"/>
                <a:gd name="connsiteX57" fmla="*/ 153878 w 154116"/>
                <a:gd name="connsiteY57" fmla="*/ 121130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54116" h="141064">
                  <a:moveTo>
                    <a:pt x="153878" y="121130"/>
                  </a:moveTo>
                  <a:cubicBezTo>
                    <a:pt x="153498" y="120560"/>
                    <a:pt x="152546" y="120560"/>
                    <a:pt x="152546" y="120560"/>
                  </a:cubicBezTo>
                  <a:cubicBezTo>
                    <a:pt x="146551" y="119611"/>
                    <a:pt x="138844" y="116194"/>
                    <a:pt x="138844" y="112871"/>
                  </a:cubicBezTo>
                  <a:lnTo>
                    <a:pt x="138749" y="93600"/>
                  </a:lnTo>
                  <a:cubicBezTo>
                    <a:pt x="138749" y="78601"/>
                    <a:pt x="134657" y="66451"/>
                    <a:pt x="110392" y="66451"/>
                  </a:cubicBezTo>
                  <a:lnTo>
                    <a:pt x="109631" y="66451"/>
                  </a:lnTo>
                  <a:lnTo>
                    <a:pt x="109631" y="66261"/>
                  </a:lnTo>
                  <a:lnTo>
                    <a:pt x="109440" y="66261"/>
                  </a:lnTo>
                  <a:cubicBezTo>
                    <a:pt x="108489" y="66261"/>
                    <a:pt x="107823" y="65501"/>
                    <a:pt x="107823" y="64647"/>
                  </a:cubicBezTo>
                  <a:cubicBezTo>
                    <a:pt x="107823" y="63698"/>
                    <a:pt x="108584" y="63033"/>
                    <a:pt x="109440" y="63033"/>
                  </a:cubicBezTo>
                  <a:lnTo>
                    <a:pt x="113437" y="63033"/>
                  </a:lnTo>
                  <a:cubicBezTo>
                    <a:pt x="127044" y="61514"/>
                    <a:pt x="137511" y="48984"/>
                    <a:pt x="137511" y="35029"/>
                  </a:cubicBezTo>
                  <a:lnTo>
                    <a:pt x="137511" y="27150"/>
                  </a:lnTo>
                  <a:cubicBezTo>
                    <a:pt x="137511" y="12151"/>
                    <a:pt x="125331" y="0"/>
                    <a:pt x="110297" y="0"/>
                  </a:cubicBezTo>
                  <a:lnTo>
                    <a:pt x="51300" y="0"/>
                  </a:lnTo>
                  <a:lnTo>
                    <a:pt x="51300" y="95"/>
                  </a:lnTo>
                  <a:lnTo>
                    <a:pt x="1438" y="95"/>
                  </a:lnTo>
                  <a:cubicBezTo>
                    <a:pt x="677" y="95"/>
                    <a:pt x="106" y="665"/>
                    <a:pt x="106" y="1424"/>
                  </a:cubicBezTo>
                  <a:lnTo>
                    <a:pt x="11" y="18606"/>
                  </a:lnTo>
                  <a:cubicBezTo>
                    <a:pt x="11" y="18606"/>
                    <a:pt x="-85" y="19366"/>
                    <a:pt x="296" y="19935"/>
                  </a:cubicBezTo>
                  <a:cubicBezTo>
                    <a:pt x="677" y="20505"/>
                    <a:pt x="1628" y="20505"/>
                    <a:pt x="1628" y="20505"/>
                  </a:cubicBezTo>
                  <a:cubicBezTo>
                    <a:pt x="7623" y="21454"/>
                    <a:pt x="15331" y="24872"/>
                    <a:pt x="15331" y="28194"/>
                  </a:cubicBezTo>
                  <a:lnTo>
                    <a:pt x="15331" y="59805"/>
                  </a:lnTo>
                  <a:lnTo>
                    <a:pt x="15331" y="82304"/>
                  </a:lnTo>
                  <a:lnTo>
                    <a:pt x="15331" y="112776"/>
                  </a:lnTo>
                  <a:cubicBezTo>
                    <a:pt x="15331" y="116099"/>
                    <a:pt x="7528" y="119516"/>
                    <a:pt x="1628" y="120465"/>
                  </a:cubicBezTo>
                  <a:cubicBezTo>
                    <a:pt x="1628" y="120465"/>
                    <a:pt x="677" y="120465"/>
                    <a:pt x="296" y="121035"/>
                  </a:cubicBezTo>
                  <a:cubicBezTo>
                    <a:pt x="-85" y="121604"/>
                    <a:pt x="106" y="122364"/>
                    <a:pt x="11" y="122364"/>
                  </a:cubicBezTo>
                  <a:lnTo>
                    <a:pt x="106" y="139641"/>
                  </a:lnTo>
                  <a:cubicBezTo>
                    <a:pt x="106" y="140401"/>
                    <a:pt x="677" y="140970"/>
                    <a:pt x="1438" y="140970"/>
                  </a:cubicBezTo>
                  <a:lnTo>
                    <a:pt x="60340" y="140970"/>
                  </a:lnTo>
                  <a:cubicBezTo>
                    <a:pt x="61101" y="140970"/>
                    <a:pt x="61672" y="140401"/>
                    <a:pt x="61672" y="139641"/>
                  </a:cubicBezTo>
                  <a:lnTo>
                    <a:pt x="61767" y="122364"/>
                  </a:lnTo>
                  <a:cubicBezTo>
                    <a:pt x="61767" y="122364"/>
                    <a:pt x="61862" y="121604"/>
                    <a:pt x="61481" y="121035"/>
                  </a:cubicBezTo>
                  <a:cubicBezTo>
                    <a:pt x="61101" y="120465"/>
                    <a:pt x="60149" y="120465"/>
                    <a:pt x="60149" y="120465"/>
                  </a:cubicBezTo>
                  <a:cubicBezTo>
                    <a:pt x="54155" y="119516"/>
                    <a:pt x="46447" y="116099"/>
                    <a:pt x="46447" y="112776"/>
                  </a:cubicBezTo>
                  <a:lnTo>
                    <a:pt x="46447" y="82304"/>
                  </a:lnTo>
                  <a:lnTo>
                    <a:pt x="46447" y="59805"/>
                  </a:lnTo>
                  <a:lnTo>
                    <a:pt x="46447" y="28194"/>
                  </a:lnTo>
                  <a:cubicBezTo>
                    <a:pt x="46447" y="26390"/>
                    <a:pt x="48731" y="24587"/>
                    <a:pt x="51680" y="23163"/>
                  </a:cubicBezTo>
                  <a:lnTo>
                    <a:pt x="85556" y="23163"/>
                  </a:lnTo>
                  <a:cubicBezTo>
                    <a:pt x="92312" y="23163"/>
                    <a:pt x="99068" y="28669"/>
                    <a:pt x="99068" y="35409"/>
                  </a:cubicBezTo>
                  <a:lnTo>
                    <a:pt x="99068" y="41579"/>
                  </a:lnTo>
                  <a:cubicBezTo>
                    <a:pt x="99163" y="45376"/>
                    <a:pt x="93169" y="56673"/>
                    <a:pt x="85271" y="56198"/>
                  </a:cubicBezTo>
                  <a:lnTo>
                    <a:pt x="84700" y="56293"/>
                  </a:lnTo>
                  <a:lnTo>
                    <a:pt x="64527" y="56293"/>
                  </a:lnTo>
                  <a:cubicBezTo>
                    <a:pt x="62053" y="56293"/>
                    <a:pt x="60149" y="58287"/>
                    <a:pt x="60149" y="60660"/>
                  </a:cubicBezTo>
                  <a:lnTo>
                    <a:pt x="60149" y="76038"/>
                  </a:lnTo>
                  <a:cubicBezTo>
                    <a:pt x="60149" y="78412"/>
                    <a:pt x="62148" y="80405"/>
                    <a:pt x="64527" y="80405"/>
                  </a:cubicBezTo>
                  <a:lnTo>
                    <a:pt x="87079" y="80405"/>
                  </a:lnTo>
                  <a:cubicBezTo>
                    <a:pt x="102113" y="81259"/>
                    <a:pt x="101447" y="89803"/>
                    <a:pt x="101542" y="93505"/>
                  </a:cubicBezTo>
                  <a:lnTo>
                    <a:pt x="101257" y="133186"/>
                  </a:lnTo>
                  <a:cubicBezTo>
                    <a:pt x="101257" y="133186"/>
                    <a:pt x="101257" y="136129"/>
                    <a:pt x="101828" y="137743"/>
                  </a:cubicBezTo>
                  <a:cubicBezTo>
                    <a:pt x="102779" y="140685"/>
                    <a:pt x="108013" y="141065"/>
                    <a:pt x="108013" y="141065"/>
                  </a:cubicBezTo>
                  <a:lnTo>
                    <a:pt x="152641" y="141065"/>
                  </a:lnTo>
                  <a:cubicBezTo>
                    <a:pt x="153403" y="141065"/>
                    <a:pt x="153973" y="140495"/>
                    <a:pt x="153973" y="139736"/>
                  </a:cubicBezTo>
                  <a:lnTo>
                    <a:pt x="154069" y="122459"/>
                  </a:lnTo>
                  <a:cubicBezTo>
                    <a:pt x="154069" y="122459"/>
                    <a:pt x="154259" y="121699"/>
                    <a:pt x="153878" y="12113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5" name="Freeform 34">
              <a:extLst>
                <a:ext uri="{FF2B5EF4-FFF2-40B4-BE49-F238E27FC236}">
                  <a16:creationId xmlns:a16="http://schemas.microsoft.com/office/drawing/2014/main" id="{5F2A5A41-637C-FC4C-81D1-7634095EA343}"/>
                </a:ext>
              </a:extLst>
            </p:cNvPr>
            <p:cNvSpPr/>
            <p:nvPr/>
          </p:nvSpPr>
          <p:spPr>
            <a:xfrm>
              <a:off x="9538053" y="-1121201"/>
              <a:ext cx="132468" cy="141064"/>
            </a:xfrm>
            <a:custGeom>
              <a:avLst/>
              <a:gdLst>
                <a:gd name="connsiteX0" fmla="*/ 131993 w 132468"/>
                <a:gd name="connsiteY0" fmla="*/ 101479 h 141064"/>
                <a:gd name="connsiteX1" fmla="*/ 127615 w 132468"/>
                <a:gd name="connsiteY1" fmla="*/ 97113 h 141064"/>
                <a:gd name="connsiteX2" fmla="*/ 116292 w 132468"/>
                <a:gd name="connsiteY2" fmla="*/ 97113 h 141064"/>
                <a:gd name="connsiteX3" fmla="*/ 111915 w 132468"/>
                <a:gd name="connsiteY3" fmla="*/ 101479 h 141064"/>
                <a:gd name="connsiteX4" fmla="*/ 109250 w 132468"/>
                <a:gd name="connsiteY4" fmla="*/ 108504 h 141064"/>
                <a:gd name="connsiteX5" fmla="*/ 105063 w 132468"/>
                <a:gd name="connsiteY5" fmla="*/ 114675 h 141064"/>
                <a:gd name="connsiteX6" fmla="*/ 49302 w 132468"/>
                <a:gd name="connsiteY6" fmla="*/ 116858 h 141064"/>
                <a:gd name="connsiteX7" fmla="*/ 46447 w 132468"/>
                <a:gd name="connsiteY7" fmla="*/ 113156 h 141064"/>
                <a:gd name="connsiteX8" fmla="*/ 46447 w 132468"/>
                <a:gd name="connsiteY8" fmla="*/ 76703 h 141064"/>
                <a:gd name="connsiteX9" fmla="*/ 89838 w 132468"/>
                <a:gd name="connsiteY9" fmla="*/ 76703 h 141064"/>
                <a:gd name="connsiteX10" fmla="*/ 96023 w 132468"/>
                <a:gd name="connsiteY10" fmla="*/ 84677 h 141064"/>
                <a:gd name="connsiteX11" fmla="*/ 96499 w 132468"/>
                <a:gd name="connsiteY11" fmla="*/ 85721 h 141064"/>
                <a:gd name="connsiteX12" fmla="*/ 97546 w 132468"/>
                <a:gd name="connsiteY12" fmla="*/ 85911 h 141064"/>
                <a:gd name="connsiteX13" fmla="*/ 111248 w 132468"/>
                <a:gd name="connsiteY13" fmla="*/ 85816 h 141064"/>
                <a:gd name="connsiteX14" fmla="*/ 112295 w 132468"/>
                <a:gd name="connsiteY14" fmla="*/ 84772 h 141064"/>
                <a:gd name="connsiteX15" fmla="*/ 112295 w 132468"/>
                <a:gd name="connsiteY15" fmla="*/ 53635 h 141064"/>
                <a:gd name="connsiteX16" fmla="*/ 112295 w 132468"/>
                <a:gd name="connsiteY16" fmla="*/ 42908 h 141064"/>
                <a:gd name="connsiteX17" fmla="*/ 111248 w 132468"/>
                <a:gd name="connsiteY17" fmla="*/ 41864 h 141064"/>
                <a:gd name="connsiteX18" fmla="*/ 97546 w 132468"/>
                <a:gd name="connsiteY18" fmla="*/ 41769 h 141064"/>
                <a:gd name="connsiteX19" fmla="*/ 96499 w 132468"/>
                <a:gd name="connsiteY19" fmla="*/ 41959 h 141064"/>
                <a:gd name="connsiteX20" fmla="*/ 96023 w 132468"/>
                <a:gd name="connsiteY20" fmla="*/ 43003 h 141064"/>
                <a:gd name="connsiteX21" fmla="*/ 89838 w 132468"/>
                <a:gd name="connsiteY21" fmla="*/ 50977 h 141064"/>
                <a:gd name="connsiteX22" fmla="*/ 46447 w 132468"/>
                <a:gd name="connsiteY22" fmla="*/ 50977 h 141064"/>
                <a:gd name="connsiteX23" fmla="*/ 46447 w 132468"/>
                <a:gd name="connsiteY23" fmla="*/ 28194 h 141064"/>
                <a:gd name="connsiteX24" fmla="*/ 46732 w 132468"/>
                <a:gd name="connsiteY24" fmla="*/ 23827 h 141064"/>
                <a:gd name="connsiteX25" fmla="*/ 50729 w 132468"/>
                <a:gd name="connsiteY25" fmla="*/ 22688 h 141064"/>
                <a:gd name="connsiteX26" fmla="*/ 91170 w 132468"/>
                <a:gd name="connsiteY26" fmla="*/ 23163 h 141064"/>
                <a:gd name="connsiteX27" fmla="*/ 104397 w 132468"/>
                <a:gd name="connsiteY27" fmla="*/ 25726 h 141064"/>
                <a:gd name="connsiteX28" fmla="*/ 106205 w 132468"/>
                <a:gd name="connsiteY28" fmla="*/ 30282 h 141064"/>
                <a:gd name="connsiteX29" fmla="*/ 110582 w 132468"/>
                <a:gd name="connsiteY29" fmla="*/ 34649 h 141064"/>
                <a:gd name="connsiteX30" fmla="*/ 121906 w 132468"/>
                <a:gd name="connsiteY30" fmla="*/ 34649 h 141064"/>
                <a:gd name="connsiteX31" fmla="*/ 126283 w 132468"/>
                <a:gd name="connsiteY31" fmla="*/ 30282 h 141064"/>
                <a:gd name="connsiteX32" fmla="*/ 126759 w 132468"/>
                <a:gd name="connsiteY32" fmla="*/ 4367 h 141064"/>
                <a:gd name="connsiteX33" fmla="*/ 122382 w 132468"/>
                <a:gd name="connsiteY33" fmla="*/ 0 h 141064"/>
                <a:gd name="connsiteX34" fmla="*/ 60340 w 132468"/>
                <a:gd name="connsiteY34" fmla="*/ 0 h 141064"/>
                <a:gd name="connsiteX35" fmla="*/ 1438 w 132468"/>
                <a:gd name="connsiteY35" fmla="*/ 0 h 141064"/>
                <a:gd name="connsiteX36" fmla="*/ 106 w 132468"/>
                <a:gd name="connsiteY36" fmla="*/ 1329 h 141064"/>
                <a:gd name="connsiteX37" fmla="*/ 11 w 132468"/>
                <a:gd name="connsiteY37" fmla="*/ 18511 h 141064"/>
                <a:gd name="connsiteX38" fmla="*/ 296 w 132468"/>
                <a:gd name="connsiteY38" fmla="*/ 19840 h 141064"/>
                <a:gd name="connsiteX39" fmla="*/ 1628 w 132468"/>
                <a:gd name="connsiteY39" fmla="*/ 20410 h 141064"/>
                <a:gd name="connsiteX40" fmla="*/ 15331 w 132468"/>
                <a:gd name="connsiteY40" fmla="*/ 28099 h 141064"/>
                <a:gd name="connsiteX41" fmla="*/ 15331 w 132468"/>
                <a:gd name="connsiteY41" fmla="*/ 112871 h 141064"/>
                <a:gd name="connsiteX42" fmla="*/ 1628 w 132468"/>
                <a:gd name="connsiteY42" fmla="*/ 120560 h 141064"/>
                <a:gd name="connsiteX43" fmla="*/ 296 w 132468"/>
                <a:gd name="connsiteY43" fmla="*/ 121130 h 141064"/>
                <a:gd name="connsiteX44" fmla="*/ 11 w 132468"/>
                <a:gd name="connsiteY44" fmla="*/ 122459 h 141064"/>
                <a:gd name="connsiteX45" fmla="*/ 106 w 132468"/>
                <a:gd name="connsiteY45" fmla="*/ 139736 h 141064"/>
                <a:gd name="connsiteX46" fmla="*/ 1438 w 132468"/>
                <a:gd name="connsiteY46" fmla="*/ 141065 h 141064"/>
                <a:gd name="connsiteX47" fmla="*/ 48540 w 132468"/>
                <a:gd name="connsiteY47" fmla="*/ 141065 h 141064"/>
                <a:gd name="connsiteX48" fmla="*/ 48635 w 132468"/>
                <a:gd name="connsiteY48" fmla="*/ 141065 h 141064"/>
                <a:gd name="connsiteX49" fmla="*/ 128091 w 132468"/>
                <a:gd name="connsiteY49" fmla="*/ 141065 h 141064"/>
                <a:gd name="connsiteX50" fmla="*/ 132468 w 132468"/>
                <a:gd name="connsiteY50" fmla="*/ 136698 h 141064"/>
                <a:gd name="connsiteX51" fmla="*/ 131993 w 132468"/>
                <a:gd name="connsiteY51" fmla="*/ 101479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32468" h="141064">
                  <a:moveTo>
                    <a:pt x="131993" y="101479"/>
                  </a:moveTo>
                  <a:cubicBezTo>
                    <a:pt x="131993" y="99106"/>
                    <a:pt x="129994" y="97113"/>
                    <a:pt x="127615" y="97113"/>
                  </a:cubicBezTo>
                  <a:lnTo>
                    <a:pt x="116292" y="97113"/>
                  </a:lnTo>
                  <a:cubicBezTo>
                    <a:pt x="113818" y="97113"/>
                    <a:pt x="111915" y="99106"/>
                    <a:pt x="111915" y="101479"/>
                  </a:cubicBezTo>
                  <a:lnTo>
                    <a:pt x="109250" y="108504"/>
                  </a:lnTo>
                  <a:cubicBezTo>
                    <a:pt x="109060" y="111067"/>
                    <a:pt x="106110" y="112586"/>
                    <a:pt x="105063" y="114675"/>
                  </a:cubicBezTo>
                  <a:cubicBezTo>
                    <a:pt x="102113" y="120560"/>
                    <a:pt x="49302" y="116858"/>
                    <a:pt x="49302" y="116858"/>
                  </a:cubicBezTo>
                  <a:cubicBezTo>
                    <a:pt x="47589" y="115719"/>
                    <a:pt x="46447" y="114390"/>
                    <a:pt x="46447" y="113156"/>
                  </a:cubicBezTo>
                  <a:lnTo>
                    <a:pt x="46447" y="76703"/>
                  </a:lnTo>
                  <a:lnTo>
                    <a:pt x="89838" y="76703"/>
                  </a:lnTo>
                  <a:cubicBezTo>
                    <a:pt x="92503" y="76703"/>
                    <a:pt x="95167" y="80025"/>
                    <a:pt x="96023" y="84677"/>
                  </a:cubicBezTo>
                  <a:cubicBezTo>
                    <a:pt x="96023" y="84677"/>
                    <a:pt x="96023" y="85436"/>
                    <a:pt x="96499" y="85721"/>
                  </a:cubicBezTo>
                  <a:cubicBezTo>
                    <a:pt x="96975" y="86101"/>
                    <a:pt x="97546" y="85911"/>
                    <a:pt x="97546" y="85911"/>
                  </a:cubicBezTo>
                  <a:lnTo>
                    <a:pt x="111248" y="85816"/>
                  </a:lnTo>
                  <a:cubicBezTo>
                    <a:pt x="111819" y="85816"/>
                    <a:pt x="112295" y="85341"/>
                    <a:pt x="112295" y="84772"/>
                  </a:cubicBezTo>
                  <a:lnTo>
                    <a:pt x="112295" y="53635"/>
                  </a:lnTo>
                  <a:lnTo>
                    <a:pt x="112295" y="42908"/>
                  </a:lnTo>
                  <a:cubicBezTo>
                    <a:pt x="112295" y="42339"/>
                    <a:pt x="111819" y="41864"/>
                    <a:pt x="111248" y="41864"/>
                  </a:cubicBezTo>
                  <a:lnTo>
                    <a:pt x="97546" y="41769"/>
                  </a:lnTo>
                  <a:cubicBezTo>
                    <a:pt x="97546" y="41769"/>
                    <a:pt x="96880" y="41674"/>
                    <a:pt x="96499" y="41959"/>
                  </a:cubicBezTo>
                  <a:cubicBezTo>
                    <a:pt x="96023" y="42244"/>
                    <a:pt x="96023" y="43003"/>
                    <a:pt x="96023" y="43003"/>
                  </a:cubicBezTo>
                  <a:cubicBezTo>
                    <a:pt x="95262" y="47749"/>
                    <a:pt x="92503" y="50977"/>
                    <a:pt x="89838" y="50977"/>
                  </a:cubicBezTo>
                  <a:lnTo>
                    <a:pt x="46447" y="50977"/>
                  </a:lnTo>
                  <a:lnTo>
                    <a:pt x="46447" y="28194"/>
                  </a:lnTo>
                  <a:lnTo>
                    <a:pt x="46732" y="23827"/>
                  </a:lnTo>
                  <a:cubicBezTo>
                    <a:pt x="47874" y="22024"/>
                    <a:pt x="50729" y="22688"/>
                    <a:pt x="50729" y="22688"/>
                  </a:cubicBezTo>
                  <a:cubicBezTo>
                    <a:pt x="50729" y="22688"/>
                    <a:pt x="83558" y="22688"/>
                    <a:pt x="91170" y="23163"/>
                  </a:cubicBezTo>
                  <a:cubicBezTo>
                    <a:pt x="94977" y="23353"/>
                    <a:pt x="102589" y="22878"/>
                    <a:pt x="104397" y="25726"/>
                  </a:cubicBezTo>
                  <a:cubicBezTo>
                    <a:pt x="105634" y="27719"/>
                    <a:pt x="106205" y="30282"/>
                    <a:pt x="106205" y="30282"/>
                  </a:cubicBezTo>
                  <a:cubicBezTo>
                    <a:pt x="106205" y="32656"/>
                    <a:pt x="108203" y="34649"/>
                    <a:pt x="110582" y="34649"/>
                  </a:cubicBezTo>
                  <a:lnTo>
                    <a:pt x="121906" y="34649"/>
                  </a:lnTo>
                  <a:cubicBezTo>
                    <a:pt x="124285" y="34649"/>
                    <a:pt x="126283" y="32656"/>
                    <a:pt x="126283" y="30282"/>
                  </a:cubicBezTo>
                  <a:lnTo>
                    <a:pt x="126759" y="4367"/>
                  </a:lnTo>
                  <a:cubicBezTo>
                    <a:pt x="126759" y="1994"/>
                    <a:pt x="124761" y="0"/>
                    <a:pt x="122382" y="0"/>
                  </a:cubicBezTo>
                  <a:lnTo>
                    <a:pt x="60340" y="0"/>
                  </a:ln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099"/>
                  </a:cubicBezTo>
                  <a:lnTo>
                    <a:pt x="15331" y="112871"/>
                  </a:lnTo>
                  <a:cubicBezTo>
                    <a:pt x="15331" y="116194"/>
                    <a:pt x="7528" y="119611"/>
                    <a:pt x="1628" y="120560"/>
                  </a:cubicBezTo>
                  <a:cubicBezTo>
                    <a:pt x="1628" y="120560"/>
                    <a:pt x="677" y="120560"/>
                    <a:pt x="296" y="121130"/>
                  </a:cubicBezTo>
                  <a:cubicBezTo>
                    <a:pt x="-85" y="121699"/>
                    <a:pt x="106" y="122459"/>
                    <a:pt x="11" y="122459"/>
                  </a:cubicBezTo>
                  <a:lnTo>
                    <a:pt x="106" y="139736"/>
                  </a:lnTo>
                  <a:cubicBezTo>
                    <a:pt x="106" y="140495"/>
                    <a:pt x="677" y="141065"/>
                    <a:pt x="1438" y="141065"/>
                  </a:cubicBezTo>
                  <a:lnTo>
                    <a:pt x="48540" y="141065"/>
                  </a:lnTo>
                  <a:cubicBezTo>
                    <a:pt x="48540" y="141065"/>
                    <a:pt x="48635" y="141065"/>
                    <a:pt x="48635" y="141065"/>
                  </a:cubicBezTo>
                  <a:lnTo>
                    <a:pt x="128091" y="141065"/>
                  </a:lnTo>
                  <a:cubicBezTo>
                    <a:pt x="130565" y="141065"/>
                    <a:pt x="132468" y="139072"/>
                    <a:pt x="132468" y="136698"/>
                  </a:cubicBezTo>
                  <a:lnTo>
                    <a:pt x="131993" y="101479"/>
                  </a:ln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6" name="Freeform 35">
              <a:extLst>
                <a:ext uri="{FF2B5EF4-FFF2-40B4-BE49-F238E27FC236}">
                  <a16:creationId xmlns:a16="http://schemas.microsoft.com/office/drawing/2014/main" id="{16543197-55B0-3442-BD25-D08D3B349B31}"/>
                </a:ext>
              </a:extLst>
            </p:cNvPr>
            <p:cNvSpPr/>
            <p:nvPr/>
          </p:nvSpPr>
          <p:spPr>
            <a:xfrm>
              <a:off x="9036674" y="-1121011"/>
              <a:ext cx="120966" cy="141064"/>
            </a:xfrm>
            <a:custGeom>
              <a:avLst/>
              <a:gdLst>
                <a:gd name="connsiteX0" fmla="*/ 116672 w 120966"/>
                <a:gd name="connsiteY0" fmla="*/ 0 h 141064"/>
                <a:gd name="connsiteX1" fmla="*/ 60340 w 120966"/>
                <a:gd name="connsiteY1" fmla="*/ 0 h 141064"/>
                <a:gd name="connsiteX2" fmla="*/ 1438 w 120966"/>
                <a:gd name="connsiteY2" fmla="*/ 0 h 141064"/>
                <a:gd name="connsiteX3" fmla="*/ 106 w 120966"/>
                <a:gd name="connsiteY3" fmla="*/ 1329 h 141064"/>
                <a:gd name="connsiteX4" fmla="*/ 11 w 120966"/>
                <a:gd name="connsiteY4" fmla="*/ 18511 h 141064"/>
                <a:gd name="connsiteX5" fmla="*/ 296 w 120966"/>
                <a:gd name="connsiteY5" fmla="*/ 19840 h 141064"/>
                <a:gd name="connsiteX6" fmla="*/ 1628 w 120966"/>
                <a:gd name="connsiteY6" fmla="*/ 20410 h 141064"/>
                <a:gd name="connsiteX7" fmla="*/ 15331 w 120966"/>
                <a:gd name="connsiteY7" fmla="*/ 28099 h 141064"/>
                <a:gd name="connsiteX8" fmla="*/ 15331 w 120966"/>
                <a:gd name="connsiteY8" fmla="*/ 112871 h 141064"/>
                <a:gd name="connsiteX9" fmla="*/ 1628 w 120966"/>
                <a:gd name="connsiteY9" fmla="*/ 120560 h 141064"/>
                <a:gd name="connsiteX10" fmla="*/ 296 w 120966"/>
                <a:gd name="connsiteY10" fmla="*/ 121130 h 141064"/>
                <a:gd name="connsiteX11" fmla="*/ 11 w 120966"/>
                <a:gd name="connsiteY11" fmla="*/ 122459 h 141064"/>
                <a:gd name="connsiteX12" fmla="*/ 106 w 120966"/>
                <a:gd name="connsiteY12" fmla="*/ 139736 h 141064"/>
                <a:gd name="connsiteX13" fmla="*/ 1438 w 120966"/>
                <a:gd name="connsiteY13" fmla="*/ 141065 h 141064"/>
                <a:gd name="connsiteX14" fmla="*/ 48540 w 120966"/>
                <a:gd name="connsiteY14" fmla="*/ 141065 h 141064"/>
                <a:gd name="connsiteX15" fmla="*/ 48635 w 120966"/>
                <a:gd name="connsiteY15" fmla="*/ 141065 h 141064"/>
                <a:gd name="connsiteX16" fmla="*/ 48635 w 120966"/>
                <a:gd name="connsiteY16" fmla="*/ 141065 h 141064"/>
                <a:gd name="connsiteX17" fmla="*/ 60245 w 120966"/>
                <a:gd name="connsiteY17" fmla="*/ 141065 h 141064"/>
                <a:gd name="connsiteX18" fmla="*/ 61577 w 120966"/>
                <a:gd name="connsiteY18" fmla="*/ 139736 h 141064"/>
                <a:gd name="connsiteX19" fmla="*/ 61672 w 120966"/>
                <a:gd name="connsiteY19" fmla="*/ 122554 h 141064"/>
                <a:gd name="connsiteX20" fmla="*/ 61386 w 120966"/>
                <a:gd name="connsiteY20" fmla="*/ 121225 h 141064"/>
                <a:gd name="connsiteX21" fmla="*/ 60054 w 120966"/>
                <a:gd name="connsiteY21" fmla="*/ 120655 h 141064"/>
                <a:gd name="connsiteX22" fmla="*/ 49016 w 120966"/>
                <a:gd name="connsiteY22" fmla="*/ 116573 h 141064"/>
                <a:gd name="connsiteX23" fmla="*/ 48160 w 120966"/>
                <a:gd name="connsiteY23" fmla="*/ 115909 h 141064"/>
                <a:gd name="connsiteX24" fmla="*/ 47874 w 120966"/>
                <a:gd name="connsiteY24" fmla="*/ 115624 h 141064"/>
                <a:gd name="connsiteX25" fmla="*/ 47208 w 120966"/>
                <a:gd name="connsiteY25" fmla="*/ 114959 h 141064"/>
                <a:gd name="connsiteX26" fmla="*/ 47113 w 120966"/>
                <a:gd name="connsiteY26" fmla="*/ 114865 h 141064"/>
                <a:gd name="connsiteX27" fmla="*/ 46637 w 120966"/>
                <a:gd name="connsiteY27" fmla="*/ 114010 h 141064"/>
                <a:gd name="connsiteX28" fmla="*/ 46542 w 120966"/>
                <a:gd name="connsiteY28" fmla="*/ 113915 h 141064"/>
                <a:gd name="connsiteX29" fmla="*/ 46352 w 120966"/>
                <a:gd name="connsiteY29" fmla="*/ 113061 h 141064"/>
                <a:gd name="connsiteX30" fmla="*/ 46352 w 120966"/>
                <a:gd name="connsiteY30" fmla="*/ 76608 h 141064"/>
                <a:gd name="connsiteX31" fmla="*/ 85366 w 120966"/>
                <a:gd name="connsiteY31" fmla="*/ 76608 h 141064"/>
                <a:gd name="connsiteX32" fmla="*/ 91456 w 120966"/>
                <a:gd name="connsiteY32" fmla="*/ 84582 h 141064"/>
                <a:gd name="connsiteX33" fmla="*/ 91932 w 120966"/>
                <a:gd name="connsiteY33" fmla="*/ 85626 h 141064"/>
                <a:gd name="connsiteX34" fmla="*/ 92978 w 120966"/>
                <a:gd name="connsiteY34" fmla="*/ 85816 h 141064"/>
                <a:gd name="connsiteX35" fmla="*/ 106681 w 120966"/>
                <a:gd name="connsiteY35" fmla="*/ 85721 h 141064"/>
                <a:gd name="connsiteX36" fmla="*/ 107728 w 120966"/>
                <a:gd name="connsiteY36" fmla="*/ 84677 h 141064"/>
                <a:gd name="connsiteX37" fmla="*/ 107728 w 120966"/>
                <a:gd name="connsiteY37" fmla="*/ 56388 h 141064"/>
                <a:gd name="connsiteX38" fmla="*/ 107728 w 120966"/>
                <a:gd name="connsiteY38" fmla="*/ 45661 h 141064"/>
                <a:gd name="connsiteX39" fmla="*/ 106681 w 120966"/>
                <a:gd name="connsiteY39" fmla="*/ 44617 h 141064"/>
                <a:gd name="connsiteX40" fmla="*/ 92978 w 120966"/>
                <a:gd name="connsiteY40" fmla="*/ 44522 h 141064"/>
                <a:gd name="connsiteX41" fmla="*/ 91932 w 120966"/>
                <a:gd name="connsiteY41" fmla="*/ 44712 h 141064"/>
                <a:gd name="connsiteX42" fmla="*/ 91456 w 120966"/>
                <a:gd name="connsiteY42" fmla="*/ 45756 h 141064"/>
                <a:gd name="connsiteX43" fmla="*/ 85366 w 120966"/>
                <a:gd name="connsiteY43" fmla="*/ 53730 h 141064"/>
                <a:gd name="connsiteX44" fmla="*/ 46352 w 120966"/>
                <a:gd name="connsiteY44" fmla="*/ 53730 h 141064"/>
                <a:gd name="connsiteX45" fmla="*/ 46352 w 120966"/>
                <a:gd name="connsiteY45" fmla="*/ 28099 h 141064"/>
                <a:gd name="connsiteX46" fmla="*/ 46637 w 120966"/>
                <a:gd name="connsiteY46" fmla="*/ 23732 h 141064"/>
                <a:gd name="connsiteX47" fmla="*/ 50634 w 120966"/>
                <a:gd name="connsiteY47" fmla="*/ 22593 h 141064"/>
                <a:gd name="connsiteX48" fmla="*/ 85366 w 120966"/>
                <a:gd name="connsiteY48" fmla="*/ 23068 h 141064"/>
                <a:gd name="connsiteX49" fmla="*/ 98592 w 120966"/>
                <a:gd name="connsiteY49" fmla="*/ 25631 h 141064"/>
                <a:gd name="connsiteX50" fmla="*/ 100400 w 120966"/>
                <a:gd name="connsiteY50" fmla="*/ 30187 h 141064"/>
                <a:gd name="connsiteX51" fmla="*/ 104778 w 120966"/>
                <a:gd name="connsiteY51" fmla="*/ 34554 h 141064"/>
                <a:gd name="connsiteX52" fmla="*/ 116101 w 120966"/>
                <a:gd name="connsiteY52" fmla="*/ 34554 h 141064"/>
                <a:gd name="connsiteX53" fmla="*/ 120478 w 120966"/>
                <a:gd name="connsiteY53" fmla="*/ 30187 h 141064"/>
                <a:gd name="connsiteX54" fmla="*/ 120954 w 120966"/>
                <a:gd name="connsiteY54" fmla="*/ 4272 h 141064"/>
                <a:gd name="connsiteX55" fmla="*/ 116672 w 120966"/>
                <a:gd name="connsiteY55" fmla="*/ 0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0966" h="141064">
                  <a:moveTo>
                    <a:pt x="116672" y="0"/>
                  </a:moveTo>
                  <a:lnTo>
                    <a:pt x="60340" y="0"/>
                  </a:lnTo>
                  <a:lnTo>
                    <a:pt x="1438" y="0"/>
                  </a:lnTo>
                  <a:cubicBezTo>
                    <a:pt x="677" y="0"/>
                    <a:pt x="106" y="570"/>
                    <a:pt x="106" y="1329"/>
                  </a:cubicBezTo>
                  <a:lnTo>
                    <a:pt x="11" y="18511"/>
                  </a:lnTo>
                  <a:cubicBezTo>
                    <a:pt x="11" y="18511"/>
                    <a:pt x="-85" y="19271"/>
                    <a:pt x="296" y="19840"/>
                  </a:cubicBezTo>
                  <a:cubicBezTo>
                    <a:pt x="677" y="20410"/>
                    <a:pt x="1628" y="20410"/>
                    <a:pt x="1628" y="20410"/>
                  </a:cubicBezTo>
                  <a:cubicBezTo>
                    <a:pt x="7623" y="21359"/>
                    <a:pt x="15331" y="24777"/>
                    <a:pt x="15331" y="28099"/>
                  </a:cubicBezTo>
                  <a:lnTo>
                    <a:pt x="15331" y="112871"/>
                  </a:lnTo>
                  <a:cubicBezTo>
                    <a:pt x="15331" y="116194"/>
                    <a:pt x="7528" y="119611"/>
                    <a:pt x="1628" y="120560"/>
                  </a:cubicBezTo>
                  <a:cubicBezTo>
                    <a:pt x="1628" y="120560"/>
                    <a:pt x="677" y="120560"/>
                    <a:pt x="296" y="121130"/>
                  </a:cubicBezTo>
                  <a:cubicBezTo>
                    <a:pt x="-85" y="121699"/>
                    <a:pt x="106" y="122459"/>
                    <a:pt x="11" y="122459"/>
                  </a:cubicBezTo>
                  <a:lnTo>
                    <a:pt x="106" y="139736"/>
                  </a:lnTo>
                  <a:cubicBezTo>
                    <a:pt x="106" y="140495"/>
                    <a:pt x="677" y="141065"/>
                    <a:pt x="1438" y="141065"/>
                  </a:cubicBezTo>
                  <a:lnTo>
                    <a:pt x="48540" y="141065"/>
                  </a:lnTo>
                  <a:cubicBezTo>
                    <a:pt x="48540" y="141065"/>
                    <a:pt x="48635" y="141065"/>
                    <a:pt x="48635" y="141065"/>
                  </a:cubicBezTo>
                  <a:lnTo>
                    <a:pt x="48635" y="141065"/>
                  </a:lnTo>
                  <a:lnTo>
                    <a:pt x="60245" y="141065"/>
                  </a:lnTo>
                  <a:cubicBezTo>
                    <a:pt x="61006" y="141065"/>
                    <a:pt x="61577" y="140495"/>
                    <a:pt x="61577" y="139736"/>
                  </a:cubicBezTo>
                  <a:lnTo>
                    <a:pt x="61672" y="122554"/>
                  </a:lnTo>
                  <a:cubicBezTo>
                    <a:pt x="61672" y="122554"/>
                    <a:pt x="61767" y="121794"/>
                    <a:pt x="61386" y="121225"/>
                  </a:cubicBezTo>
                  <a:cubicBezTo>
                    <a:pt x="61006" y="120655"/>
                    <a:pt x="60054" y="120655"/>
                    <a:pt x="60054" y="120655"/>
                  </a:cubicBezTo>
                  <a:cubicBezTo>
                    <a:pt x="56248" y="120086"/>
                    <a:pt x="51776" y="118472"/>
                    <a:pt x="49016" y="116573"/>
                  </a:cubicBezTo>
                  <a:cubicBezTo>
                    <a:pt x="48731" y="116383"/>
                    <a:pt x="48445" y="116194"/>
                    <a:pt x="48160" y="115909"/>
                  </a:cubicBezTo>
                  <a:cubicBezTo>
                    <a:pt x="48064" y="115814"/>
                    <a:pt x="47969" y="115719"/>
                    <a:pt x="47874" y="115624"/>
                  </a:cubicBezTo>
                  <a:cubicBezTo>
                    <a:pt x="47589" y="115434"/>
                    <a:pt x="47398" y="115149"/>
                    <a:pt x="47208" y="114959"/>
                  </a:cubicBezTo>
                  <a:cubicBezTo>
                    <a:pt x="47208" y="114959"/>
                    <a:pt x="47113" y="114865"/>
                    <a:pt x="47113" y="114865"/>
                  </a:cubicBezTo>
                  <a:cubicBezTo>
                    <a:pt x="46923" y="114580"/>
                    <a:pt x="46732" y="114295"/>
                    <a:pt x="46637" y="114010"/>
                  </a:cubicBezTo>
                  <a:cubicBezTo>
                    <a:pt x="46637" y="114010"/>
                    <a:pt x="46637" y="113915"/>
                    <a:pt x="46542" y="113915"/>
                  </a:cubicBezTo>
                  <a:cubicBezTo>
                    <a:pt x="46447" y="113630"/>
                    <a:pt x="46352" y="113346"/>
                    <a:pt x="46352" y="113061"/>
                  </a:cubicBezTo>
                  <a:lnTo>
                    <a:pt x="46352" y="76608"/>
                  </a:lnTo>
                  <a:lnTo>
                    <a:pt x="85366" y="76608"/>
                  </a:lnTo>
                  <a:cubicBezTo>
                    <a:pt x="88030" y="76608"/>
                    <a:pt x="90695" y="79930"/>
                    <a:pt x="91456" y="84582"/>
                  </a:cubicBezTo>
                  <a:cubicBezTo>
                    <a:pt x="91456" y="84582"/>
                    <a:pt x="91456" y="85341"/>
                    <a:pt x="91932" y="85626"/>
                  </a:cubicBezTo>
                  <a:cubicBezTo>
                    <a:pt x="92407" y="86006"/>
                    <a:pt x="92978" y="85816"/>
                    <a:pt x="92978" y="85816"/>
                  </a:cubicBezTo>
                  <a:lnTo>
                    <a:pt x="106681" y="85721"/>
                  </a:lnTo>
                  <a:cubicBezTo>
                    <a:pt x="107252" y="85721"/>
                    <a:pt x="107728" y="85246"/>
                    <a:pt x="107728" y="84677"/>
                  </a:cubicBezTo>
                  <a:lnTo>
                    <a:pt x="107728" y="56388"/>
                  </a:lnTo>
                  <a:lnTo>
                    <a:pt x="107728" y="45661"/>
                  </a:lnTo>
                  <a:cubicBezTo>
                    <a:pt x="107728" y="45091"/>
                    <a:pt x="107252" y="44617"/>
                    <a:pt x="106681" y="44617"/>
                  </a:cubicBezTo>
                  <a:lnTo>
                    <a:pt x="92978" y="44522"/>
                  </a:lnTo>
                  <a:cubicBezTo>
                    <a:pt x="92978" y="44522"/>
                    <a:pt x="92312" y="44427"/>
                    <a:pt x="91932" y="44712"/>
                  </a:cubicBezTo>
                  <a:cubicBezTo>
                    <a:pt x="91456" y="44997"/>
                    <a:pt x="91456" y="45756"/>
                    <a:pt x="91456" y="45756"/>
                  </a:cubicBezTo>
                  <a:cubicBezTo>
                    <a:pt x="90695" y="50502"/>
                    <a:pt x="87935" y="53730"/>
                    <a:pt x="85366" y="53730"/>
                  </a:cubicBezTo>
                  <a:lnTo>
                    <a:pt x="46352" y="53730"/>
                  </a:lnTo>
                  <a:lnTo>
                    <a:pt x="46352" y="28099"/>
                  </a:lnTo>
                  <a:lnTo>
                    <a:pt x="46637" y="23732"/>
                  </a:lnTo>
                  <a:cubicBezTo>
                    <a:pt x="47779" y="21929"/>
                    <a:pt x="50634" y="22593"/>
                    <a:pt x="50634" y="22593"/>
                  </a:cubicBezTo>
                  <a:cubicBezTo>
                    <a:pt x="50634" y="22593"/>
                    <a:pt x="77753" y="22593"/>
                    <a:pt x="85366" y="23068"/>
                  </a:cubicBezTo>
                  <a:cubicBezTo>
                    <a:pt x="89172" y="23258"/>
                    <a:pt x="96785" y="22783"/>
                    <a:pt x="98592" y="25631"/>
                  </a:cubicBezTo>
                  <a:cubicBezTo>
                    <a:pt x="99830" y="27624"/>
                    <a:pt x="100400" y="30187"/>
                    <a:pt x="100400" y="30187"/>
                  </a:cubicBezTo>
                  <a:cubicBezTo>
                    <a:pt x="100400" y="32561"/>
                    <a:pt x="102399" y="34554"/>
                    <a:pt x="104778" y="34554"/>
                  </a:cubicBezTo>
                  <a:lnTo>
                    <a:pt x="116101" y="34554"/>
                  </a:lnTo>
                  <a:cubicBezTo>
                    <a:pt x="118480" y="34554"/>
                    <a:pt x="120478" y="32561"/>
                    <a:pt x="120478" y="30187"/>
                  </a:cubicBezTo>
                  <a:lnTo>
                    <a:pt x="120954" y="4272"/>
                  </a:lnTo>
                  <a:cubicBezTo>
                    <a:pt x="121145" y="1899"/>
                    <a:pt x="119146" y="0"/>
                    <a:pt x="116672" y="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7" name="Freeform 36">
              <a:extLst>
                <a:ext uri="{FF2B5EF4-FFF2-40B4-BE49-F238E27FC236}">
                  <a16:creationId xmlns:a16="http://schemas.microsoft.com/office/drawing/2014/main" id="{EBB7744D-B64B-E544-BB23-942C5F027D99}"/>
                </a:ext>
              </a:extLst>
            </p:cNvPr>
            <p:cNvSpPr/>
            <p:nvPr/>
          </p:nvSpPr>
          <p:spPr>
            <a:xfrm>
              <a:off x="9199592" y="-1120939"/>
              <a:ext cx="330763" cy="140993"/>
            </a:xfrm>
            <a:custGeom>
              <a:avLst/>
              <a:gdLst>
                <a:gd name="connsiteX0" fmla="*/ 330383 w 330763"/>
                <a:gd name="connsiteY0" fmla="*/ 122483 h 140993"/>
                <a:gd name="connsiteX1" fmla="*/ 330097 w 330763"/>
                <a:gd name="connsiteY1" fmla="*/ 121154 h 140993"/>
                <a:gd name="connsiteX2" fmla="*/ 328765 w 330763"/>
                <a:gd name="connsiteY2" fmla="*/ 120584 h 140993"/>
                <a:gd name="connsiteX3" fmla="*/ 315063 w 330763"/>
                <a:gd name="connsiteY3" fmla="*/ 112895 h 140993"/>
                <a:gd name="connsiteX4" fmla="*/ 297554 w 330763"/>
                <a:gd name="connsiteY4" fmla="*/ 28313 h 140993"/>
                <a:gd name="connsiteX5" fmla="*/ 306784 w 330763"/>
                <a:gd name="connsiteY5" fmla="*/ 20528 h 140993"/>
                <a:gd name="connsiteX6" fmla="*/ 308116 w 330763"/>
                <a:gd name="connsiteY6" fmla="*/ 19959 h 140993"/>
                <a:gd name="connsiteX7" fmla="*/ 308402 w 330763"/>
                <a:gd name="connsiteY7" fmla="*/ 18630 h 140993"/>
                <a:gd name="connsiteX8" fmla="*/ 308307 w 330763"/>
                <a:gd name="connsiteY8" fmla="*/ 1448 h 140993"/>
                <a:gd name="connsiteX9" fmla="*/ 306974 w 330763"/>
                <a:gd name="connsiteY9" fmla="*/ 119 h 140993"/>
                <a:gd name="connsiteX10" fmla="*/ 263202 w 330763"/>
                <a:gd name="connsiteY10" fmla="*/ 119 h 140993"/>
                <a:gd name="connsiteX11" fmla="*/ 257112 w 330763"/>
                <a:gd name="connsiteY11" fmla="*/ 593 h 140993"/>
                <a:gd name="connsiteX12" fmla="*/ 254258 w 330763"/>
                <a:gd name="connsiteY12" fmla="*/ 5340 h 140993"/>
                <a:gd name="connsiteX13" fmla="*/ 244742 w 330763"/>
                <a:gd name="connsiteY13" fmla="*/ 34768 h 140993"/>
                <a:gd name="connsiteX14" fmla="*/ 237605 w 330763"/>
                <a:gd name="connsiteY14" fmla="*/ 53754 h 140993"/>
                <a:gd name="connsiteX15" fmla="*/ 231420 w 330763"/>
                <a:gd name="connsiteY15" fmla="*/ 35717 h 140993"/>
                <a:gd name="connsiteX16" fmla="*/ 221905 w 330763"/>
                <a:gd name="connsiteY16" fmla="*/ 7713 h 140993"/>
                <a:gd name="connsiteX17" fmla="*/ 218098 w 330763"/>
                <a:gd name="connsiteY17" fmla="*/ 1068 h 140993"/>
                <a:gd name="connsiteX18" fmla="*/ 210962 w 330763"/>
                <a:gd name="connsiteY18" fmla="*/ 119 h 140993"/>
                <a:gd name="connsiteX19" fmla="*/ 167190 w 330763"/>
                <a:gd name="connsiteY19" fmla="*/ 119 h 140993"/>
                <a:gd name="connsiteX20" fmla="*/ 165857 w 330763"/>
                <a:gd name="connsiteY20" fmla="*/ 1448 h 140993"/>
                <a:gd name="connsiteX21" fmla="*/ 165762 w 330763"/>
                <a:gd name="connsiteY21" fmla="*/ 18630 h 140993"/>
                <a:gd name="connsiteX22" fmla="*/ 166048 w 330763"/>
                <a:gd name="connsiteY22" fmla="*/ 19959 h 140993"/>
                <a:gd name="connsiteX23" fmla="*/ 167380 w 330763"/>
                <a:gd name="connsiteY23" fmla="*/ 20528 h 140993"/>
                <a:gd name="connsiteX24" fmla="*/ 176610 w 330763"/>
                <a:gd name="connsiteY24" fmla="*/ 28313 h 140993"/>
                <a:gd name="connsiteX25" fmla="*/ 159101 w 330763"/>
                <a:gd name="connsiteY25" fmla="*/ 112895 h 140993"/>
                <a:gd name="connsiteX26" fmla="*/ 153773 w 330763"/>
                <a:gd name="connsiteY26" fmla="*/ 117926 h 140993"/>
                <a:gd name="connsiteX27" fmla="*/ 148444 w 330763"/>
                <a:gd name="connsiteY27" fmla="*/ 112895 h 140993"/>
                <a:gd name="connsiteX28" fmla="*/ 105053 w 330763"/>
                <a:gd name="connsiteY28" fmla="*/ 3631 h 140993"/>
                <a:gd name="connsiteX29" fmla="*/ 103625 w 330763"/>
                <a:gd name="connsiteY29" fmla="*/ 973 h 140993"/>
                <a:gd name="connsiteX30" fmla="*/ 101532 w 330763"/>
                <a:gd name="connsiteY30" fmla="*/ 214 h 140993"/>
                <a:gd name="connsiteX31" fmla="*/ 62423 w 330763"/>
                <a:gd name="connsiteY31" fmla="*/ 214 h 140993"/>
                <a:gd name="connsiteX32" fmla="*/ 60139 w 330763"/>
                <a:gd name="connsiteY32" fmla="*/ 973 h 140993"/>
                <a:gd name="connsiteX33" fmla="*/ 58711 w 330763"/>
                <a:gd name="connsiteY33" fmla="*/ 3631 h 140993"/>
                <a:gd name="connsiteX34" fmla="*/ 15320 w 330763"/>
                <a:gd name="connsiteY34" fmla="*/ 112895 h 140993"/>
                <a:gd name="connsiteX35" fmla="*/ 1618 w 330763"/>
                <a:gd name="connsiteY35" fmla="*/ 120584 h 140993"/>
                <a:gd name="connsiteX36" fmla="*/ 285 w 330763"/>
                <a:gd name="connsiteY36" fmla="*/ 121154 h 140993"/>
                <a:gd name="connsiteX37" fmla="*/ 0 w 330763"/>
                <a:gd name="connsiteY37" fmla="*/ 122483 h 140993"/>
                <a:gd name="connsiteX38" fmla="*/ 95 w 330763"/>
                <a:gd name="connsiteY38" fmla="*/ 139665 h 140993"/>
                <a:gd name="connsiteX39" fmla="*/ 1427 w 330763"/>
                <a:gd name="connsiteY39" fmla="*/ 140994 h 140993"/>
                <a:gd name="connsiteX40" fmla="*/ 57474 w 330763"/>
                <a:gd name="connsiteY40" fmla="*/ 140994 h 140993"/>
                <a:gd name="connsiteX41" fmla="*/ 58807 w 330763"/>
                <a:gd name="connsiteY41" fmla="*/ 139665 h 140993"/>
                <a:gd name="connsiteX42" fmla="*/ 58902 w 330763"/>
                <a:gd name="connsiteY42" fmla="*/ 122483 h 140993"/>
                <a:gd name="connsiteX43" fmla="*/ 58616 w 330763"/>
                <a:gd name="connsiteY43" fmla="*/ 121154 h 140993"/>
                <a:gd name="connsiteX44" fmla="*/ 57284 w 330763"/>
                <a:gd name="connsiteY44" fmla="*/ 120584 h 140993"/>
                <a:gd name="connsiteX45" fmla="*/ 46436 w 330763"/>
                <a:gd name="connsiteY45" fmla="*/ 112895 h 140993"/>
                <a:gd name="connsiteX46" fmla="*/ 55191 w 330763"/>
                <a:gd name="connsiteY46" fmla="*/ 90776 h 140993"/>
                <a:gd name="connsiteX47" fmla="*/ 100295 w 330763"/>
                <a:gd name="connsiteY47" fmla="*/ 90776 h 140993"/>
                <a:gd name="connsiteX48" fmla="*/ 108859 w 330763"/>
                <a:gd name="connsiteY48" fmla="*/ 112895 h 140993"/>
                <a:gd name="connsiteX49" fmla="*/ 100866 w 330763"/>
                <a:gd name="connsiteY49" fmla="*/ 120584 h 140993"/>
                <a:gd name="connsiteX50" fmla="*/ 99533 w 330763"/>
                <a:gd name="connsiteY50" fmla="*/ 121154 h 140993"/>
                <a:gd name="connsiteX51" fmla="*/ 99248 w 330763"/>
                <a:gd name="connsiteY51" fmla="*/ 122483 h 140993"/>
                <a:gd name="connsiteX52" fmla="*/ 99248 w 330763"/>
                <a:gd name="connsiteY52" fmla="*/ 139665 h 140993"/>
                <a:gd name="connsiteX53" fmla="*/ 100580 w 330763"/>
                <a:gd name="connsiteY53" fmla="*/ 140994 h 140993"/>
                <a:gd name="connsiteX54" fmla="*/ 197735 w 330763"/>
                <a:gd name="connsiteY54" fmla="*/ 140994 h 140993"/>
                <a:gd name="connsiteX55" fmla="*/ 199067 w 330763"/>
                <a:gd name="connsiteY55" fmla="*/ 139665 h 140993"/>
                <a:gd name="connsiteX56" fmla="*/ 199067 w 330763"/>
                <a:gd name="connsiteY56" fmla="*/ 122483 h 140993"/>
                <a:gd name="connsiteX57" fmla="*/ 198782 w 330763"/>
                <a:gd name="connsiteY57" fmla="*/ 121154 h 140993"/>
                <a:gd name="connsiteX58" fmla="*/ 197449 w 330763"/>
                <a:gd name="connsiteY58" fmla="*/ 120584 h 140993"/>
                <a:gd name="connsiteX59" fmla="*/ 190122 w 330763"/>
                <a:gd name="connsiteY59" fmla="*/ 112895 h 140993"/>
                <a:gd name="connsiteX60" fmla="*/ 198115 w 330763"/>
                <a:gd name="connsiteY60" fmla="*/ 53279 h 140993"/>
                <a:gd name="connsiteX61" fmla="*/ 199543 w 330763"/>
                <a:gd name="connsiteY61" fmla="*/ 47583 h 140993"/>
                <a:gd name="connsiteX62" fmla="*/ 203349 w 330763"/>
                <a:gd name="connsiteY62" fmla="*/ 56602 h 140993"/>
                <a:gd name="connsiteX63" fmla="*/ 215244 w 330763"/>
                <a:gd name="connsiteY63" fmla="*/ 98845 h 140993"/>
                <a:gd name="connsiteX64" fmla="*/ 218574 w 330763"/>
                <a:gd name="connsiteY64" fmla="*/ 104541 h 140993"/>
                <a:gd name="connsiteX65" fmla="*/ 225235 w 330763"/>
                <a:gd name="connsiteY65" fmla="*/ 107863 h 140993"/>
                <a:gd name="connsiteX66" fmla="*/ 235226 w 330763"/>
                <a:gd name="connsiteY66" fmla="*/ 107863 h 140993"/>
                <a:gd name="connsiteX67" fmla="*/ 243315 w 330763"/>
                <a:gd name="connsiteY67" fmla="*/ 107863 h 140993"/>
                <a:gd name="connsiteX68" fmla="*/ 247597 w 330763"/>
                <a:gd name="connsiteY68" fmla="*/ 105965 h 140993"/>
                <a:gd name="connsiteX69" fmla="*/ 252355 w 330763"/>
                <a:gd name="connsiteY69" fmla="*/ 97421 h 140993"/>
                <a:gd name="connsiteX70" fmla="*/ 265677 w 330763"/>
                <a:gd name="connsiteY70" fmla="*/ 51380 h 140993"/>
                <a:gd name="connsiteX71" fmla="*/ 268055 w 330763"/>
                <a:gd name="connsiteY71" fmla="*/ 47109 h 140993"/>
                <a:gd name="connsiteX72" fmla="*/ 270339 w 330763"/>
                <a:gd name="connsiteY72" fmla="*/ 53279 h 140993"/>
                <a:gd name="connsiteX73" fmla="*/ 278332 w 330763"/>
                <a:gd name="connsiteY73" fmla="*/ 112895 h 140993"/>
                <a:gd name="connsiteX74" fmla="*/ 271005 w 330763"/>
                <a:gd name="connsiteY74" fmla="*/ 120584 h 140993"/>
                <a:gd name="connsiteX75" fmla="*/ 269673 w 330763"/>
                <a:gd name="connsiteY75" fmla="*/ 121154 h 140993"/>
                <a:gd name="connsiteX76" fmla="*/ 269388 w 330763"/>
                <a:gd name="connsiteY76" fmla="*/ 122483 h 140993"/>
                <a:gd name="connsiteX77" fmla="*/ 269007 w 330763"/>
                <a:gd name="connsiteY77" fmla="*/ 139665 h 140993"/>
                <a:gd name="connsiteX78" fmla="*/ 270339 w 330763"/>
                <a:gd name="connsiteY78" fmla="*/ 140994 h 140993"/>
                <a:gd name="connsiteX79" fmla="*/ 329431 w 330763"/>
                <a:gd name="connsiteY79" fmla="*/ 140994 h 140993"/>
                <a:gd name="connsiteX80" fmla="*/ 330763 w 330763"/>
                <a:gd name="connsiteY80" fmla="*/ 139665 h 140993"/>
                <a:gd name="connsiteX81" fmla="*/ 330383 w 330763"/>
                <a:gd name="connsiteY81" fmla="*/ 122483 h 140993"/>
                <a:gd name="connsiteX82" fmla="*/ 90303 w 330763"/>
                <a:gd name="connsiteY82" fmla="*/ 66379 h 140993"/>
                <a:gd name="connsiteX83" fmla="*/ 88020 w 330763"/>
                <a:gd name="connsiteY83" fmla="*/ 66949 h 140993"/>
                <a:gd name="connsiteX84" fmla="*/ 67371 w 330763"/>
                <a:gd name="connsiteY84" fmla="*/ 66949 h 140993"/>
                <a:gd name="connsiteX85" fmla="*/ 65182 w 330763"/>
                <a:gd name="connsiteY85" fmla="*/ 66569 h 140993"/>
                <a:gd name="connsiteX86" fmla="*/ 65753 w 330763"/>
                <a:gd name="connsiteY86" fmla="*/ 64291 h 140993"/>
                <a:gd name="connsiteX87" fmla="*/ 77838 w 330763"/>
                <a:gd name="connsiteY87" fmla="*/ 32584 h 140993"/>
                <a:gd name="connsiteX88" fmla="*/ 89637 w 330763"/>
                <a:gd name="connsiteY88" fmla="*/ 63341 h 140993"/>
                <a:gd name="connsiteX89" fmla="*/ 90303 w 330763"/>
                <a:gd name="connsiteY89" fmla="*/ 66379 h 140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30763" h="140993">
                  <a:moveTo>
                    <a:pt x="330383" y="122483"/>
                  </a:moveTo>
                  <a:cubicBezTo>
                    <a:pt x="330383" y="122483"/>
                    <a:pt x="330478" y="121723"/>
                    <a:pt x="330097" y="121154"/>
                  </a:cubicBezTo>
                  <a:cubicBezTo>
                    <a:pt x="329717" y="120584"/>
                    <a:pt x="328765" y="120584"/>
                    <a:pt x="328765" y="120584"/>
                  </a:cubicBezTo>
                  <a:cubicBezTo>
                    <a:pt x="322770" y="119635"/>
                    <a:pt x="315063" y="116217"/>
                    <a:pt x="315063" y="112895"/>
                  </a:cubicBezTo>
                  <a:lnTo>
                    <a:pt x="297554" y="28313"/>
                  </a:lnTo>
                  <a:cubicBezTo>
                    <a:pt x="297554" y="24990"/>
                    <a:pt x="300789" y="21573"/>
                    <a:pt x="306784" y="20528"/>
                  </a:cubicBezTo>
                  <a:cubicBezTo>
                    <a:pt x="306784" y="20528"/>
                    <a:pt x="307736" y="20528"/>
                    <a:pt x="308116" y="19959"/>
                  </a:cubicBezTo>
                  <a:cubicBezTo>
                    <a:pt x="308497" y="19389"/>
                    <a:pt x="308307" y="18630"/>
                    <a:pt x="308402" y="18630"/>
                  </a:cubicBezTo>
                  <a:lnTo>
                    <a:pt x="308307" y="1448"/>
                  </a:lnTo>
                  <a:cubicBezTo>
                    <a:pt x="308307" y="688"/>
                    <a:pt x="307736" y="119"/>
                    <a:pt x="306974" y="119"/>
                  </a:cubicBezTo>
                  <a:lnTo>
                    <a:pt x="263202" y="119"/>
                  </a:lnTo>
                  <a:cubicBezTo>
                    <a:pt x="263202" y="119"/>
                    <a:pt x="258540" y="-356"/>
                    <a:pt x="257112" y="593"/>
                  </a:cubicBezTo>
                  <a:cubicBezTo>
                    <a:pt x="255685" y="1543"/>
                    <a:pt x="254258" y="5340"/>
                    <a:pt x="254258" y="5340"/>
                  </a:cubicBezTo>
                  <a:lnTo>
                    <a:pt x="244742" y="34768"/>
                  </a:lnTo>
                  <a:cubicBezTo>
                    <a:pt x="244742" y="34768"/>
                    <a:pt x="239033" y="53754"/>
                    <a:pt x="237605" y="53754"/>
                  </a:cubicBezTo>
                  <a:cubicBezTo>
                    <a:pt x="236178" y="53754"/>
                    <a:pt x="231420" y="35717"/>
                    <a:pt x="231420" y="35717"/>
                  </a:cubicBezTo>
                  <a:lnTo>
                    <a:pt x="221905" y="7713"/>
                  </a:lnTo>
                  <a:cubicBezTo>
                    <a:pt x="221905" y="7713"/>
                    <a:pt x="220001" y="2492"/>
                    <a:pt x="218098" y="1068"/>
                  </a:cubicBezTo>
                  <a:cubicBezTo>
                    <a:pt x="216195" y="-356"/>
                    <a:pt x="210962" y="119"/>
                    <a:pt x="210962" y="119"/>
                  </a:cubicBezTo>
                  <a:lnTo>
                    <a:pt x="167190" y="119"/>
                  </a:lnTo>
                  <a:cubicBezTo>
                    <a:pt x="166428" y="119"/>
                    <a:pt x="165857" y="688"/>
                    <a:pt x="165857" y="1448"/>
                  </a:cubicBezTo>
                  <a:lnTo>
                    <a:pt x="165762" y="18630"/>
                  </a:lnTo>
                  <a:cubicBezTo>
                    <a:pt x="165762" y="18630"/>
                    <a:pt x="165667" y="19389"/>
                    <a:pt x="166048" y="19959"/>
                  </a:cubicBezTo>
                  <a:cubicBezTo>
                    <a:pt x="166428" y="20528"/>
                    <a:pt x="167380" y="20528"/>
                    <a:pt x="167380" y="20528"/>
                  </a:cubicBezTo>
                  <a:cubicBezTo>
                    <a:pt x="173375" y="21478"/>
                    <a:pt x="176610" y="24895"/>
                    <a:pt x="176610" y="28313"/>
                  </a:cubicBezTo>
                  <a:lnTo>
                    <a:pt x="159101" y="112895"/>
                  </a:lnTo>
                  <a:cubicBezTo>
                    <a:pt x="158340" y="116312"/>
                    <a:pt x="156913" y="117926"/>
                    <a:pt x="153773" y="117926"/>
                  </a:cubicBezTo>
                  <a:cubicBezTo>
                    <a:pt x="151203" y="117926"/>
                    <a:pt x="150252" y="116502"/>
                    <a:pt x="148444" y="112895"/>
                  </a:cubicBezTo>
                  <a:lnTo>
                    <a:pt x="105053" y="3631"/>
                  </a:lnTo>
                  <a:cubicBezTo>
                    <a:pt x="105053" y="3631"/>
                    <a:pt x="104387" y="1637"/>
                    <a:pt x="103625" y="973"/>
                  </a:cubicBezTo>
                  <a:cubicBezTo>
                    <a:pt x="102959" y="214"/>
                    <a:pt x="101532" y="214"/>
                    <a:pt x="101532" y="214"/>
                  </a:cubicBezTo>
                  <a:lnTo>
                    <a:pt x="62423" y="214"/>
                  </a:lnTo>
                  <a:cubicBezTo>
                    <a:pt x="62423" y="214"/>
                    <a:pt x="60805" y="214"/>
                    <a:pt x="60139" y="973"/>
                  </a:cubicBezTo>
                  <a:cubicBezTo>
                    <a:pt x="59377" y="1732"/>
                    <a:pt x="58711" y="3631"/>
                    <a:pt x="58711" y="3631"/>
                  </a:cubicBezTo>
                  <a:lnTo>
                    <a:pt x="15320" y="112895"/>
                  </a:lnTo>
                  <a:cubicBezTo>
                    <a:pt x="15320" y="116217"/>
                    <a:pt x="7517" y="119635"/>
                    <a:pt x="1618" y="120584"/>
                  </a:cubicBezTo>
                  <a:cubicBezTo>
                    <a:pt x="1618" y="120584"/>
                    <a:pt x="666" y="120584"/>
                    <a:pt x="285" y="121154"/>
                  </a:cubicBezTo>
                  <a:cubicBezTo>
                    <a:pt x="-95" y="121723"/>
                    <a:pt x="95" y="122483"/>
                    <a:pt x="0" y="122483"/>
                  </a:cubicBezTo>
                  <a:lnTo>
                    <a:pt x="95" y="139665"/>
                  </a:lnTo>
                  <a:cubicBezTo>
                    <a:pt x="95" y="140424"/>
                    <a:pt x="666" y="140994"/>
                    <a:pt x="1427" y="140994"/>
                  </a:cubicBezTo>
                  <a:lnTo>
                    <a:pt x="57474" y="140994"/>
                  </a:lnTo>
                  <a:cubicBezTo>
                    <a:pt x="58236" y="140994"/>
                    <a:pt x="58807" y="140424"/>
                    <a:pt x="58807" y="139665"/>
                  </a:cubicBezTo>
                  <a:lnTo>
                    <a:pt x="58902" y="122483"/>
                  </a:lnTo>
                  <a:cubicBezTo>
                    <a:pt x="58902" y="122483"/>
                    <a:pt x="58997" y="121723"/>
                    <a:pt x="58616" y="121154"/>
                  </a:cubicBezTo>
                  <a:cubicBezTo>
                    <a:pt x="58236" y="120584"/>
                    <a:pt x="57284" y="120584"/>
                    <a:pt x="57284" y="120584"/>
                  </a:cubicBezTo>
                  <a:cubicBezTo>
                    <a:pt x="51289" y="119635"/>
                    <a:pt x="45389" y="117736"/>
                    <a:pt x="46436" y="112895"/>
                  </a:cubicBezTo>
                  <a:lnTo>
                    <a:pt x="55191" y="90776"/>
                  </a:lnTo>
                  <a:lnTo>
                    <a:pt x="100295" y="90776"/>
                  </a:lnTo>
                  <a:lnTo>
                    <a:pt x="108859" y="112895"/>
                  </a:lnTo>
                  <a:cubicBezTo>
                    <a:pt x="110952" y="116692"/>
                    <a:pt x="106765" y="119635"/>
                    <a:pt x="100866" y="120584"/>
                  </a:cubicBezTo>
                  <a:cubicBezTo>
                    <a:pt x="100866" y="120584"/>
                    <a:pt x="99914" y="120584"/>
                    <a:pt x="99533" y="121154"/>
                  </a:cubicBezTo>
                  <a:cubicBezTo>
                    <a:pt x="99153" y="121723"/>
                    <a:pt x="99343" y="122483"/>
                    <a:pt x="99248" y="122483"/>
                  </a:cubicBezTo>
                  <a:lnTo>
                    <a:pt x="99248" y="139665"/>
                  </a:lnTo>
                  <a:cubicBezTo>
                    <a:pt x="99248" y="140424"/>
                    <a:pt x="99819" y="140994"/>
                    <a:pt x="100580" y="140994"/>
                  </a:cubicBezTo>
                  <a:lnTo>
                    <a:pt x="197735" y="140994"/>
                  </a:lnTo>
                  <a:cubicBezTo>
                    <a:pt x="198496" y="140994"/>
                    <a:pt x="199067" y="140424"/>
                    <a:pt x="199067" y="139665"/>
                  </a:cubicBezTo>
                  <a:lnTo>
                    <a:pt x="199067" y="122483"/>
                  </a:lnTo>
                  <a:cubicBezTo>
                    <a:pt x="199067" y="122483"/>
                    <a:pt x="199162" y="121723"/>
                    <a:pt x="198782" y="121154"/>
                  </a:cubicBezTo>
                  <a:cubicBezTo>
                    <a:pt x="198401" y="120584"/>
                    <a:pt x="197449" y="120584"/>
                    <a:pt x="197449" y="120584"/>
                  </a:cubicBezTo>
                  <a:cubicBezTo>
                    <a:pt x="191455" y="119635"/>
                    <a:pt x="190122" y="116217"/>
                    <a:pt x="190122" y="112895"/>
                  </a:cubicBezTo>
                  <a:lnTo>
                    <a:pt x="198115" y="53279"/>
                  </a:lnTo>
                  <a:cubicBezTo>
                    <a:pt x="198115" y="53279"/>
                    <a:pt x="198115" y="47583"/>
                    <a:pt x="199543" y="47583"/>
                  </a:cubicBezTo>
                  <a:cubicBezTo>
                    <a:pt x="200970" y="47583"/>
                    <a:pt x="203349" y="56602"/>
                    <a:pt x="203349" y="56602"/>
                  </a:cubicBezTo>
                  <a:lnTo>
                    <a:pt x="215244" y="98845"/>
                  </a:lnTo>
                  <a:cubicBezTo>
                    <a:pt x="215244" y="98845"/>
                    <a:pt x="217147" y="103117"/>
                    <a:pt x="218574" y="104541"/>
                  </a:cubicBezTo>
                  <a:cubicBezTo>
                    <a:pt x="220001" y="105965"/>
                    <a:pt x="225235" y="107863"/>
                    <a:pt x="225235" y="107863"/>
                  </a:cubicBezTo>
                  <a:lnTo>
                    <a:pt x="235226" y="107863"/>
                  </a:lnTo>
                  <a:lnTo>
                    <a:pt x="243315" y="107863"/>
                  </a:lnTo>
                  <a:cubicBezTo>
                    <a:pt x="243315" y="107863"/>
                    <a:pt x="245218" y="107863"/>
                    <a:pt x="247597" y="105965"/>
                  </a:cubicBezTo>
                  <a:cubicBezTo>
                    <a:pt x="249976" y="104066"/>
                    <a:pt x="252355" y="97421"/>
                    <a:pt x="252355" y="97421"/>
                  </a:cubicBezTo>
                  <a:lnTo>
                    <a:pt x="265677" y="51380"/>
                  </a:lnTo>
                  <a:cubicBezTo>
                    <a:pt x="265677" y="51380"/>
                    <a:pt x="266628" y="47109"/>
                    <a:pt x="268055" y="47109"/>
                  </a:cubicBezTo>
                  <a:cubicBezTo>
                    <a:pt x="269959" y="47109"/>
                    <a:pt x="270339" y="53279"/>
                    <a:pt x="270339" y="53279"/>
                  </a:cubicBezTo>
                  <a:lnTo>
                    <a:pt x="278332" y="112895"/>
                  </a:lnTo>
                  <a:cubicBezTo>
                    <a:pt x="278332" y="116217"/>
                    <a:pt x="277000" y="119635"/>
                    <a:pt x="271005" y="120584"/>
                  </a:cubicBezTo>
                  <a:cubicBezTo>
                    <a:pt x="271005" y="120584"/>
                    <a:pt x="270054" y="120584"/>
                    <a:pt x="269673" y="121154"/>
                  </a:cubicBezTo>
                  <a:cubicBezTo>
                    <a:pt x="269292" y="121723"/>
                    <a:pt x="269483" y="122483"/>
                    <a:pt x="269388" y="122483"/>
                  </a:cubicBezTo>
                  <a:lnTo>
                    <a:pt x="269007" y="139665"/>
                  </a:lnTo>
                  <a:cubicBezTo>
                    <a:pt x="269007" y="140424"/>
                    <a:pt x="269578" y="140994"/>
                    <a:pt x="270339" y="140994"/>
                  </a:cubicBezTo>
                  <a:lnTo>
                    <a:pt x="329431" y="140994"/>
                  </a:lnTo>
                  <a:cubicBezTo>
                    <a:pt x="330192" y="140994"/>
                    <a:pt x="330763" y="140424"/>
                    <a:pt x="330763" y="139665"/>
                  </a:cubicBezTo>
                  <a:lnTo>
                    <a:pt x="330383" y="122483"/>
                  </a:lnTo>
                  <a:close/>
                  <a:moveTo>
                    <a:pt x="90303" y="66379"/>
                  </a:moveTo>
                  <a:cubicBezTo>
                    <a:pt x="89923" y="67234"/>
                    <a:pt x="88020" y="66949"/>
                    <a:pt x="88020" y="66949"/>
                  </a:cubicBezTo>
                  <a:lnTo>
                    <a:pt x="67371" y="66949"/>
                  </a:lnTo>
                  <a:cubicBezTo>
                    <a:pt x="67371" y="66949"/>
                    <a:pt x="65943" y="67044"/>
                    <a:pt x="65182" y="66569"/>
                  </a:cubicBezTo>
                  <a:cubicBezTo>
                    <a:pt x="64611" y="66189"/>
                    <a:pt x="65753" y="64291"/>
                    <a:pt x="65753" y="64291"/>
                  </a:cubicBezTo>
                  <a:lnTo>
                    <a:pt x="77838" y="32584"/>
                  </a:lnTo>
                  <a:lnTo>
                    <a:pt x="89637" y="63341"/>
                  </a:lnTo>
                  <a:cubicBezTo>
                    <a:pt x="89542" y="63437"/>
                    <a:pt x="90589" y="65715"/>
                    <a:pt x="90303" y="66379"/>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sp>
          <p:nvSpPr>
            <p:cNvPr id="38" name="Freeform 37">
              <a:extLst>
                <a:ext uri="{FF2B5EF4-FFF2-40B4-BE49-F238E27FC236}">
                  <a16:creationId xmlns:a16="http://schemas.microsoft.com/office/drawing/2014/main" id="{1AD5D0D6-C938-7F42-B294-DC6B78C77C63}"/>
                </a:ext>
              </a:extLst>
            </p:cNvPr>
            <p:cNvSpPr/>
            <p:nvPr/>
          </p:nvSpPr>
          <p:spPr>
            <a:xfrm>
              <a:off x="9899277" y="-1124630"/>
              <a:ext cx="264249" cy="145277"/>
            </a:xfrm>
            <a:custGeom>
              <a:avLst/>
              <a:gdLst>
                <a:gd name="connsiteX0" fmla="*/ 263869 w 264249"/>
                <a:gd name="connsiteY0" fmla="*/ 124749 h 145277"/>
                <a:gd name="connsiteX1" fmla="*/ 262536 w 264249"/>
                <a:gd name="connsiteY1" fmla="*/ 124179 h 145277"/>
                <a:gd name="connsiteX2" fmla="*/ 248834 w 264249"/>
                <a:gd name="connsiteY2" fmla="*/ 116490 h 145277"/>
                <a:gd name="connsiteX3" fmla="*/ 205443 w 264249"/>
                <a:gd name="connsiteY3" fmla="*/ 7227 h 145277"/>
                <a:gd name="connsiteX4" fmla="*/ 204015 w 264249"/>
                <a:gd name="connsiteY4" fmla="*/ 4569 h 145277"/>
                <a:gd name="connsiteX5" fmla="*/ 201922 w 264249"/>
                <a:gd name="connsiteY5" fmla="*/ 3809 h 145277"/>
                <a:gd name="connsiteX6" fmla="*/ 162813 w 264249"/>
                <a:gd name="connsiteY6" fmla="*/ 3809 h 145277"/>
                <a:gd name="connsiteX7" fmla="*/ 160529 w 264249"/>
                <a:gd name="connsiteY7" fmla="*/ 4569 h 145277"/>
                <a:gd name="connsiteX8" fmla="*/ 159101 w 264249"/>
                <a:gd name="connsiteY8" fmla="*/ 7227 h 145277"/>
                <a:gd name="connsiteX9" fmla="*/ 121990 w 264249"/>
                <a:gd name="connsiteY9" fmla="*/ 100637 h 145277"/>
                <a:gd name="connsiteX10" fmla="*/ 103530 w 264249"/>
                <a:gd name="connsiteY10" fmla="*/ 121806 h 145277"/>
                <a:gd name="connsiteX11" fmla="*/ 79075 w 264249"/>
                <a:gd name="connsiteY11" fmla="*/ 125129 h 145277"/>
                <a:gd name="connsiteX12" fmla="*/ 78599 w 264249"/>
                <a:gd name="connsiteY12" fmla="*/ 125129 h 145277"/>
                <a:gd name="connsiteX13" fmla="*/ 78599 w 264249"/>
                <a:gd name="connsiteY13" fmla="*/ 125129 h 145277"/>
                <a:gd name="connsiteX14" fmla="*/ 58426 w 264249"/>
                <a:gd name="connsiteY14" fmla="*/ 121806 h 145277"/>
                <a:gd name="connsiteX15" fmla="*/ 43772 w 264249"/>
                <a:gd name="connsiteY15" fmla="*/ 105289 h 145277"/>
                <a:gd name="connsiteX16" fmla="*/ 39680 w 264249"/>
                <a:gd name="connsiteY16" fmla="*/ 72633 h 145277"/>
                <a:gd name="connsiteX17" fmla="*/ 43772 w 264249"/>
                <a:gd name="connsiteY17" fmla="*/ 37509 h 145277"/>
                <a:gd name="connsiteX18" fmla="*/ 73175 w 264249"/>
                <a:gd name="connsiteY18" fmla="*/ 22415 h 145277"/>
                <a:gd name="connsiteX19" fmla="*/ 99819 w 264249"/>
                <a:gd name="connsiteY19" fmla="*/ 32857 h 145277"/>
                <a:gd name="connsiteX20" fmla="*/ 104767 w 264249"/>
                <a:gd name="connsiteY20" fmla="*/ 42066 h 145277"/>
                <a:gd name="connsiteX21" fmla="*/ 104767 w 264249"/>
                <a:gd name="connsiteY21" fmla="*/ 43585 h 145277"/>
                <a:gd name="connsiteX22" fmla="*/ 109144 w 264249"/>
                <a:gd name="connsiteY22" fmla="*/ 47951 h 145277"/>
                <a:gd name="connsiteX23" fmla="*/ 120468 w 264249"/>
                <a:gd name="connsiteY23" fmla="*/ 47951 h 145277"/>
                <a:gd name="connsiteX24" fmla="*/ 124845 w 264249"/>
                <a:gd name="connsiteY24" fmla="*/ 43585 h 145277"/>
                <a:gd name="connsiteX25" fmla="*/ 125226 w 264249"/>
                <a:gd name="connsiteY25" fmla="*/ 9600 h 145277"/>
                <a:gd name="connsiteX26" fmla="*/ 122847 w 264249"/>
                <a:gd name="connsiteY26" fmla="*/ 4663 h 145277"/>
                <a:gd name="connsiteX27" fmla="*/ 78885 w 264249"/>
                <a:gd name="connsiteY27" fmla="*/ 12 h 145277"/>
                <a:gd name="connsiteX28" fmla="*/ 27786 w 264249"/>
                <a:gd name="connsiteY28" fmla="*/ 11024 h 145277"/>
                <a:gd name="connsiteX29" fmla="*/ 0 w 264249"/>
                <a:gd name="connsiteY29" fmla="*/ 70544 h 145277"/>
                <a:gd name="connsiteX30" fmla="*/ 17604 w 264249"/>
                <a:gd name="connsiteY30" fmla="*/ 128641 h 145277"/>
                <a:gd name="connsiteX31" fmla="*/ 55476 w 264249"/>
                <a:gd name="connsiteY31" fmla="*/ 144209 h 145277"/>
                <a:gd name="connsiteX32" fmla="*/ 73651 w 264249"/>
                <a:gd name="connsiteY32" fmla="*/ 145064 h 145277"/>
                <a:gd name="connsiteX33" fmla="*/ 78599 w 264249"/>
                <a:gd name="connsiteY33" fmla="*/ 145254 h 145277"/>
                <a:gd name="connsiteX34" fmla="*/ 91826 w 264249"/>
                <a:gd name="connsiteY34" fmla="*/ 144684 h 145277"/>
                <a:gd name="connsiteX35" fmla="*/ 122847 w 264249"/>
                <a:gd name="connsiteY35" fmla="*/ 144589 h 145277"/>
                <a:gd name="connsiteX36" fmla="*/ 157864 w 264249"/>
                <a:gd name="connsiteY36" fmla="*/ 144589 h 145277"/>
                <a:gd name="connsiteX37" fmla="*/ 159197 w 264249"/>
                <a:gd name="connsiteY37" fmla="*/ 143260 h 145277"/>
                <a:gd name="connsiteX38" fmla="*/ 159292 w 264249"/>
                <a:gd name="connsiteY38" fmla="*/ 126078 h 145277"/>
                <a:gd name="connsiteX39" fmla="*/ 159006 w 264249"/>
                <a:gd name="connsiteY39" fmla="*/ 124749 h 145277"/>
                <a:gd name="connsiteX40" fmla="*/ 157674 w 264249"/>
                <a:gd name="connsiteY40" fmla="*/ 124179 h 145277"/>
                <a:gd name="connsiteX41" fmla="*/ 146826 w 264249"/>
                <a:gd name="connsiteY41" fmla="*/ 116490 h 145277"/>
                <a:gd name="connsiteX42" fmla="*/ 155581 w 264249"/>
                <a:gd name="connsiteY42" fmla="*/ 94372 h 145277"/>
                <a:gd name="connsiteX43" fmla="*/ 200685 w 264249"/>
                <a:gd name="connsiteY43" fmla="*/ 94372 h 145277"/>
                <a:gd name="connsiteX44" fmla="*/ 209249 w 264249"/>
                <a:gd name="connsiteY44" fmla="*/ 116490 h 145277"/>
                <a:gd name="connsiteX45" fmla="*/ 201256 w 264249"/>
                <a:gd name="connsiteY45" fmla="*/ 124179 h 145277"/>
                <a:gd name="connsiteX46" fmla="*/ 199923 w 264249"/>
                <a:gd name="connsiteY46" fmla="*/ 124749 h 145277"/>
                <a:gd name="connsiteX47" fmla="*/ 199638 w 264249"/>
                <a:gd name="connsiteY47" fmla="*/ 126078 h 145277"/>
                <a:gd name="connsiteX48" fmla="*/ 199733 w 264249"/>
                <a:gd name="connsiteY48" fmla="*/ 143260 h 145277"/>
                <a:gd name="connsiteX49" fmla="*/ 201065 w 264249"/>
                <a:gd name="connsiteY49" fmla="*/ 144589 h 145277"/>
                <a:gd name="connsiteX50" fmla="*/ 262822 w 264249"/>
                <a:gd name="connsiteY50" fmla="*/ 144589 h 145277"/>
                <a:gd name="connsiteX51" fmla="*/ 264154 w 264249"/>
                <a:gd name="connsiteY51" fmla="*/ 143260 h 145277"/>
                <a:gd name="connsiteX52" fmla="*/ 264249 w 264249"/>
                <a:gd name="connsiteY52" fmla="*/ 126078 h 145277"/>
                <a:gd name="connsiteX53" fmla="*/ 263869 w 264249"/>
                <a:gd name="connsiteY53" fmla="*/ 124749 h 145277"/>
                <a:gd name="connsiteX54" fmla="*/ 190693 w 264249"/>
                <a:gd name="connsiteY54" fmla="*/ 70070 h 145277"/>
                <a:gd name="connsiteX55" fmla="*/ 188410 w 264249"/>
                <a:gd name="connsiteY55" fmla="*/ 70639 h 145277"/>
                <a:gd name="connsiteX56" fmla="*/ 167761 w 264249"/>
                <a:gd name="connsiteY56" fmla="*/ 70639 h 145277"/>
                <a:gd name="connsiteX57" fmla="*/ 165572 w 264249"/>
                <a:gd name="connsiteY57" fmla="*/ 70260 h 145277"/>
                <a:gd name="connsiteX58" fmla="*/ 166143 w 264249"/>
                <a:gd name="connsiteY58" fmla="*/ 67981 h 145277"/>
                <a:gd name="connsiteX59" fmla="*/ 178323 w 264249"/>
                <a:gd name="connsiteY59" fmla="*/ 36275 h 145277"/>
                <a:gd name="connsiteX60" fmla="*/ 190122 w 264249"/>
                <a:gd name="connsiteY60" fmla="*/ 67032 h 145277"/>
                <a:gd name="connsiteX61" fmla="*/ 190693 w 264249"/>
                <a:gd name="connsiteY61" fmla="*/ 70070 h 145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64249" h="145277">
                  <a:moveTo>
                    <a:pt x="263869" y="124749"/>
                  </a:moveTo>
                  <a:cubicBezTo>
                    <a:pt x="263488" y="124179"/>
                    <a:pt x="262536" y="124179"/>
                    <a:pt x="262536" y="124179"/>
                  </a:cubicBezTo>
                  <a:cubicBezTo>
                    <a:pt x="256541" y="123230"/>
                    <a:pt x="248834" y="119813"/>
                    <a:pt x="248834" y="116490"/>
                  </a:cubicBezTo>
                  <a:lnTo>
                    <a:pt x="205443" y="7227"/>
                  </a:lnTo>
                  <a:cubicBezTo>
                    <a:pt x="205443" y="7227"/>
                    <a:pt x="204776" y="5233"/>
                    <a:pt x="204015" y="4569"/>
                  </a:cubicBezTo>
                  <a:cubicBezTo>
                    <a:pt x="203349" y="3809"/>
                    <a:pt x="201922" y="3809"/>
                    <a:pt x="201922" y="3809"/>
                  </a:cubicBezTo>
                  <a:lnTo>
                    <a:pt x="162813" y="3809"/>
                  </a:lnTo>
                  <a:cubicBezTo>
                    <a:pt x="162813" y="3809"/>
                    <a:pt x="161195" y="3809"/>
                    <a:pt x="160529" y="4569"/>
                  </a:cubicBezTo>
                  <a:cubicBezTo>
                    <a:pt x="159767" y="5328"/>
                    <a:pt x="159101" y="7227"/>
                    <a:pt x="159101" y="7227"/>
                  </a:cubicBezTo>
                  <a:lnTo>
                    <a:pt x="121990" y="100637"/>
                  </a:lnTo>
                  <a:cubicBezTo>
                    <a:pt x="121990" y="100637"/>
                    <a:pt x="114759" y="118673"/>
                    <a:pt x="103530" y="121806"/>
                  </a:cubicBezTo>
                  <a:cubicBezTo>
                    <a:pt x="94966" y="124179"/>
                    <a:pt x="89352" y="124749"/>
                    <a:pt x="79075" y="125129"/>
                  </a:cubicBezTo>
                  <a:cubicBezTo>
                    <a:pt x="78885" y="125129"/>
                    <a:pt x="78789" y="125129"/>
                    <a:pt x="78599" y="125129"/>
                  </a:cubicBezTo>
                  <a:lnTo>
                    <a:pt x="78599" y="125129"/>
                  </a:lnTo>
                  <a:cubicBezTo>
                    <a:pt x="68322" y="124749"/>
                    <a:pt x="65753" y="124749"/>
                    <a:pt x="58426" y="121806"/>
                  </a:cubicBezTo>
                  <a:cubicBezTo>
                    <a:pt x="54334" y="120192"/>
                    <a:pt x="46151" y="111839"/>
                    <a:pt x="43772" y="105289"/>
                  </a:cubicBezTo>
                  <a:cubicBezTo>
                    <a:pt x="41964" y="100162"/>
                    <a:pt x="39680" y="93802"/>
                    <a:pt x="39680" y="72633"/>
                  </a:cubicBezTo>
                  <a:cubicBezTo>
                    <a:pt x="39680" y="51559"/>
                    <a:pt x="41203" y="41686"/>
                    <a:pt x="43772" y="37509"/>
                  </a:cubicBezTo>
                  <a:cubicBezTo>
                    <a:pt x="48435" y="30104"/>
                    <a:pt x="55857" y="22415"/>
                    <a:pt x="73175" y="22415"/>
                  </a:cubicBezTo>
                  <a:cubicBezTo>
                    <a:pt x="90494" y="22415"/>
                    <a:pt x="96774" y="28681"/>
                    <a:pt x="99819" y="32857"/>
                  </a:cubicBezTo>
                  <a:cubicBezTo>
                    <a:pt x="99819" y="32857"/>
                    <a:pt x="104482" y="36655"/>
                    <a:pt x="104767" y="42066"/>
                  </a:cubicBezTo>
                  <a:lnTo>
                    <a:pt x="104767" y="43585"/>
                  </a:lnTo>
                  <a:cubicBezTo>
                    <a:pt x="104767" y="46053"/>
                    <a:pt x="106765" y="47951"/>
                    <a:pt x="109144" y="47951"/>
                  </a:cubicBezTo>
                  <a:lnTo>
                    <a:pt x="120468" y="47951"/>
                  </a:lnTo>
                  <a:cubicBezTo>
                    <a:pt x="122942" y="47951"/>
                    <a:pt x="124845" y="45958"/>
                    <a:pt x="124845" y="43585"/>
                  </a:cubicBezTo>
                  <a:lnTo>
                    <a:pt x="125226" y="9600"/>
                  </a:lnTo>
                  <a:cubicBezTo>
                    <a:pt x="125226" y="9600"/>
                    <a:pt x="125892" y="7132"/>
                    <a:pt x="122847" y="4663"/>
                  </a:cubicBezTo>
                  <a:cubicBezTo>
                    <a:pt x="122847" y="4663"/>
                    <a:pt x="106385" y="-273"/>
                    <a:pt x="78885" y="12"/>
                  </a:cubicBezTo>
                  <a:cubicBezTo>
                    <a:pt x="56047" y="202"/>
                    <a:pt x="37396" y="4948"/>
                    <a:pt x="27786" y="11024"/>
                  </a:cubicBezTo>
                  <a:cubicBezTo>
                    <a:pt x="18175" y="17004"/>
                    <a:pt x="0" y="34566"/>
                    <a:pt x="0" y="70544"/>
                  </a:cubicBezTo>
                  <a:cubicBezTo>
                    <a:pt x="0" y="106428"/>
                    <a:pt x="7993" y="119623"/>
                    <a:pt x="17604" y="128641"/>
                  </a:cubicBezTo>
                  <a:cubicBezTo>
                    <a:pt x="25502" y="136046"/>
                    <a:pt x="34542" y="141267"/>
                    <a:pt x="55476" y="144209"/>
                  </a:cubicBezTo>
                  <a:cubicBezTo>
                    <a:pt x="56237" y="144779"/>
                    <a:pt x="68513" y="145064"/>
                    <a:pt x="73651" y="145064"/>
                  </a:cubicBezTo>
                  <a:cubicBezTo>
                    <a:pt x="75269" y="145159"/>
                    <a:pt x="76886" y="145254"/>
                    <a:pt x="78599" y="145254"/>
                  </a:cubicBezTo>
                  <a:cubicBezTo>
                    <a:pt x="83642" y="145349"/>
                    <a:pt x="88020" y="145159"/>
                    <a:pt x="91826" y="144684"/>
                  </a:cubicBezTo>
                  <a:cubicBezTo>
                    <a:pt x="108764" y="144020"/>
                    <a:pt x="118089" y="145538"/>
                    <a:pt x="122847" y="144589"/>
                  </a:cubicBezTo>
                  <a:lnTo>
                    <a:pt x="157864" y="144589"/>
                  </a:lnTo>
                  <a:cubicBezTo>
                    <a:pt x="158626" y="144589"/>
                    <a:pt x="159197" y="144020"/>
                    <a:pt x="159197" y="143260"/>
                  </a:cubicBezTo>
                  <a:lnTo>
                    <a:pt x="159292" y="126078"/>
                  </a:lnTo>
                  <a:cubicBezTo>
                    <a:pt x="159197" y="126078"/>
                    <a:pt x="159387" y="125319"/>
                    <a:pt x="159006" y="124749"/>
                  </a:cubicBezTo>
                  <a:cubicBezTo>
                    <a:pt x="158626" y="124179"/>
                    <a:pt x="157674" y="124179"/>
                    <a:pt x="157674" y="124179"/>
                  </a:cubicBezTo>
                  <a:cubicBezTo>
                    <a:pt x="151679" y="123230"/>
                    <a:pt x="145779" y="121331"/>
                    <a:pt x="146826" y="116490"/>
                  </a:cubicBezTo>
                  <a:lnTo>
                    <a:pt x="155581" y="94372"/>
                  </a:lnTo>
                  <a:lnTo>
                    <a:pt x="200685" y="94372"/>
                  </a:lnTo>
                  <a:lnTo>
                    <a:pt x="209249" y="116490"/>
                  </a:lnTo>
                  <a:cubicBezTo>
                    <a:pt x="211342" y="120287"/>
                    <a:pt x="207155" y="123230"/>
                    <a:pt x="201256" y="124179"/>
                  </a:cubicBezTo>
                  <a:cubicBezTo>
                    <a:pt x="201256" y="124179"/>
                    <a:pt x="200304" y="124179"/>
                    <a:pt x="199923" y="124749"/>
                  </a:cubicBezTo>
                  <a:cubicBezTo>
                    <a:pt x="199543" y="125319"/>
                    <a:pt x="199733" y="126078"/>
                    <a:pt x="199638" y="126078"/>
                  </a:cubicBezTo>
                  <a:lnTo>
                    <a:pt x="199733" y="143260"/>
                  </a:lnTo>
                  <a:cubicBezTo>
                    <a:pt x="199733" y="144020"/>
                    <a:pt x="200304" y="144589"/>
                    <a:pt x="201065" y="144589"/>
                  </a:cubicBezTo>
                  <a:lnTo>
                    <a:pt x="262822" y="144589"/>
                  </a:lnTo>
                  <a:cubicBezTo>
                    <a:pt x="263583" y="144589"/>
                    <a:pt x="264154" y="144020"/>
                    <a:pt x="264154" y="143260"/>
                  </a:cubicBezTo>
                  <a:lnTo>
                    <a:pt x="264249" y="126078"/>
                  </a:lnTo>
                  <a:cubicBezTo>
                    <a:pt x="264154" y="126173"/>
                    <a:pt x="264344" y="125414"/>
                    <a:pt x="263869" y="124749"/>
                  </a:cubicBezTo>
                  <a:close/>
                  <a:moveTo>
                    <a:pt x="190693" y="70070"/>
                  </a:moveTo>
                  <a:cubicBezTo>
                    <a:pt x="190313" y="70924"/>
                    <a:pt x="188410" y="70639"/>
                    <a:pt x="188410" y="70639"/>
                  </a:cubicBezTo>
                  <a:lnTo>
                    <a:pt x="167761" y="70639"/>
                  </a:lnTo>
                  <a:cubicBezTo>
                    <a:pt x="167761" y="70639"/>
                    <a:pt x="166333" y="70734"/>
                    <a:pt x="165572" y="70260"/>
                  </a:cubicBezTo>
                  <a:cubicBezTo>
                    <a:pt x="165001" y="69880"/>
                    <a:pt x="166143" y="67981"/>
                    <a:pt x="166143" y="67981"/>
                  </a:cubicBezTo>
                  <a:lnTo>
                    <a:pt x="178323" y="36275"/>
                  </a:lnTo>
                  <a:lnTo>
                    <a:pt x="190122" y="67032"/>
                  </a:lnTo>
                  <a:cubicBezTo>
                    <a:pt x="189932" y="67127"/>
                    <a:pt x="190979" y="69405"/>
                    <a:pt x="190693" y="70070"/>
                  </a:cubicBezTo>
                  <a:close/>
                </a:path>
              </a:pathLst>
            </a:custGeom>
            <a:grpFill/>
            <a:ln w="9497" cap="flat">
              <a:noFill/>
              <a:prstDash val="solid"/>
              <a:miter/>
            </a:ln>
          </p:spPr>
          <p:txBody>
            <a:bodyPr rtlCol="0" anchor="ctr"/>
            <a:lstStyle/>
            <a:p>
              <a:endParaRPr lang="en-US" b="0" i="0">
                <a:latin typeface="Arial" panose="020B0604020202020204" pitchFamily="34" charset="0"/>
              </a:endParaRPr>
            </a:p>
          </p:txBody>
        </p:sp>
      </p:grpSp>
      <p:sp>
        <p:nvSpPr>
          <p:cNvPr id="2" name="Title 1"/>
          <p:cNvSpPr>
            <a:spLocks noGrp="1"/>
          </p:cNvSpPr>
          <p:nvPr>
            <p:ph type="ctrTitle"/>
          </p:nvPr>
        </p:nvSpPr>
        <p:spPr>
          <a:xfrm>
            <a:off x="381000" y="5174231"/>
            <a:ext cx="8861576" cy="1030206"/>
          </a:xfrm>
        </p:spPr>
        <p:txBody>
          <a:bodyPr wrap="square" anchor="b">
            <a:normAutofit/>
          </a:bodyPr>
          <a:lstStyle>
            <a:lvl1pPr algn="l">
              <a:defRPr sz="5900" spc="-100" baseline="0">
                <a:solidFill>
                  <a:srgbClr val="FFFFFF"/>
                </a:solidFill>
              </a:defRPr>
            </a:lvl1pPr>
          </a:lstStyle>
          <a:p>
            <a:endParaRPr lang="en-US"/>
          </a:p>
        </p:txBody>
      </p:sp>
      <p:sp>
        <p:nvSpPr>
          <p:cNvPr id="3" name="Subtitle 2"/>
          <p:cNvSpPr>
            <a:spLocks noGrp="1"/>
          </p:cNvSpPr>
          <p:nvPr>
            <p:ph type="subTitle" idx="1"/>
          </p:nvPr>
        </p:nvSpPr>
        <p:spPr>
          <a:xfrm>
            <a:off x="381000" y="6204437"/>
            <a:ext cx="8861576" cy="342901"/>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83" name="Rectangle 82">
            <a:extLst>
              <a:ext uri="{FF2B5EF4-FFF2-40B4-BE49-F238E27FC236}">
                <a16:creationId xmlns:a16="http://schemas.microsoft.com/office/drawing/2014/main" id="{D1B3A44E-F675-C842-9B77-F9389CAA41B5}"/>
              </a:ext>
            </a:extLst>
          </p:cNvPr>
          <p:cNvSpPr/>
          <p:nvPr userDrawn="1"/>
        </p:nvSpPr>
        <p:spPr>
          <a:xfrm>
            <a:off x="0" y="6720840"/>
            <a:ext cx="12188952"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Picture Placeholder 10">
            <a:extLst>
              <a:ext uri="{FF2B5EF4-FFF2-40B4-BE49-F238E27FC236}">
                <a16:creationId xmlns:a16="http://schemas.microsoft.com/office/drawing/2014/main" id="{4DF1DC6A-9ADF-E344-B202-6311C86FEEDA}"/>
              </a:ext>
            </a:extLst>
          </p:cNvPr>
          <p:cNvSpPr>
            <a:spLocks noGrp="1"/>
          </p:cNvSpPr>
          <p:nvPr>
            <p:ph type="pic" sz="quarter" idx="10" hasCustomPrompt="1"/>
          </p:nvPr>
        </p:nvSpPr>
        <p:spPr>
          <a:xfrm>
            <a:off x="-3047" y="-1"/>
            <a:ext cx="12192000" cy="5174231"/>
          </a:xfrm>
          <a:blipFill>
            <a:blip r:embed="rId2"/>
            <a:srcRect/>
            <a:stretch>
              <a:fillRect t="-20809" b="-36215"/>
            </a:stretch>
          </a:blipFill>
        </p:spPr>
        <p:txBody>
          <a:bodyPr/>
          <a:lstStyle>
            <a:lvl1pPr algn="ctr">
              <a:buNone/>
              <a:defRPr>
                <a:solidFill>
                  <a:schemeClr val="bg1"/>
                </a:solidFill>
              </a:defRPr>
            </a:lvl1pPr>
          </a:lstStyle>
          <a:p>
            <a:r>
              <a:rPr lang="en-US"/>
              <a:t>Click to Change Picture</a:t>
            </a:r>
          </a:p>
        </p:txBody>
      </p:sp>
    </p:spTree>
    <p:extLst>
      <p:ext uri="{BB962C8B-B14F-4D97-AF65-F5344CB8AC3E}">
        <p14:creationId xmlns:p14="http://schemas.microsoft.com/office/powerpoint/2010/main" val="2060102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0">
          <p15:clr>
            <a:srgbClr val="FBAE40"/>
          </p15:clr>
        </p15:guide>
        <p15:guide id="2" orient="horz" pos="4080">
          <p15:clr>
            <a:srgbClr val="FBAE40"/>
          </p15:clr>
        </p15:guide>
        <p15:guide id="4" orient="horz" pos="31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26B23-2207-124A-B6C7-074D031E54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960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82880" indent="-182880">
              <a:buSzPct val="100000"/>
              <a:buFont typeface="Arial" panose="020B0604020202020204" pitchFamily="34" charset="0"/>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67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accent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8488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597380" y="685800"/>
            <a:ext cx="3776472" cy="525780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05928" y="685799"/>
            <a:ext cx="3776472" cy="5257801"/>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43CC810D-DAC1-D548-82A5-7A2D4A95443C}"/>
              </a:ext>
            </a:extLst>
          </p:cNvPr>
          <p:cNvSpPr/>
          <p:nvPr userDrawn="1"/>
        </p:nvSpPr>
        <p:spPr>
          <a:xfrm>
            <a:off x="3368780" y="457199"/>
            <a:ext cx="228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spTree>
    <p:extLst>
      <p:ext uri="{BB962C8B-B14F-4D97-AF65-F5344CB8AC3E}">
        <p14:creationId xmlns:p14="http://schemas.microsoft.com/office/powerpoint/2010/main" val="80536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597380" y="685800"/>
            <a:ext cx="3745252" cy="807720"/>
          </a:xfrm>
        </p:spPr>
        <p:txBody>
          <a:bodyPr anchor="b">
            <a:normAutofit/>
          </a:bodyPr>
          <a:lstStyle>
            <a:lvl1pPr marL="0" indent="0">
              <a:spcBef>
                <a:spcPts val="0"/>
              </a:spcBef>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597380" y="1593150"/>
            <a:ext cx="3776472" cy="435045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685800"/>
            <a:ext cx="3745252" cy="813171"/>
          </a:xfrm>
        </p:spPr>
        <p:txBody>
          <a:bodyPr anchor="b">
            <a:normAutofit/>
          </a:bodyPr>
          <a:lstStyle>
            <a:lvl1pPr marL="0" indent="0">
              <a:spcBef>
                <a:spcPts val="0"/>
              </a:spcBef>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805928" y="1593150"/>
            <a:ext cx="3776472" cy="435045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92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124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C6BCF-685E-2F46-9ED0-573A5FA3D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446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op Title 1 Colum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D68692-E746-4C4F-B18C-EFB6D95979F3}"/>
              </a:ext>
            </a:extLst>
          </p:cNvPr>
          <p:cNvSpPr/>
          <p:nvPr userDrawn="1"/>
        </p:nvSpPr>
        <p:spPr>
          <a:xfrm>
            <a:off x="0" y="2"/>
            <a:ext cx="12192000" cy="14652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51A8AD5A-086B-DD4E-9530-80D652D369EA}"/>
              </a:ext>
            </a:extLst>
          </p:cNvPr>
          <p:cNvSpPr>
            <a:spLocks noGrp="1"/>
          </p:cNvSpPr>
          <p:nvPr>
            <p:ph type="title"/>
          </p:nvPr>
        </p:nvSpPr>
        <p:spPr>
          <a:xfrm>
            <a:off x="381000" y="381000"/>
            <a:ext cx="11429999" cy="1084243"/>
          </a:xfrm>
        </p:spPr>
        <p:txBody>
          <a:bodyPr lIns="182880" tIns="0"/>
          <a:lstStyle>
            <a:lvl1pPr>
              <a:defRPr>
                <a:solidFill>
                  <a:schemeClr val="bg1"/>
                </a:solidFill>
              </a:defRPr>
            </a:lvl1pPr>
          </a:lstStyle>
          <a:p>
            <a:r>
              <a:rPr lang="en-US"/>
              <a:t>Click to edit Master title style</a:t>
            </a:r>
          </a:p>
        </p:txBody>
      </p:sp>
      <p:grpSp>
        <p:nvGrpSpPr>
          <p:cNvPr id="8" name="Group 7">
            <a:extLst>
              <a:ext uri="{FF2B5EF4-FFF2-40B4-BE49-F238E27FC236}">
                <a16:creationId xmlns:a16="http://schemas.microsoft.com/office/drawing/2014/main" id="{A930AA89-A488-D64E-926A-0FD295DC59F5}"/>
              </a:ext>
            </a:extLst>
          </p:cNvPr>
          <p:cNvGrpSpPr/>
          <p:nvPr userDrawn="1"/>
        </p:nvGrpSpPr>
        <p:grpSpPr>
          <a:xfrm>
            <a:off x="9667588" y="6167077"/>
            <a:ext cx="2143412" cy="350125"/>
            <a:chOff x="7941600" y="7740369"/>
            <a:chExt cx="6440917" cy="1052121"/>
          </a:xfrm>
        </p:grpSpPr>
        <p:grpSp>
          <p:nvGrpSpPr>
            <p:cNvPr id="9" name="Group 8">
              <a:extLst>
                <a:ext uri="{FF2B5EF4-FFF2-40B4-BE49-F238E27FC236}">
                  <a16:creationId xmlns:a16="http://schemas.microsoft.com/office/drawing/2014/main" id="{F764F684-3040-E545-804B-57737B8953C2}"/>
                </a:ext>
              </a:extLst>
            </p:cNvPr>
            <p:cNvGrpSpPr/>
            <p:nvPr userDrawn="1"/>
          </p:nvGrpSpPr>
          <p:grpSpPr>
            <a:xfrm>
              <a:off x="7941600" y="7740369"/>
              <a:ext cx="6440917" cy="452295"/>
              <a:chOff x="7941600" y="7740364"/>
              <a:chExt cx="6440917" cy="452295"/>
            </a:xfrm>
            <a:solidFill>
              <a:schemeClr val="bg2"/>
            </a:solidFill>
          </p:grpSpPr>
          <p:sp>
            <p:nvSpPr>
              <p:cNvPr id="29" name="Freeform 28">
                <a:extLst>
                  <a:ext uri="{FF2B5EF4-FFF2-40B4-BE49-F238E27FC236}">
                    <a16:creationId xmlns:a16="http://schemas.microsoft.com/office/drawing/2014/main" id="{EA99966D-9AA7-E74F-8CB3-5EF11C221A08}"/>
                  </a:ext>
                </a:extLst>
              </p:cNvPr>
              <p:cNvSpPr/>
              <p:nvPr/>
            </p:nvSpPr>
            <p:spPr>
              <a:xfrm>
                <a:off x="7941600" y="7740364"/>
                <a:ext cx="601211" cy="443649"/>
              </a:xfrm>
              <a:custGeom>
                <a:avLst/>
                <a:gdLst>
                  <a:gd name="connsiteX0" fmla="*/ 120623 w 601211"/>
                  <a:gd name="connsiteY0" fmla="*/ 443650 h 443649"/>
                  <a:gd name="connsiteX1" fmla="*/ 0 w 601211"/>
                  <a:gd name="connsiteY1" fmla="*/ 0 h 443649"/>
                  <a:gd name="connsiteX2" fmla="*/ 135951 w 601211"/>
                  <a:gd name="connsiteY2" fmla="*/ 0 h 443649"/>
                  <a:gd name="connsiteX3" fmla="*/ 178602 w 601211"/>
                  <a:gd name="connsiteY3" fmla="*/ 207480 h 443649"/>
                  <a:gd name="connsiteX4" fmla="*/ 188599 w 601211"/>
                  <a:gd name="connsiteY4" fmla="*/ 271985 h 443649"/>
                  <a:gd name="connsiteX5" fmla="*/ 198595 w 601211"/>
                  <a:gd name="connsiteY5" fmla="*/ 207480 h 443649"/>
                  <a:gd name="connsiteX6" fmla="*/ 241246 w 601211"/>
                  <a:gd name="connsiteY6" fmla="*/ 0 h 443649"/>
                  <a:gd name="connsiteX7" fmla="*/ 361203 w 601211"/>
                  <a:gd name="connsiteY7" fmla="*/ 0 h 443649"/>
                  <a:gd name="connsiteX8" fmla="*/ 404521 w 601211"/>
                  <a:gd name="connsiteY8" fmla="*/ 205485 h 443649"/>
                  <a:gd name="connsiteX9" fmla="*/ 407853 w 601211"/>
                  <a:gd name="connsiteY9" fmla="*/ 224105 h 443649"/>
                  <a:gd name="connsiteX10" fmla="*/ 410519 w 601211"/>
                  <a:gd name="connsiteY10" fmla="*/ 240065 h 443649"/>
                  <a:gd name="connsiteX11" fmla="*/ 414517 w 601211"/>
                  <a:gd name="connsiteY11" fmla="*/ 271985 h 443649"/>
                  <a:gd name="connsiteX12" fmla="*/ 419182 w 601211"/>
                  <a:gd name="connsiteY12" fmla="*/ 240065 h 443649"/>
                  <a:gd name="connsiteX13" fmla="*/ 421848 w 601211"/>
                  <a:gd name="connsiteY13" fmla="*/ 224105 h 443649"/>
                  <a:gd name="connsiteX14" fmla="*/ 425180 w 601211"/>
                  <a:gd name="connsiteY14" fmla="*/ 205485 h 443649"/>
                  <a:gd name="connsiteX15" fmla="*/ 466499 w 601211"/>
                  <a:gd name="connsiteY15" fmla="*/ 0 h 443649"/>
                  <a:gd name="connsiteX16" fmla="*/ 601212 w 601211"/>
                  <a:gd name="connsiteY16" fmla="*/ 0 h 443649"/>
                  <a:gd name="connsiteX17" fmla="*/ 486587 w 601211"/>
                  <a:gd name="connsiteY17" fmla="*/ 443650 h 443649"/>
                  <a:gd name="connsiteX18" fmla="*/ 351873 w 601211"/>
                  <a:gd name="connsiteY18" fmla="*/ 443650 h 443649"/>
                  <a:gd name="connsiteX19" fmla="*/ 314553 w 601211"/>
                  <a:gd name="connsiteY19" fmla="*/ 252130 h 443649"/>
                  <a:gd name="connsiteX20" fmla="*/ 302558 w 601211"/>
                  <a:gd name="connsiteY20" fmla="*/ 167010 h 443649"/>
                  <a:gd name="connsiteX21" fmla="*/ 289229 w 601211"/>
                  <a:gd name="connsiteY21" fmla="*/ 252130 h 443649"/>
                  <a:gd name="connsiteX22" fmla="*/ 251909 w 601211"/>
                  <a:gd name="connsiteY22" fmla="*/ 443650 h 443649"/>
                  <a:gd name="connsiteX23" fmla="*/ 120623 w 601211"/>
                  <a:gd name="connsiteY23"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1211" h="443649">
                    <a:moveTo>
                      <a:pt x="120623" y="443650"/>
                    </a:moveTo>
                    <a:lnTo>
                      <a:pt x="0" y="0"/>
                    </a:lnTo>
                    <a:lnTo>
                      <a:pt x="135951" y="0"/>
                    </a:lnTo>
                    <a:lnTo>
                      <a:pt x="178602" y="207480"/>
                    </a:lnTo>
                    <a:cubicBezTo>
                      <a:pt x="181934" y="221445"/>
                      <a:pt x="186599" y="252700"/>
                      <a:pt x="188599" y="271985"/>
                    </a:cubicBezTo>
                    <a:cubicBezTo>
                      <a:pt x="189932" y="254030"/>
                      <a:pt x="194597" y="226100"/>
                      <a:pt x="198595" y="207480"/>
                    </a:cubicBezTo>
                    <a:lnTo>
                      <a:pt x="241246" y="0"/>
                    </a:lnTo>
                    <a:lnTo>
                      <a:pt x="361203" y="0"/>
                    </a:lnTo>
                    <a:lnTo>
                      <a:pt x="404521" y="205485"/>
                    </a:lnTo>
                    <a:cubicBezTo>
                      <a:pt x="404521" y="205485"/>
                      <a:pt x="405854" y="215460"/>
                      <a:pt x="407853" y="224105"/>
                    </a:cubicBezTo>
                    <a:cubicBezTo>
                      <a:pt x="408519" y="228760"/>
                      <a:pt x="409186" y="234080"/>
                      <a:pt x="410519" y="240065"/>
                    </a:cubicBezTo>
                    <a:cubicBezTo>
                      <a:pt x="413184" y="256025"/>
                      <a:pt x="413184" y="257355"/>
                      <a:pt x="414517" y="271985"/>
                    </a:cubicBezTo>
                    <a:cubicBezTo>
                      <a:pt x="416517" y="257355"/>
                      <a:pt x="416517" y="257355"/>
                      <a:pt x="419182" y="240065"/>
                    </a:cubicBezTo>
                    <a:cubicBezTo>
                      <a:pt x="420515" y="235410"/>
                      <a:pt x="421182" y="230090"/>
                      <a:pt x="421848" y="224105"/>
                    </a:cubicBezTo>
                    <a:cubicBezTo>
                      <a:pt x="423847" y="215460"/>
                      <a:pt x="425180" y="206150"/>
                      <a:pt x="425180" y="205485"/>
                    </a:cubicBezTo>
                    <a:lnTo>
                      <a:pt x="466499" y="0"/>
                    </a:lnTo>
                    <a:lnTo>
                      <a:pt x="601212" y="0"/>
                    </a:lnTo>
                    <a:lnTo>
                      <a:pt x="486587" y="443650"/>
                    </a:lnTo>
                    <a:lnTo>
                      <a:pt x="351873" y="443650"/>
                    </a:lnTo>
                    <a:lnTo>
                      <a:pt x="314553" y="252130"/>
                    </a:lnTo>
                    <a:cubicBezTo>
                      <a:pt x="309888" y="228855"/>
                      <a:pt x="305223" y="195605"/>
                      <a:pt x="302558" y="167010"/>
                    </a:cubicBezTo>
                    <a:cubicBezTo>
                      <a:pt x="299226" y="200260"/>
                      <a:pt x="295893" y="220875"/>
                      <a:pt x="289229" y="252130"/>
                    </a:cubicBezTo>
                    <a:lnTo>
                      <a:pt x="251909" y="443650"/>
                    </a:lnTo>
                    <a:lnTo>
                      <a:pt x="120623"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0" name="Freeform 29">
                <a:extLst>
                  <a:ext uri="{FF2B5EF4-FFF2-40B4-BE49-F238E27FC236}">
                    <a16:creationId xmlns:a16="http://schemas.microsoft.com/office/drawing/2014/main" id="{815243F1-5008-F147-9385-78C156C0E32A}"/>
                  </a:ext>
                </a:extLst>
              </p:cNvPr>
              <p:cNvSpPr/>
              <p:nvPr/>
            </p:nvSpPr>
            <p:spPr>
              <a:xfrm>
                <a:off x="8568041" y="7740364"/>
                <a:ext cx="332546" cy="443649"/>
              </a:xfrm>
              <a:custGeom>
                <a:avLst/>
                <a:gdLst>
                  <a:gd name="connsiteX0" fmla="*/ 0 w 332546"/>
                  <a:gd name="connsiteY0" fmla="*/ 0 h 443649"/>
                  <a:gd name="connsiteX1" fmla="*/ 124622 w 332546"/>
                  <a:gd name="connsiteY1" fmla="*/ 0 h 443649"/>
                  <a:gd name="connsiteX2" fmla="*/ 124622 w 332546"/>
                  <a:gd name="connsiteY2" fmla="*/ 148960 h 443649"/>
                  <a:gd name="connsiteX3" fmla="*/ 215922 w 332546"/>
                  <a:gd name="connsiteY3" fmla="*/ 113715 h 443649"/>
                  <a:gd name="connsiteX4" fmla="*/ 300558 w 332546"/>
                  <a:gd name="connsiteY4" fmla="*/ 144305 h 443649"/>
                  <a:gd name="connsiteX5" fmla="*/ 332547 w 332546"/>
                  <a:gd name="connsiteY5" fmla="*/ 232085 h 443649"/>
                  <a:gd name="connsiteX6" fmla="*/ 332547 w 332546"/>
                  <a:gd name="connsiteY6" fmla="*/ 443555 h 443649"/>
                  <a:gd name="connsiteX7" fmla="*/ 207925 w 332546"/>
                  <a:gd name="connsiteY7" fmla="*/ 443555 h 443649"/>
                  <a:gd name="connsiteX8" fmla="*/ 207925 w 332546"/>
                  <a:gd name="connsiteY8" fmla="*/ 266095 h 443649"/>
                  <a:gd name="connsiteX9" fmla="*/ 167939 w 332546"/>
                  <a:gd name="connsiteY9" fmla="*/ 213560 h 443649"/>
                  <a:gd name="connsiteX10" fmla="*/ 124622 w 332546"/>
                  <a:gd name="connsiteY10" fmla="*/ 266095 h 443649"/>
                  <a:gd name="connsiteX11" fmla="*/ 124622 w 332546"/>
                  <a:gd name="connsiteY11" fmla="*/ 443650 h 443649"/>
                  <a:gd name="connsiteX12" fmla="*/ 0 w 332546"/>
                  <a:gd name="connsiteY12" fmla="*/ 443650 h 443649"/>
                  <a:gd name="connsiteX13" fmla="*/ 0 w 332546"/>
                  <a:gd name="connsiteY13"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46" h="443649">
                    <a:moveTo>
                      <a:pt x="0" y="0"/>
                    </a:moveTo>
                    <a:lnTo>
                      <a:pt x="124622" y="0"/>
                    </a:lnTo>
                    <a:lnTo>
                      <a:pt x="124622" y="148960"/>
                    </a:lnTo>
                    <a:cubicBezTo>
                      <a:pt x="157943" y="123025"/>
                      <a:pt x="181268" y="113715"/>
                      <a:pt x="215922" y="113715"/>
                    </a:cubicBezTo>
                    <a:cubicBezTo>
                      <a:pt x="250576" y="113715"/>
                      <a:pt x="279233" y="124355"/>
                      <a:pt x="300558" y="144305"/>
                    </a:cubicBezTo>
                    <a:cubicBezTo>
                      <a:pt x="323217" y="166250"/>
                      <a:pt x="332547" y="191520"/>
                      <a:pt x="332547" y="232085"/>
                    </a:cubicBezTo>
                    <a:lnTo>
                      <a:pt x="332547" y="443555"/>
                    </a:lnTo>
                    <a:lnTo>
                      <a:pt x="207925" y="443555"/>
                    </a:lnTo>
                    <a:lnTo>
                      <a:pt x="207925" y="266095"/>
                    </a:lnTo>
                    <a:cubicBezTo>
                      <a:pt x="207925" y="230850"/>
                      <a:pt x="194597" y="213560"/>
                      <a:pt x="167939" y="213560"/>
                    </a:cubicBezTo>
                    <a:cubicBezTo>
                      <a:pt x="139950" y="213560"/>
                      <a:pt x="124622" y="232180"/>
                      <a:pt x="124622" y="266095"/>
                    </a:cubicBezTo>
                    <a:lnTo>
                      <a:pt x="124622" y="443650"/>
                    </a:lnTo>
                    <a:lnTo>
                      <a:pt x="0" y="443650"/>
                    </a:lnTo>
                    <a:lnTo>
                      <a:pt x="0"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1" name="Freeform 30">
                <a:extLst>
                  <a:ext uri="{FF2B5EF4-FFF2-40B4-BE49-F238E27FC236}">
                    <a16:creationId xmlns:a16="http://schemas.microsoft.com/office/drawing/2014/main" id="{DA720B1B-5560-5642-8791-9E0204CA4E8B}"/>
                  </a:ext>
                </a:extLst>
              </p:cNvPr>
              <p:cNvSpPr/>
              <p:nvPr/>
            </p:nvSpPr>
            <p:spPr>
              <a:xfrm>
                <a:off x="8946571"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4"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2" name="Freeform 31">
                <a:extLst>
                  <a:ext uri="{FF2B5EF4-FFF2-40B4-BE49-F238E27FC236}">
                    <a16:creationId xmlns:a16="http://schemas.microsoft.com/office/drawing/2014/main" id="{2D5A28D2-8548-8748-B459-C1ED86B7D786}"/>
                  </a:ext>
                </a:extLst>
              </p:cNvPr>
              <p:cNvSpPr/>
              <p:nvPr/>
            </p:nvSpPr>
            <p:spPr>
              <a:xfrm>
                <a:off x="9316438"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3" name="Freeform 32">
                <a:extLst>
                  <a:ext uri="{FF2B5EF4-FFF2-40B4-BE49-F238E27FC236}">
                    <a16:creationId xmlns:a16="http://schemas.microsoft.com/office/drawing/2014/main" id="{5F2CFF2C-7240-4B46-B8F9-1CD5BB67C434}"/>
                  </a:ext>
                </a:extLst>
              </p:cNvPr>
              <p:cNvSpPr/>
              <p:nvPr/>
            </p:nvSpPr>
            <p:spPr>
              <a:xfrm>
                <a:off x="9571013"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2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2"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4" name="Freeform 33">
                <a:extLst>
                  <a:ext uri="{FF2B5EF4-FFF2-40B4-BE49-F238E27FC236}">
                    <a16:creationId xmlns:a16="http://schemas.microsoft.com/office/drawing/2014/main" id="{6A1D2405-870B-D241-8FDD-59772B100DF4}"/>
                  </a:ext>
                </a:extLst>
              </p:cNvPr>
              <p:cNvSpPr/>
              <p:nvPr/>
            </p:nvSpPr>
            <p:spPr>
              <a:xfrm>
                <a:off x="9934882" y="7862820"/>
                <a:ext cx="355205" cy="321194"/>
              </a:xfrm>
              <a:custGeom>
                <a:avLst/>
                <a:gdLst>
                  <a:gd name="connsiteX0" fmla="*/ 109294 w 355205"/>
                  <a:gd name="connsiteY0" fmla="*/ 321195 h 321194"/>
                  <a:gd name="connsiteX1" fmla="*/ 0 w 355205"/>
                  <a:gd name="connsiteY1" fmla="*/ 0 h 321194"/>
                  <a:gd name="connsiteX2" fmla="*/ 123289 w 355205"/>
                  <a:gd name="connsiteY2" fmla="*/ 0 h 321194"/>
                  <a:gd name="connsiteX3" fmla="*/ 163275 w 355205"/>
                  <a:gd name="connsiteY3" fmla="*/ 131670 h 321194"/>
                  <a:gd name="connsiteX4" fmla="*/ 177269 w 355205"/>
                  <a:gd name="connsiteY4" fmla="*/ 185535 h 321194"/>
                  <a:gd name="connsiteX5" fmla="*/ 190598 w 355205"/>
                  <a:gd name="connsiteY5" fmla="*/ 131670 h 321194"/>
                  <a:gd name="connsiteX6" fmla="*/ 229251 w 355205"/>
                  <a:gd name="connsiteY6" fmla="*/ 0 h 321194"/>
                  <a:gd name="connsiteX7" fmla="*/ 355205 w 355205"/>
                  <a:gd name="connsiteY7" fmla="*/ 0 h 321194"/>
                  <a:gd name="connsiteX8" fmla="*/ 246578 w 355205"/>
                  <a:gd name="connsiteY8" fmla="*/ 321195 h 321194"/>
                  <a:gd name="connsiteX9" fmla="*/ 109294 w 355205"/>
                  <a:gd name="connsiteY9" fmla="*/ 321195 h 3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05" h="321194">
                    <a:moveTo>
                      <a:pt x="109294" y="321195"/>
                    </a:moveTo>
                    <a:lnTo>
                      <a:pt x="0" y="0"/>
                    </a:lnTo>
                    <a:lnTo>
                      <a:pt x="123289" y="0"/>
                    </a:lnTo>
                    <a:lnTo>
                      <a:pt x="163275" y="131670"/>
                    </a:lnTo>
                    <a:cubicBezTo>
                      <a:pt x="169272" y="150290"/>
                      <a:pt x="173937" y="168910"/>
                      <a:pt x="177269" y="185535"/>
                    </a:cubicBezTo>
                    <a:cubicBezTo>
                      <a:pt x="180602" y="169575"/>
                      <a:pt x="184600" y="152285"/>
                      <a:pt x="190598" y="131670"/>
                    </a:cubicBezTo>
                    <a:lnTo>
                      <a:pt x="229251" y="0"/>
                    </a:lnTo>
                    <a:lnTo>
                      <a:pt x="355205" y="0"/>
                    </a:lnTo>
                    <a:lnTo>
                      <a:pt x="246578" y="321195"/>
                    </a:lnTo>
                    <a:lnTo>
                      <a:pt x="109294" y="32119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5" name="Freeform 34">
                <a:extLst>
                  <a:ext uri="{FF2B5EF4-FFF2-40B4-BE49-F238E27FC236}">
                    <a16:creationId xmlns:a16="http://schemas.microsoft.com/office/drawing/2014/main" id="{CAEA04BE-63AD-4140-8067-926A8A78185C}"/>
                  </a:ext>
                </a:extLst>
              </p:cNvPr>
              <p:cNvSpPr/>
              <p:nvPr/>
            </p:nvSpPr>
            <p:spPr>
              <a:xfrm>
                <a:off x="10293419"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1"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6" name="Freeform 35">
                <a:extLst>
                  <a:ext uri="{FF2B5EF4-FFF2-40B4-BE49-F238E27FC236}">
                    <a16:creationId xmlns:a16="http://schemas.microsoft.com/office/drawing/2014/main" id="{F0A0149D-2948-0B43-B465-6609624F0908}"/>
                  </a:ext>
                </a:extLst>
              </p:cNvPr>
              <p:cNvSpPr/>
              <p:nvPr/>
            </p:nvSpPr>
            <p:spPr>
              <a:xfrm>
                <a:off x="10697274" y="7854175"/>
                <a:ext cx="251909" cy="329839"/>
              </a:xfrm>
              <a:custGeom>
                <a:avLst/>
                <a:gdLst>
                  <a:gd name="connsiteX0" fmla="*/ 117958 w 251909"/>
                  <a:gd name="connsiteY0" fmla="*/ 8645 h 329839"/>
                  <a:gd name="connsiteX1" fmla="*/ 117958 w 251909"/>
                  <a:gd name="connsiteY1" fmla="*/ 53200 h 329839"/>
                  <a:gd name="connsiteX2" fmla="*/ 213256 w 251909"/>
                  <a:gd name="connsiteY2" fmla="*/ 0 h 329839"/>
                  <a:gd name="connsiteX3" fmla="*/ 251909 w 251909"/>
                  <a:gd name="connsiteY3" fmla="*/ 6650 h 329839"/>
                  <a:gd name="connsiteX4" fmla="*/ 251909 w 251909"/>
                  <a:gd name="connsiteY4" fmla="*/ 117705 h 329839"/>
                  <a:gd name="connsiteX5" fmla="*/ 201927 w 251909"/>
                  <a:gd name="connsiteY5" fmla="*/ 106400 h 329839"/>
                  <a:gd name="connsiteX6" fmla="*/ 124622 w 251909"/>
                  <a:gd name="connsiteY6" fmla="*/ 183540 h 329839"/>
                  <a:gd name="connsiteX7" fmla="*/ 124622 w 251909"/>
                  <a:gd name="connsiteY7" fmla="*/ 329840 h 329839"/>
                  <a:gd name="connsiteX8" fmla="*/ 0 w 251909"/>
                  <a:gd name="connsiteY8" fmla="*/ 329840 h 329839"/>
                  <a:gd name="connsiteX9" fmla="*/ 0 w 251909"/>
                  <a:gd name="connsiteY9" fmla="*/ 8645 h 329839"/>
                  <a:gd name="connsiteX10" fmla="*/ 117958 w 251909"/>
                  <a:gd name="connsiteY10" fmla="*/ 8645 h 32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39">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7" name="Freeform 36">
                <a:extLst>
                  <a:ext uri="{FF2B5EF4-FFF2-40B4-BE49-F238E27FC236}">
                    <a16:creationId xmlns:a16="http://schemas.microsoft.com/office/drawing/2014/main" id="{5486CD3C-4BCF-E341-82D4-788F5D79DAD7}"/>
                  </a:ext>
                </a:extLst>
              </p:cNvPr>
              <p:cNvSpPr/>
              <p:nvPr/>
            </p:nvSpPr>
            <p:spPr>
              <a:xfrm>
                <a:off x="11179005" y="7740365"/>
                <a:ext cx="137950" cy="443555"/>
              </a:xfrm>
              <a:custGeom>
                <a:avLst/>
                <a:gdLst>
                  <a:gd name="connsiteX0" fmla="*/ 0 w 137950"/>
                  <a:gd name="connsiteY0" fmla="*/ 0 h 443555"/>
                  <a:gd name="connsiteX1" fmla="*/ 137950 w 137950"/>
                  <a:gd name="connsiteY1" fmla="*/ 0 h 443555"/>
                  <a:gd name="connsiteX2" fmla="*/ 137950 w 137950"/>
                  <a:gd name="connsiteY2" fmla="*/ 443555 h 443555"/>
                  <a:gd name="connsiteX3" fmla="*/ 0 w 137950"/>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37950" h="443555">
                    <a:moveTo>
                      <a:pt x="0" y="0"/>
                    </a:moveTo>
                    <a:lnTo>
                      <a:pt x="137950" y="0"/>
                    </a:lnTo>
                    <a:lnTo>
                      <a:pt x="137950"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8" name="Freeform 37">
                <a:extLst>
                  <a:ext uri="{FF2B5EF4-FFF2-40B4-BE49-F238E27FC236}">
                    <a16:creationId xmlns:a16="http://schemas.microsoft.com/office/drawing/2014/main" id="{2A4110E4-3BC5-E047-80E5-F977D7CC6213}"/>
                  </a:ext>
                </a:extLst>
              </p:cNvPr>
              <p:cNvSpPr/>
              <p:nvPr/>
            </p:nvSpPr>
            <p:spPr>
              <a:xfrm>
                <a:off x="11350372"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39" name="Freeform 38">
                <a:extLst>
                  <a:ext uri="{FF2B5EF4-FFF2-40B4-BE49-F238E27FC236}">
                    <a16:creationId xmlns:a16="http://schemas.microsoft.com/office/drawing/2014/main" id="{7D192FB6-B847-2F47-BEDC-1B2169971A96}"/>
                  </a:ext>
                </a:extLst>
              </p:cNvPr>
              <p:cNvSpPr/>
              <p:nvPr/>
            </p:nvSpPr>
            <p:spPr>
              <a:xfrm>
                <a:off x="11767459" y="7740364"/>
                <a:ext cx="392620" cy="443649"/>
              </a:xfrm>
              <a:custGeom>
                <a:avLst/>
                <a:gdLst>
                  <a:gd name="connsiteX0" fmla="*/ 265238 w 392620"/>
                  <a:gd name="connsiteY0" fmla="*/ 443650 h 443649"/>
                  <a:gd name="connsiteX1" fmla="*/ 127287 w 392620"/>
                  <a:gd name="connsiteY1" fmla="*/ 443650 h 443649"/>
                  <a:gd name="connsiteX2" fmla="*/ 127287 w 392620"/>
                  <a:gd name="connsiteY2" fmla="*/ 117705 h 443649"/>
                  <a:gd name="connsiteX3" fmla="*/ 0 w 392620"/>
                  <a:gd name="connsiteY3" fmla="*/ 117705 h 443649"/>
                  <a:gd name="connsiteX4" fmla="*/ 0 w 392620"/>
                  <a:gd name="connsiteY4" fmla="*/ 0 h 443649"/>
                  <a:gd name="connsiteX5" fmla="*/ 392620 w 392620"/>
                  <a:gd name="connsiteY5" fmla="*/ 0 h 443649"/>
                  <a:gd name="connsiteX6" fmla="*/ 392620 w 392620"/>
                  <a:gd name="connsiteY6" fmla="*/ 117705 h 443649"/>
                  <a:gd name="connsiteX7" fmla="*/ 265238 w 392620"/>
                  <a:gd name="connsiteY7" fmla="*/ 11770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620" h="443649">
                    <a:moveTo>
                      <a:pt x="265238" y="443650"/>
                    </a:moveTo>
                    <a:lnTo>
                      <a:pt x="127287" y="443650"/>
                    </a:lnTo>
                    <a:lnTo>
                      <a:pt x="127287" y="117705"/>
                    </a:lnTo>
                    <a:lnTo>
                      <a:pt x="0" y="117705"/>
                    </a:lnTo>
                    <a:lnTo>
                      <a:pt x="0" y="0"/>
                    </a:lnTo>
                    <a:lnTo>
                      <a:pt x="392620" y="0"/>
                    </a:lnTo>
                    <a:lnTo>
                      <a:pt x="392620" y="117705"/>
                    </a:lnTo>
                    <a:lnTo>
                      <a:pt x="265238" y="11770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0" name="Freeform 39">
                <a:extLst>
                  <a:ext uri="{FF2B5EF4-FFF2-40B4-BE49-F238E27FC236}">
                    <a16:creationId xmlns:a16="http://schemas.microsoft.com/office/drawing/2014/main" id="{F446C2FE-71C0-CC47-A5D4-D3AA0B034C5E}"/>
                  </a:ext>
                </a:extLst>
              </p:cNvPr>
              <p:cNvSpPr/>
              <p:nvPr/>
            </p:nvSpPr>
            <p:spPr>
              <a:xfrm>
                <a:off x="12133327"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1" name="Freeform 40">
                <a:extLst>
                  <a:ext uri="{FF2B5EF4-FFF2-40B4-BE49-F238E27FC236}">
                    <a16:creationId xmlns:a16="http://schemas.microsoft.com/office/drawing/2014/main" id="{EF44E1A2-DB96-8943-888F-01249434F641}"/>
                  </a:ext>
                </a:extLst>
              </p:cNvPr>
              <p:cNvSpPr/>
              <p:nvPr/>
            </p:nvSpPr>
            <p:spPr>
              <a:xfrm>
                <a:off x="12519855" y="7740364"/>
                <a:ext cx="361298" cy="443649"/>
              </a:xfrm>
              <a:custGeom>
                <a:avLst/>
                <a:gdLst>
                  <a:gd name="connsiteX0" fmla="*/ 361298 w 361298"/>
                  <a:gd name="connsiteY0" fmla="*/ 443650 h 443649"/>
                  <a:gd name="connsiteX1" fmla="*/ 213923 w 361298"/>
                  <a:gd name="connsiteY1" fmla="*/ 443650 h 443649"/>
                  <a:gd name="connsiteX2" fmla="*/ 147947 w 361298"/>
                  <a:gd name="connsiteY2" fmla="*/ 330600 h 443649"/>
                  <a:gd name="connsiteX3" fmla="*/ 124622 w 361298"/>
                  <a:gd name="connsiteY3" fmla="*/ 354540 h 443649"/>
                  <a:gd name="connsiteX4" fmla="*/ 124622 w 361298"/>
                  <a:gd name="connsiteY4" fmla="*/ 443650 h 443649"/>
                  <a:gd name="connsiteX5" fmla="*/ 0 w 361298"/>
                  <a:gd name="connsiteY5" fmla="*/ 443650 h 443649"/>
                  <a:gd name="connsiteX6" fmla="*/ 0 w 361298"/>
                  <a:gd name="connsiteY6" fmla="*/ 0 h 443649"/>
                  <a:gd name="connsiteX7" fmla="*/ 124622 w 361298"/>
                  <a:gd name="connsiteY7" fmla="*/ 0 h 443649"/>
                  <a:gd name="connsiteX8" fmla="*/ 124622 w 361298"/>
                  <a:gd name="connsiteY8" fmla="*/ 216220 h 443649"/>
                  <a:gd name="connsiteX9" fmla="*/ 205259 w 361298"/>
                  <a:gd name="connsiteY9" fmla="*/ 122360 h 443649"/>
                  <a:gd name="connsiteX10" fmla="*/ 349969 w 361298"/>
                  <a:gd name="connsiteY10" fmla="*/ 122360 h 443649"/>
                  <a:gd name="connsiteX11" fmla="*/ 228584 w 361298"/>
                  <a:gd name="connsiteY11" fmla="*/ 24671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298" h="443649">
                    <a:moveTo>
                      <a:pt x="361298" y="443650"/>
                    </a:moveTo>
                    <a:lnTo>
                      <a:pt x="213923" y="443650"/>
                    </a:lnTo>
                    <a:lnTo>
                      <a:pt x="147947" y="330600"/>
                    </a:lnTo>
                    <a:lnTo>
                      <a:pt x="124622" y="354540"/>
                    </a:lnTo>
                    <a:lnTo>
                      <a:pt x="124622" y="443650"/>
                    </a:lnTo>
                    <a:lnTo>
                      <a:pt x="0" y="443650"/>
                    </a:lnTo>
                    <a:lnTo>
                      <a:pt x="0" y="0"/>
                    </a:lnTo>
                    <a:lnTo>
                      <a:pt x="124622" y="0"/>
                    </a:lnTo>
                    <a:lnTo>
                      <a:pt x="124622" y="216220"/>
                    </a:lnTo>
                    <a:lnTo>
                      <a:pt x="205259" y="122360"/>
                    </a:lnTo>
                    <a:lnTo>
                      <a:pt x="349969" y="122360"/>
                    </a:lnTo>
                    <a:lnTo>
                      <a:pt x="228584" y="24671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2" name="Freeform 41">
                <a:extLst>
                  <a:ext uri="{FF2B5EF4-FFF2-40B4-BE49-F238E27FC236}">
                    <a16:creationId xmlns:a16="http://schemas.microsoft.com/office/drawing/2014/main" id="{A261E10E-2B78-A44C-BB98-FDDE0CC27B11}"/>
                  </a:ext>
                </a:extLst>
              </p:cNvPr>
              <p:cNvSpPr/>
              <p:nvPr/>
            </p:nvSpPr>
            <p:spPr>
              <a:xfrm>
                <a:off x="12859732"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8 w 359870"/>
                  <a:gd name="connsiteY10" fmla="*/ 132335 h 338484"/>
                  <a:gd name="connsiteX11" fmla="*/ 179268 w 359870"/>
                  <a:gd name="connsiteY11" fmla="*/ 81795 h 338484"/>
                  <a:gd name="connsiteX12" fmla="*/ 123955 w 359870"/>
                  <a:gd name="connsiteY12" fmla="*/ 132335 h 338484"/>
                  <a:gd name="connsiteX13" fmla="*/ 235248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1"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3" name="Freeform 42">
                <a:extLst>
                  <a:ext uri="{FF2B5EF4-FFF2-40B4-BE49-F238E27FC236}">
                    <a16:creationId xmlns:a16="http://schemas.microsoft.com/office/drawing/2014/main" id="{ED5B9278-2C04-024D-B68F-B33B91C4C6D4}"/>
                  </a:ext>
                </a:extLst>
              </p:cNvPr>
              <p:cNvSpPr/>
              <p:nvPr/>
            </p:nvSpPr>
            <p:spPr>
              <a:xfrm>
                <a:off x="13245593" y="7854175"/>
                <a:ext cx="329214" cy="338484"/>
              </a:xfrm>
              <a:custGeom>
                <a:avLst/>
                <a:gdLst>
                  <a:gd name="connsiteX0" fmla="*/ 201927 w 329214"/>
                  <a:gd name="connsiteY0" fmla="*/ 103075 h 338484"/>
                  <a:gd name="connsiteX1" fmla="*/ 161275 w 329214"/>
                  <a:gd name="connsiteY1" fmla="*/ 73150 h 338484"/>
                  <a:gd name="connsiteX2" fmla="*/ 128620 w 329214"/>
                  <a:gd name="connsiteY2" fmla="*/ 91105 h 338484"/>
                  <a:gd name="connsiteX3" fmla="*/ 159942 w 329214"/>
                  <a:gd name="connsiteY3" fmla="*/ 113050 h 338484"/>
                  <a:gd name="connsiteX4" fmla="*/ 217255 w 329214"/>
                  <a:gd name="connsiteY4" fmla="*/ 124355 h 338484"/>
                  <a:gd name="connsiteX5" fmla="*/ 296560 w 329214"/>
                  <a:gd name="connsiteY5" fmla="*/ 154280 h 338484"/>
                  <a:gd name="connsiteX6" fmla="*/ 329215 w 329214"/>
                  <a:gd name="connsiteY6" fmla="*/ 225435 h 338484"/>
                  <a:gd name="connsiteX7" fmla="*/ 164608 w 329214"/>
                  <a:gd name="connsiteY7" fmla="*/ 338485 h 338484"/>
                  <a:gd name="connsiteX8" fmla="*/ 29989 w 329214"/>
                  <a:gd name="connsiteY8" fmla="*/ 292600 h 338484"/>
                  <a:gd name="connsiteX9" fmla="*/ 0 w 329214"/>
                  <a:gd name="connsiteY9" fmla="*/ 220115 h 338484"/>
                  <a:gd name="connsiteX10" fmla="*/ 119291 w 329214"/>
                  <a:gd name="connsiteY10" fmla="*/ 220115 h 338484"/>
                  <a:gd name="connsiteX11" fmla="*/ 167273 w 329214"/>
                  <a:gd name="connsiteY11" fmla="*/ 258685 h 338484"/>
                  <a:gd name="connsiteX12" fmla="*/ 204593 w 329214"/>
                  <a:gd name="connsiteY12" fmla="*/ 235410 h 338484"/>
                  <a:gd name="connsiteX13" fmla="*/ 175271 w 329214"/>
                  <a:gd name="connsiteY13" fmla="*/ 213465 h 338484"/>
                  <a:gd name="connsiteX14" fmla="*/ 102630 w 329214"/>
                  <a:gd name="connsiteY14" fmla="*/ 196840 h 338484"/>
                  <a:gd name="connsiteX15" fmla="*/ 6664 w 329214"/>
                  <a:gd name="connsiteY15" fmla="*/ 103075 h 338484"/>
                  <a:gd name="connsiteX16" fmla="*/ 165940 w 329214"/>
                  <a:gd name="connsiteY16" fmla="*/ 0 h 338484"/>
                  <a:gd name="connsiteX17" fmla="*/ 317886 w 329214"/>
                  <a:gd name="connsiteY17" fmla="*/ 103075 h 338484"/>
                  <a:gd name="connsiteX18" fmla="*/ 201927 w 329214"/>
                  <a:gd name="connsiteY18" fmla="*/ 10307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4">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4" name="Freeform 43">
                <a:extLst>
                  <a:ext uri="{FF2B5EF4-FFF2-40B4-BE49-F238E27FC236}">
                    <a16:creationId xmlns:a16="http://schemas.microsoft.com/office/drawing/2014/main" id="{FF8F4C1C-22FF-5E42-AFD4-311B15AC112A}"/>
                  </a:ext>
                </a:extLst>
              </p:cNvPr>
              <p:cNvSpPr/>
              <p:nvPr/>
            </p:nvSpPr>
            <p:spPr>
              <a:xfrm>
                <a:off x="13765406" y="7766965"/>
                <a:ext cx="229916" cy="421609"/>
              </a:xfrm>
              <a:custGeom>
                <a:avLst/>
                <a:gdLst>
                  <a:gd name="connsiteX0" fmla="*/ 229917 w 229916"/>
                  <a:gd name="connsiteY0" fmla="*/ 173565 h 421609"/>
                  <a:gd name="connsiteX1" fmla="*/ 171938 w 229916"/>
                  <a:gd name="connsiteY1" fmla="*/ 173565 h 421609"/>
                  <a:gd name="connsiteX2" fmla="*/ 171938 w 229916"/>
                  <a:gd name="connsiteY2" fmla="*/ 292600 h 421609"/>
                  <a:gd name="connsiteX3" fmla="*/ 205259 w 229916"/>
                  <a:gd name="connsiteY3" fmla="*/ 331170 h 421609"/>
                  <a:gd name="connsiteX4" fmla="*/ 229917 w 229916"/>
                  <a:gd name="connsiteY4" fmla="*/ 327180 h 421609"/>
                  <a:gd name="connsiteX5" fmla="*/ 229917 w 229916"/>
                  <a:gd name="connsiteY5" fmla="*/ 411635 h 421609"/>
                  <a:gd name="connsiteX6" fmla="*/ 161275 w 229916"/>
                  <a:gd name="connsiteY6" fmla="*/ 421610 h 421609"/>
                  <a:gd name="connsiteX7" fmla="*/ 74639 w 229916"/>
                  <a:gd name="connsiteY7" fmla="*/ 389025 h 421609"/>
                  <a:gd name="connsiteX8" fmla="*/ 47316 w 229916"/>
                  <a:gd name="connsiteY8" fmla="*/ 297255 h 421609"/>
                  <a:gd name="connsiteX9" fmla="*/ 47316 w 229916"/>
                  <a:gd name="connsiteY9" fmla="*/ 173565 h 421609"/>
                  <a:gd name="connsiteX10" fmla="*/ 0 w 229916"/>
                  <a:gd name="connsiteY10" fmla="*/ 173565 h 421609"/>
                  <a:gd name="connsiteX11" fmla="*/ 0 w 229916"/>
                  <a:gd name="connsiteY11" fmla="*/ 95760 h 421609"/>
                  <a:gd name="connsiteX12" fmla="*/ 47316 w 229916"/>
                  <a:gd name="connsiteY12" fmla="*/ 95760 h 421609"/>
                  <a:gd name="connsiteX13" fmla="*/ 47316 w 229916"/>
                  <a:gd name="connsiteY13" fmla="*/ 0 h 421609"/>
                  <a:gd name="connsiteX14" fmla="*/ 171938 w 229916"/>
                  <a:gd name="connsiteY14" fmla="*/ 0 h 421609"/>
                  <a:gd name="connsiteX15" fmla="*/ 171938 w 229916"/>
                  <a:gd name="connsiteY15" fmla="*/ 95760 h 421609"/>
                  <a:gd name="connsiteX16" fmla="*/ 229917 w 229916"/>
                  <a:gd name="connsiteY16" fmla="*/ 95760 h 421609"/>
                  <a:gd name="connsiteX17" fmla="*/ 229917 w 229916"/>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6"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1" y="421610"/>
                      <a:pt x="95299" y="410305"/>
                      <a:pt x="74639"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45" name="Freeform 44">
                <a:extLst>
                  <a:ext uri="{FF2B5EF4-FFF2-40B4-BE49-F238E27FC236}">
                    <a16:creationId xmlns:a16="http://schemas.microsoft.com/office/drawing/2014/main" id="{ED55DD5C-27E2-534C-871E-3974B38DBE09}"/>
                  </a:ext>
                </a:extLst>
              </p:cNvPr>
              <p:cNvSpPr/>
              <p:nvPr/>
            </p:nvSpPr>
            <p:spPr>
              <a:xfrm>
                <a:off x="14021980" y="7854175"/>
                <a:ext cx="360537" cy="338484"/>
              </a:xfrm>
              <a:custGeom>
                <a:avLst/>
                <a:gdLst>
                  <a:gd name="connsiteX0" fmla="*/ 360537 w 360537"/>
                  <a:gd name="connsiteY0" fmla="*/ 171570 h 338484"/>
                  <a:gd name="connsiteX1" fmla="*/ 179935 w 360537"/>
                  <a:gd name="connsiteY1" fmla="*/ 338485 h 338484"/>
                  <a:gd name="connsiteX2" fmla="*/ 0 w 360537"/>
                  <a:gd name="connsiteY2" fmla="*/ 168910 h 338484"/>
                  <a:gd name="connsiteX3" fmla="*/ 179935 w 360537"/>
                  <a:gd name="connsiteY3" fmla="*/ 0 h 338484"/>
                  <a:gd name="connsiteX4" fmla="*/ 360537 w 360537"/>
                  <a:gd name="connsiteY4" fmla="*/ 171570 h 338484"/>
                  <a:gd name="connsiteX5" fmla="*/ 124622 w 360537"/>
                  <a:gd name="connsiteY5" fmla="*/ 168910 h 338484"/>
                  <a:gd name="connsiteX6" fmla="*/ 180602 w 360537"/>
                  <a:gd name="connsiteY6" fmla="*/ 250040 h 338484"/>
                  <a:gd name="connsiteX7" fmla="*/ 235915 w 360537"/>
                  <a:gd name="connsiteY7" fmla="*/ 170240 h 338484"/>
                  <a:gd name="connsiteX8" fmla="*/ 179935 w 360537"/>
                  <a:gd name="connsiteY8" fmla="*/ 88445 h 338484"/>
                  <a:gd name="connsiteX9" fmla="*/ 124622 w 360537"/>
                  <a:gd name="connsiteY9" fmla="*/ 168910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537" h="338484">
                    <a:moveTo>
                      <a:pt x="360537" y="171570"/>
                    </a:moveTo>
                    <a:cubicBezTo>
                      <a:pt x="360537" y="266000"/>
                      <a:pt x="282565" y="338485"/>
                      <a:pt x="179935" y="338485"/>
                    </a:cubicBezTo>
                    <a:cubicBezTo>
                      <a:pt x="77306" y="338485"/>
                      <a:pt x="0" y="266000"/>
                      <a:pt x="0" y="168910"/>
                    </a:cubicBezTo>
                    <a:cubicBezTo>
                      <a:pt x="0" y="72485"/>
                      <a:pt x="77306" y="0"/>
                      <a:pt x="179935" y="0"/>
                    </a:cubicBezTo>
                    <a:cubicBezTo>
                      <a:pt x="284564" y="0"/>
                      <a:pt x="360537" y="71820"/>
                      <a:pt x="360537" y="171570"/>
                    </a:cubicBezTo>
                    <a:moveTo>
                      <a:pt x="124622" y="168910"/>
                    </a:moveTo>
                    <a:cubicBezTo>
                      <a:pt x="124622" y="222110"/>
                      <a:pt x="143949" y="250040"/>
                      <a:pt x="180602" y="250040"/>
                    </a:cubicBezTo>
                    <a:cubicBezTo>
                      <a:pt x="215923" y="250040"/>
                      <a:pt x="235915" y="222110"/>
                      <a:pt x="235915" y="170240"/>
                    </a:cubicBezTo>
                    <a:cubicBezTo>
                      <a:pt x="235915" y="116375"/>
                      <a:pt x="216589" y="88445"/>
                      <a:pt x="179935" y="88445"/>
                    </a:cubicBezTo>
                    <a:cubicBezTo>
                      <a:pt x="143949" y="88445"/>
                      <a:pt x="124622" y="116375"/>
                      <a:pt x="124622" y="16891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nvGrpSpPr>
            <p:cNvPr id="10" name="Group 9">
              <a:extLst>
                <a:ext uri="{FF2B5EF4-FFF2-40B4-BE49-F238E27FC236}">
                  <a16:creationId xmlns:a16="http://schemas.microsoft.com/office/drawing/2014/main" id="{56BEAA1E-7E49-C74E-8AAA-1075FEE4ED93}"/>
                </a:ext>
              </a:extLst>
            </p:cNvPr>
            <p:cNvGrpSpPr/>
            <p:nvPr userDrawn="1"/>
          </p:nvGrpSpPr>
          <p:grpSpPr>
            <a:xfrm>
              <a:off x="7989584" y="8328986"/>
              <a:ext cx="6366276" cy="463504"/>
              <a:chOff x="7989583" y="8328985"/>
              <a:chExt cx="6366277" cy="463505"/>
            </a:xfrm>
            <a:solidFill>
              <a:schemeClr val="accent1"/>
            </a:solidFill>
          </p:grpSpPr>
          <p:sp>
            <p:nvSpPr>
              <p:cNvPr id="11" name="Freeform 10">
                <a:extLst>
                  <a:ext uri="{FF2B5EF4-FFF2-40B4-BE49-F238E27FC236}">
                    <a16:creationId xmlns:a16="http://schemas.microsoft.com/office/drawing/2014/main" id="{B47F0D1C-1AAE-1849-8823-0B0C676D698E}"/>
                  </a:ext>
                </a:extLst>
              </p:cNvPr>
              <p:cNvSpPr/>
              <p:nvPr/>
            </p:nvSpPr>
            <p:spPr>
              <a:xfrm>
                <a:off x="7989583" y="8338865"/>
                <a:ext cx="401188" cy="443554"/>
              </a:xfrm>
              <a:custGeom>
                <a:avLst/>
                <a:gdLst>
                  <a:gd name="connsiteX0" fmla="*/ 0 w 401188"/>
                  <a:gd name="connsiteY0" fmla="*/ 0 h 443554"/>
                  <a:gd name="connsiteX1" fmla="*/ 229917 w 401188"/>
                  <a:gd name="connsiteY1" fmla="*/ 0 h 443554"/>
                  <a:gd name="connsiteX2" fmla="*/ 345875 w 401188"/>
                  <a:gd name="connsiteY2" fmla="*/ 32585 h 443554"/>
                  <a:gd name="connsiteX3" fmla="*/ 379863 w 401188"/>
                  <a:gd name="connsiteY3" fmla="*/ 115710 h 443554"/>
                  <a:gd name="connsiteX4" fmla="*/ 329881 w 401188"/>
                  <a:gd name="connsiteY4" fmla="*/ 201495 h 443554"/>
                  <a:gd name="connsiteX5" fmla="*/ 401189 w 401188"/>
                  <a:gd name="connsiteY5" fmla="*/ 312550 h 443554"/>
                  <a:gd name="connsiteX6" fmla="*/ 362536 w 401188"/>
                  <a:gd name="connsiteY6" fmla="*/ 410305 h 443554"/>
                  <a:gd name="connsiteX7" fmla="*/ 245911 w 401188"/>
                  <a:gd name="connsiteY7" fmla="*/ 443555 h 443554"/>
                  <a:gd name="connsiteX8" fmla="*/ 0 w 401188"/>
                  <a:gd name="connsiteY8" fmla="*/ 443555 h 443554"/>
                  <a:gd name="connsiteX9" fmla="*/ 0 w 401188"/>
                  <a:gd name="connsiteY9" fmla="*/ 0 h 443554"/>
                  <a:gd name="connsiteX10" fmla="*/ 215922 w 401188"/>
                  <a:gd name="connsiteY10" fmla="*/ 167580 h 443554"/>
                  <a:gd name="connsiteX11" fmla="*/ 255241 w 401188"/>
                  <a:gd name="connsiteY11" fmla="*/ 134330 h 443554"/>
                  <a:gd name="connsiteX12" fmla="*/ 215922 w 401188"/>
                  <a:gd name="connsiteY12" fmla="*/ 101745 h 443554"/>
                  <a:gd name="connsiteX13" fmla="*/ 133285 w 401188"/>
                  <a:gd name="connsiteY13" fmla="*/ 101745 h 443554"/>
                  <a:gd name="connsiteX14" fmla="*/ 133285 w 401188"/>
                  <a:gd name="connsiteY14" fmla="*/ 167580 h 443554"/>
                  <a:gd name="connsiteX15" fmla="*/ 215922 w 401188"/>
                  <a:gd name="connsiteY15" fmla="*/ 167580 h 443554"/>
                  <a:gd name="connsiteX16" fmla="*/ 218588 w 401188"/>
                  <a:gd name="connsiteY16" fmla="*/ 335255 h 443554"/>
                  <a:gd name="connsiteX17" fmla="*/ 272568 w 401188"/>
                  <a:gd name="connsiteY17" fmla="*/ 296020 h 443554"/>
                  <a:gd name="connsiteX18" fmla="*/ 218588 w 401188"/>
                  <a:gd name="connsiteY18" fmla="*/ 257450 h 443554"/>
                  <a:gd name="connsiteX19" fmla="*/ 133285 w 401188"/>
                  <a:gd name="connsiteY19" fmla="*/ 257450 h 443554"/>
                  <a:gd name="connsiteX20" fmla="*/ 133285 w 401188"/>
                  <a:gd name="connsiteY20" fmla="*/ 335255 h 443554"/>
                  <a:gd name="connsiteX21" fmla="*/ 218588 w 401188"/>
                  <a:gd name="connsiteY21" fmla="*/ 335255 h 4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188" h="443554">
                    <a:moveTo>
                      <a:pt x="0" y="0"/>
                    </a:moveTo>
                    <a:lnTo>
                      <a:pt x="229917" y="0"/>
                    </a:lnTo>
                    <a:cubicBezTo>
                      <a:pt x="290562" y="0"/>
                      <a:pt x="319885" y="8645"/>
                      <a:pt x="345875" y="32585"/>
                    </a:cubicBezTo>
                    <a:cubicBezTo>
                      <a:pt x="367867" y="53200"/>
                      <a:pt x="379863" y="82460"/>
                      <a:pt x="379863" y="115710"/>
                    </a:cubicBezTo>
                    <a:cubicBezTo>
                      <a:pt x="379863" y="152950"/>
                      <a:pt x="365202" y="178885"/>
                      <a:pt x="329881" y="201495"/>
                    </a:cubicBezTo>
                    <a:cubicBezTo>
                      <a:pt x="377197" y="222775"/>
                      <a:pt x="401189" y="260015"/>
                      <a:pt x="401189" y="312550"/>
                    </a:cubicBezTo>
                    <a:cubicBezTo>
                      <a:pt x="401189" y="350455"/>
                      <a:pt x="387194" y="387030"/>
                      <a:pt x="362536" y="410305"/>
                    </a:cubicBezTo>
                    <a:cubicBezTo>
                      <a:pt x="337212" y="435575"/>
                      <a:pt x="309222" y="443555"/>
                      <a:pt x="245911" y="443555"/>
                    </a:cubicBezTo>
                    <a:lnTo>
                      <a:pt x="0" y="443555"/>
                    </a:lnTo>
                    <a:lnTo>
                      <a:pt x="0" y="0"/>
                    </a:lnTo>
                    <a:close/>
                    <a:moveTo>
                      <a:pt x="215922" y="167580"/>
                    </a:moveTo>
                    <a:cubicBezTo>
                      <a:pt x="241913" y="167580"/>
                      <a:pt x="255241" y="156275"/>
                      <a:pt x="255241" y="134330"/>
                    </a:cubicBezTo>
                    <a:cubicBezTo>
                      <a:pt x="255241" y="113050"/>
                      <a:pt x="241913" y="101745"/>
                      <a:pt x="215922" y="101745"/>
                    </a:cubicBezTo>
                    <a:lnTo>
                      <a:pt x="133285" y="101745"/>
                    </a:lnTo>
                    <a:lnTo>
                      <a:pt x="133285" y="167580"/>
                    </a:lnTo>
                    <a:lnTo>
                      <a:pt x="215922" y="167580"/>
                    </a:lnTo>
                    <a:close/>
                    <a:moveTo>
                      <a:pt x="218588" y="335255"/>
                    </a:moveTo>
                    <a:cubicBezTo>
                      <a:pt x="254575" y="335255"/>
                      <a:pt x="272568" y="321955"/>
                      <a:pt x="272568" y="296020"/>
                    </a:cubicBezTo>
                    <a:cubicBezTo>
                      <a:pt x="272568" y="270750"/>
                      <a:pt x="254575" y="257450"/>
                      <a:pt x="218588" y="257450"/>
                    </a:cubicBezTo>
                    <a:lnTo>
                      <a:pt x="133285" y="257450"/>
                    </a:lnTo>
                    <a:lnTo>
                      <a:pt x="133285" y="335255"/>
                    </a:lnTo>
                    <a:lnTo>
                      <a:pt x="218588" y="3352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2" name="Freeform 11">
                <a:extLst>
                  <a:ext uri="{FF2B5EF4-FFF2-40B4-BE49-F238E27FC236}">
                    <a16:creationId xmlns:a16="http://schemas.microsoft.com/office/drawing/2014/main" id="{A662AFB9-309F-3444-A647-85D36769003F}"/>
                  </a:ext>
                </a:extLst>
              </p:cNvPr>
              <p:cNvSpPr/>
              <p:nvPr/>
            </p:nvSpPr>
            <p:spPr>
              <a:xfrm>
                <a:off x="8442753"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2 w 334546"/>
                  <a:gd name="connsiteY7" fmla="*/ 0 h 329935"/>
                  <a:gd name="connsiteX8" fmla="*/ 124622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6"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3" name="Freeform 12">
                <a:extLst>
                  <a:ext uri="{FF2B5EF4-FFF2-40B4-BE49-F238E27FC236}">
                    <a16:creationId xmlns:a16="http://schemas.microsoft.com/office/drawing/2014/main" id="{8817FD3B-3263-9F46-8CDE-B212437E563E}"/>
                  </a:ext>
                </a:extLst>
              </p:cNvPr>
              <p:cNvSpPr/>
              <p:nvPr/>
            </p:nvSpPr>
            <p:spPr>
              <a:xfrm>
                <a:off x="8829280" y="8338865"/>
                <a:ext cx="124621" cy="443649"/>
              </a:xfrm>
              <a:custGeom>
                <a:avLst/>
                <a:gdLst>
                  <a:gd name="connsiteX0" fmla="*/ 124622 w 124621"/>
                  <a:gd name="connsiteY0" fmla="*/ 88445 h 443649"/>
                  <a:gd name="connsiteX1" fmla="*/ 0 w 124621"/>
                  <a:gd name="connsiteY1" fmla="*/ 88445 h 443649"/>
                  <a:gd name="connsiteX2" fmla="*/ 0 w 124621"/>
                  <a:gd name="connsiteY2" fmla="*/ 0 h 443649"/>
                  <a:gd name="connsiteX3" fmla="*/ 124622 w 124621"/>
                  <a:gd name="connsiteY3" fmla="*/ 0 h 443649"/>
                  <a:gd name="connsiteX4" fmla="*/ 124622 w 124621"/>
                  <a:gd name="connsiteY4" fmla="*/ 88445 h 443649"/>
                  <a:gd name="connsiteX5" fmla="*/ 124622 w 124621"/>
                  <a:gd name="connsiteY5" fmla="*/ 443650 h 443649"/>
                  <a:gd name="connsiteX6" fmla="*/ 0 w 124621"/>
                  <a:gd name="connsiteY6" fmla="*/ 443650 h 443649"/>
                  <a:gd name="connsiteX7" fmla="*/ 0 w 124621"/>
                  <a:gd name="connsiteY7" fmla="*/ 122455 h 443649"/>
                  <a:gd name="connsiteX8" fmla="*/ 124622 w 124621"/>
                  <a:gd name="connsiteY8" fmla="*/ 122455 h 443649"/>
                  <a:gd name="connsiteX9" fmla="*/ 124622 w 124621"/>
                  <a:gd name="connsiteY9"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21" h="443649">
                    <a:moveTo>
                      <a:pt x="124622" y="88445"/>
                    </a:moveTo>
                    <a:lnTo>
                      <a:pt x="0" y="88445"/>
                    </a:lnTo>
                    <a:lnTo>
                      <a:pt x="0" y="0"/>
                    </a:lnTo>
                    <a:lnTo>
                      <a:pt x="124622" y="0"/>
                    </a:lnTo>
                    <a:lnTo>
                      <a:pt x="124622" y="88445"/>
                    </a:lnTo>
                    <a:close/>
                    <a:moveTo>
                      <a:pt x="124622" y="443650"/>
                    </a:moveTo>
                    <a:lnTo>
                      <a:pt x="0" y="443650"/>
                    </a:lnTo>
                    <a:lnTo>
                      <a:pt x="0" y="122455"/>
                    </a:lnTo>
                    <a:lnTo>
                      <a:pt x="124622" y="122455"/>
                    </a:lnTo>
                    <a:lnTo>
                      <a:pt x="124622"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 name="Freeform 13">
                <a:extLst>
                  <a:ext uri="{FF2B5EF4-FFF2-40B4-BE49-F238E27FC236}">
                    <a16:creationId xmlns:a16="http://schemas.microsoft.com/office/drawing/2014/main" id="{D6F62014-8B30-E24C-8985-BCC9A345302D}"/>
                  </a:ext>
                </a:extLst>
              </p:cNvPr>
              <p:cNvSpPr/>
              <p:nvPr/>
            </p:nvSpPr>
            <p:spPr>
              <a:xfrm>
                <a:off x="9005883" y="8338865"/>
                <a:ext cx="124621" cy="443555"/>
              </a:xfrm>
              <a:custGeom>
                <a:avLst/>
                <a:gdLst>
                  <a:gd name="connsiteX0" fmla="*/ 0 w 124621"/>
                  <a:gd name="connsiteY0" fmla="*/ 0 h 443555"/>
                  <a:gd name="connsiteX1" fmla="*/ 124622 w 124621"/>
                  <a:gd name="connsiteY1" fmla="*/ 0 h 443555"/>
                  <a:gd name="connsiteX2" fmla="*/ 124622 w 124621"/>
                  <a:gd name="connsiteY2" fmla="*/ 443555 h 443555"/>
                  <a:gd name="connsiteX3" fmla="*/ 0 w 124621"/>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24621" h="443555">
                    <a:moveTo>
                      <a:pt x="0" y="0"/>
                    </a:moveTo>
                    <a:lnTo>
                      <a:pt x="124622" y="0"/>
                    </a:lnTo>
                    <a:lnTo>
                      <a:pt x="124622"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 name="Freeform 14">
                <a:extLst>
                  <a:ext uri="{FF2B5EF4-FFF2-40B4-BE49-F238E27FC236}">
                    <a16:creationId xmlns:a16="http://schemas.microsoft.com/office/drawing/2014/main" id="{7785C589-E8CB-D14B-B708-B123A4A4B4A1}"/>
                  </a:ext>
                </a:extLst>
              </p:cNvPr>
              <p:cNvSpPr/>
              <p:nvPr/>
            </p:nvSpPr>
            <p:spPr>
              <a:xfrm>
                <a:off x="9179820" y="8338865"/>
                <a:ext cx="354538" cy="452295"/>
              </a:xfrm>
              <a:custGeom>
                <a:avLst/>
                <a:gdLst>
                  <a:gd name="connsiteX0" fmla="*/ 354539 w 354538"/>
                  <a:gd name="connsiteY0" fmla="*/ 443650 h 452295"/>
                  <a:gd name="connsiteX1" fmla="*/ 237248 w 354538"/>
                  <a:gd name="connsiteY1" fmla="*/ 443650 h 452295"/>
                  <a:gd name="connsiteX2" fmla="*/ 237248 w 354538"/>
                  <a:gd name="connsiteY2" fmla="*/ 414390 h 452295"/>
                  <a:gd name="connsiteX3" fmla="*/ 149946 w 354538"/>
                  <a:gd name="connsiteY3" fmla="*/ 452295 h 452295"/>
                  <a:gd name="connsiteX4" fmla="*/ 0 w 354538"/>
                  <a:gd name="connsiteY4" fmla="*/ 279395 h 452295"/>
                  <a:gd name="connsiteX5" fmla="*/ 139950 w 354538"/>
                  <a:gd name="connsiteY5" fmla="*/ 113810 h 452295"/>
                  <a:gd name="connsiteX6" fmla="*/ 229917 w 354538"/>
                  <a:gd name="connsiteY6" fmla="*/ 149720 h 452295"/>
                  <a:gd name="connsiteX7" fmla="*/ 229917 w 354538"/>
                  <a:gd name="connsiteY7" fmla="*/ 0 h 452295"/>
                  <a:gd name="connsiteX8" fmla="*/ 354539 w 354538"/>
                  <a:gd name="connsiteY8" fmla="*/ 0 h 452295"/>
                  <a:gd name="connsiteX9" fmla="*/ 354539 w 354538"/>
                  <a:gd name="connsiteY9" fmla="*/ 443650 h 452295"/>
                  <a:gd name="connsiteX10" fmla="*/ 124622 w 354538"/>
                  <a:gd name="connsiteY10" fmla="*/ 282720 h 452295"/>
                  <a:gd name="connsiteX11" fmla="*/ 179269 w 354538"/>
                  <a:gd name="connsiteY11" fmla="*/ 357200 h 452295"/>
                  <a:gd name="connsiteX12" fmla="*/ 234582 w 354538"/>
                  <a:gd name="connsiteY12" fmla="*/ 284050 h 452295"/>
                  <a:gd name="connsiteX13" fmla="*/ 179269 w 354538"/>
                  <a:gd name="connsiteY13" fmla="*/ 208905 h 452295"/>
                  <a:gd name="connsiteX14" fmla="*/ 124622 w 354538"/>
                  <a:gd name="connsiteY14" fmla="*/ 282720 h 45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38" h="452295">
                    <a:moveTo>
                      <a:pt x="354539" y="443650"/>
                    </a:moveTo>
                    <a:lnTo>
                      <a:pt x="237248" y="443650"/>
                    </a:lnTo>
                    <a:lnTo>
                      <a:pt x="237248" y="414390"/>
                    </a:lnTo>
                    <a:cubicBezTo>
                      <a:pt x="205926" y="444315"/>
                      <a:pt x="187266" y="452295"/>
                      <a:pt x="149946" y="452295"/>
                    </a:cubicBezTo>
                    <a:cubicBezTo>
                      <a:pt x="59312" y="452295"/>
                      <a:pt x="0" y="383800"/>
                      <a:pt x="0" y="279395"/>
                    </a:cubicBezTo>
                    <a:cubicBezTo>
                      <a:pt x="0" y="180310"/>
                      <a:pt x="55980" y="113810"/>
                      <a:pt x="139950" y="113810"/>
                    </a:cubicBezTo>
                    <a:cubicBezTo>
                      <a:pt x="175270" y="113810"/>
                      <a:pt x="199928" y="123785"/>
                      <a:pt x="229917" y="149720"/>
                    </a:cubicBezTo>
                    <a:lnTo>
                      <a:pt x="229917" y="0"/>
                    </a:lnTo>
                    <a:lnTo>
                      <a:pt x="354539" y="0"/>
                    </a:lnTo>
                    <a:lnTo>
                      <a:pt x="354539" y="443650"/>
                    </a:lnTo>
                    <a:close/>
                    <a:moveTo>
                      <a:pt x="124622" y="282720"/>
                    </a:moveTo>
                    <a:cubicBezTo>
                      <a:pt x="124622" y="329270"/>
                      <a:pt x="145281" y="357200"/>
                      <a:pt x="179269" y="357200"/>
                    </a:cubicBezTo>
                    <a:cubicBezTo>
                      <a:pt x="213256" y="357200"/>
                      <a:pt x="234582" y="328605"/>
                      <a:pt x="234582" y="284050"/>
                    </a:cubicBezTo>
                    <a:cubicBezTo>
                      <a:pt x="234582" y="236835"/>
                      <a:pt x="213923" y="208905"/>
                      <a:pt x="179269" y="208905"/>
                    </a:cubicBezTo>
                    <a:cubicBezTo>
                      <a:pt x="145281" y="208905"/>
                      <a:pt x="124622" y="236835"/>
                      <a:pt x="124622" y="28272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 name="Freeform 15">
                <a:extLst>
                  <a:ext uri="{FF2B5EF4-FFF2-40B4-BE49-F238E27FC236}">
                    <a16:creationId xmlns:a16="http://schemas.microsoft.com/office/drawing/2014/main" id="{9B7B1F11-0B3A-9F42-8F42-9B8C72BC5D10}"/>
                  </a:ext>
                </a:extLst>
              </p:cNvPr>
              <p:cNvSpPr/>
              <p:nvPr/>
            </p:nvSpPr>
            <p:spPr>
              <a:xfrm>
                <a:off x="9755613" y="8328985"/>
                <a:ext cx="438508" cy="463505"/>
              </a:xfrm>
              <a:custGeom>
                <a:avLst/>
                <a:gdLst>
                  <a:gd name="connsiteX0" fmla="*/ 438509 w 438508"/>
                  <a:gd name="connsiteY0" fmla="*/ 209475 h 463505"/>
                  <a:gd name="connsiteX1" fmla="*/ 438509 w 438508"/>
                  <a:gd name="connsiteY1" fmla="*/ 453530 h 463505"/>
                  <a:gd name="connsiteX2" fmla="*/ 350540 w 438508"/>
                  <a:gd name="connsiteY2" fmla="*/ 453530 h 463505"/>
                  <a:gd name="connsiteX3" fmla="*/ 341877 w 438508"/>
                  <a:gd name="connsiteY3" fmla="*/ 415625 h 463505"/>
                  <a:gd name="connsiteX4" fmla="*/ 210591 w 438508"/>
                  <a:gd name="connsiteY4" fmla="*/ 463505 h 463505"/>
                  <a:gd name="connsiteX5" fmla="*/ 0 w 438508"/>
                  <a:gd name="connsiteY5" fmla="*/ 232085 h 463505"/>
                  <a:gd name="connsiteX6" fmla="*/ 223253 w 438508"/>
                  <a:gd name="connsiteY6" fmla="*/ 0 h 463505"/>
                  <a:gd name="connsiteX7" fmla="*/ 429845 w 438508"/>
                  <a:gd name="connsiteY7" fmla="*/ 163590 h 463505"/>
                  <a:gd name="connsiteX8" fmla="*/ 297893 w 438508"/>
                  <a:gd name="connsiteY8" fmla="*/ 166250 h 463505"/>
                  <a:gd name="connsiteX9" fmla="*/ 224586 w 438508"/>
                  <a:gd name="connsiteY9" fmla="*/ 111055 h 463505"/>
                  <a:gd name="connsiteX10" fmla="*/ 137950 w 438508"/>
                  <a:gd name="connsiteY10" fmla="*/ 228760 h 463505"/>
                  <a:gd name="connsiteX11" fmla="*/ 233916 w 438508"/>
                  <a:gd name="connsiteY11" fmla="*/ 357105 h 463505"/>
                  <a:gd name="connsiteX12" fmla="*/ 310555 w 438508"/>
                  <a:gd name="connsiteY12" fmla="*/ 307230 h 463505"/>
                  <a:gd name="connsiteX13" fmla="*/ 252576 w 438508"/>
                  <a:gd name="connsiteY13" fmla="*/ 307230 h 463505"/>
                  <a:gd name="connsiteX14" fmla="*/ 252576 w 438508"/>
                  <a:gd name="connsiteY14" fmla="*/ 209475 h 463505"/>
                  <a:gd name="connsiteX15" fmla="*/ 438509 w 438508"/>
                  <a:gd name="connsiteY15" fmla="*/ 209475 h 46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508" h="463505">
                    <a:moveTo>
                      <a:pt x="438509" y="209475"/>
                    </a:moveTo>
                    <a:lnTo>
                      <a:pt x="438509" y="453530"/>
                    </a:lnTo>
                    <a:lnTo>
                      <a:pt x="350540" y="453530"/>
                    </a:lnTo>
                    <a:lnTo>
                      <a:pt x="341877" y="415625"/>
                    </a:lnTo>
                    <a:cubicBezTo>
                      <a:pt x="305223" y="448210"/>
                      <a:pt x="262572" y="463505"/>
                      <a:pt x="210591" y="463505"/>
                    </a:cubicBezTo>
                    <a:cubicBezTo>
                      <a:pt x="88635" y="463505"/>
                      <a:pt x="0" y="365750"/>
                      <a:pt x="0" y="232085"/>
                    </a:cubicBezTo>
                    <a:cubicBezTo>
                      <a:pt x="0" y="94430"/>
                      <a:pt x="90634" y="0"/>
                      <a:pt x="223253" y="0"/>
                    </a:cubicBezTo>
                    <a:cubicBezTo>
                      <a:pt x="332547" y="0"/>
                      <a:pt x="412518" y="63840"/>
                      <a:pt x="429845" y="163590"/>
                    </a:cubicBezTo>
                    <a:lnTo>
                      <a:pt x="297893" y="166250"/>
                    </a:lnTo>
                    <a:cubicBezTo>
                      <a:pt x="288563" y="131005"/>
                      <a:pt x="261906" y="111055"/>
                      <a:pt x="224586" y="111055"/>
                    </a:cubicBezTo>
                    <a:cubicBezTo>
                      <a:pt x="169272" y="111055"/>
                      <a:pt x="137950" y="153615"/>
                      <a:pt x="137950" y="228760"/>
                    </a:cubicBezTo>
                    <a:cubicBezTo>
                      <a:pt x="137950" y="311885"/>
                      <a:pt x="171938" y="357105"/>
                      <a:pt x="233916" y="357105"/>
                    </a:cubicBezTo>
                    <a:cubicBezTo>
                      <a:pt x="271236" y="357105"/>
                      <a:pt x="299226" y="339150"/>
                      <a:pt x="310555" y="307230"/>
                    </a:cubicBezTo>
                    <a:lnTo>
                      <a:pt x="252576" y="307230"/>
                    </a:lnTo>
                    <a:lnTo>
                      <a:pt x="252576" y="209475"/>
                    </a:lnTo>
                    <a:lnTo>
                      <a:pt x="438509" y="2094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 name="Freeform 16">
                <a:extLst>
                  <a:ext uri="{FF2B5EF4-FFF2-40B4-BE49-F238E27FC236}">
                    <a16:creationId xmlns:a16="http://schemas.microsoft.com/office/drawing/2014/main" id="{D815576E-6248-3C4C-95F6-F15C851C7EB3}"/>
                  </a:ext>
                </a:extLst>
              </p:cNvPr>
              <p:cNvSpPr/>
              <p:nvPr/>
            </p:nvSpPr>
            <p:spPr>
              <a:xfrm>
                <a:off x="10246769" y="8452674"/>
                <a:ext cx="251909" cy="329840"/>
              </a:xfrm>
              <a:custGeom>
                <a:avLst/>
                <a:gdLst>
                  <a:gd name="connsiteX0" fmla="*/ 117958 w 251909"/>
                  <a:gd name="connsiteY0" fmla="*/ 8645 h 329840"/>
                  <a:gd name="connsiteX1" fmla="*/ 117958 w 251909"/>
                  <a:gd name="connsiteY1" fmla="*/ 53200 h 329840"/>
                  <a:gd name="connsiteX2" fmla="*/ 213256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8" name="Freeform 17">
                <a:extLst>
                  <a:ext uri="{FF2B5EF4-FFF2-40B4-BE49-F238E27FC236}">
                    <a16:creationId xmlns:a16="http://schemas.microsoft.com/office/drawing/2014/main" id="{B37CF8D8-CB98-7C43-BC98-0CEF6E0AFFB6}"/>
                  </a:ext>
                </a:extLst>
              </p:cNvPr>
              <p:cNvSpPr/>
              <p:nvPr/>
            </p:nvSpPr>
            <p:spPr>
              <a:xfrm>
                <a:off x="10526668"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2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9 w 359870"/>
                  <a:gd name="connsiteY10" fmla="*/ 132335 h 338485"/>
                  <a:gd name="connsiteX11" fmla="*/ 179269 w 359870"/>
                  <a:gd name="connsiteY11" fmla="*/ 81795 h 338485"/>
                  <a:gd name="connsiteX12" fmla="*/ 123956 w 359870"/>
                  <a:gd name="connsiteY12" fmla="*/ 132335 h 338485"/>
                  <a:gd name="connsiteX13" fmla="*/ 235249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2"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3" y="0"/>
                      <a:pt x="180602" y="0"/>
                    </a:cubicBezTo>
                    <a:cubicBezTo>
                      <a:pt x="253909" y="0"/>
                      <a:pt x="313887" y="35245"/>
                      <a:pt x="342543" y="96425"/>
                    </a:cubicBezTo>
                    <a:cubicBezTo>
                      <a:pt x="354539" y="123025"/>
                      <a:pt x="359870" y="151620"/>
                      <a:pt x="359870" y="198835"/>
                    </a:cubicBezTo>
                    <a:lnTo>
                      <a:pt x="123289" y="198835"/>
                    </a:lnTo>
                    <a:close/>
                    <a:moveTo>
                      <a:pt x="235249" y="132335"/>
                    </a:moveTo>
                    <a:cubicBezTo>
                      <a:pt x="231917" y="101080"/>
                      <a:pt x="210591" y="81795"/>
                      <a:pt x="179269" y="81795"/>
                    </a:cubicBezTo>
                    <a:cubicBezTo>
                      <a:pt x="148613" y="81795"/>
                      <a:pt x="127288" y="101080"/>
                      <a:pt x="123956"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9" name="Freeform 18">
                <a:extLst>
                  <a:ext uri="{FF2B5EF4-FFF2-40B4-BE49-F238E27FC236}">
                    <a16:creationId xmlns:a16="http://schemas.microsoft.com/office/drawing/2014/main" id="{EA3CDA78-295C-144C-86DF-60895B1C73BF}"/>
                  </a:ext>
                </a:extLst>
              </p:cNvPr>
              <p:cNvSpPr/>
              <p:nvPr/>
            </p:nvSpPr>
            <p:spPr>
              <a:xfrm>
                <a:off x="10923097" y="8452674"/>
                <a:ext cx="350540" cy="338485"/>
              </a:xfrm>
              <a:custGeom>
                <a:avLst/>
                <a:gdLst>
                  <a:gd name="connsiteX0" fmla="*/ 14661 w 350540"/>
                  <a:gd name="connsiteY0" fmla="*/ 124355 h 338485"/>
                  <a:gd name="connsiteX1" fmla="*/ 47316 w 350540"/>
                  <a:gd name="connsiteY1" fmla="*/ 42560 h 338485"/>
                  <a:gd name="connsiteX2" fmla="*/ 179269 w 350540"/>
                  <a:gd name="connsiteY2" fmla="*/ 0 h 338485"/>
                  <a:gd name="connsiteX3" fmla="*/ 299225 w 350540"/>
                  <a:gd name="connsiteY3" fmla="*/ 32585 h 338485"/>
                  <a:gd name="connsiteX4" fmla="*/ 340544 w 350540"/>
                  <a:gd name="connsiteY4" fmla="*/ 131005 h 338485"/>
                  <a:gd name="connsiteX5" fmla="*/ 340544 w 350540"/>
                  <a:gd name="connsiteY5" fmla="*/ 281960 h 338485"/>
                  <a:gd name="connsiteX6" fmla="*/ 350540 w 350540"/>
                  <a:gd name="connsiteY6" fmla="*/ 329840 h 338485"/>
                  <a:gd name="connsiteX7" fmla="*/ 229917 w 350540"/>
                  <a:gd name="connsiteY7" fmla="*/ 329840 h 338485"/>
                  <a:gd name="connsiteX8" fmla="*/ 219254 w 350540"/>
                  <a:gd name="connsiteY8" fmla="*/ 297255 h 338485"/>
                  <a:gd name="connsiteX9" fmla="*/ 111960 w 350540"/>
                  <a:gd name="connsiteY9" fmla="*/ 338485 h 338485"/>
                  <a:gd name="connsiteX10" fmla="*/ 0 w 350540"/>
                  <a:gd name="connsiteY10" fmla="*/ 244720 h 338485"/>
                  <a:gd name="connsiteX11" fmla="*/ 89968 w 350540"/>
                  <a:gd name="connsiteY11" fmla="*/ 148960 h 338485"/>
                  <a:gd name="connsiteX12" fmla="*/ 183267 w 350540"/>
                  <a:gd name="connsiteY12" fmla="*/ 131005 h 338485"/>
                  <a:gd name="connsiteX13" fmla="*/ 218588 w 350540"/>
                  <a:gd name="connsiteY13" fmla="*/ 107065 h 338485"/>
                  <a:gd name="connsiteX14" fmla="*/ 176603 w 350540"/>
                  <a:gd name="connsiteY14" fmla="*/ 79800 h 338485"/>
                  <a:gd name="connsiteX15" fmla="*/ 128620 w 350540"/>
                  <a:gd name="connsiteY15" fmla="*/ 119700 h 338485"/>
                  <a:gd name="connsiteX16" fmla="*/ 128620 w 350540"/>
                  <a:gd name="connsiteY16" fmla="*/ 124355 h 338485"/>
                  <a:gd name="connsiteX17" fmla="*/ 14661 w 350540"/>
                  <a:gd name="connsiteY17" fmla="*/ 124355 h 338485"/>
                  <a:gd name="connsiteX18" fmla="*/ 167368 w 350540"/>
                  <a:gd name="connsiteY18" fmla="*/ 204155 h 338485"/>
                  <a:gd name="connsiteX19" fmla="*/ 131381 w 350540"/>
                  <a:gd name="connsiteY19" fmla="*/ 217455 h 338485"/>
                  <a:gd name="connsiteX20" fmla="*/ 119386 w 350540"/>
                  <a:gd name="connsiteY20" fmla="*/ 238070 h 338485"/>
                  <a:gd name="connsiteX21" fmla="*/ 154706 w 350540"/>
                  <a:gd name="connsiteY21" fmla="*/ 265335 h 338485"/>
                  <a:gd name="connsiteX22" fmla="*/ 220682 w 350540"/>
                  <a:gd name="connsiteY22" fmla="*/ 202825 h 338485"/>
                  <a:gd name="connsiteX23" fmla="*/ 220682 w 350540"/>
                  <a:gd name="connsiteY23" fmla="*/ 185535 h 338485"/>
                  <a:gd name="connsiteX24" fmla="*/ 167368 w 350540"/>
                  <a:gd name="connsiteY24" fmla="*/ 20415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5">
                    <a:moveTo>
                      <a:pt x="14661" y="124355"/>
                    </a:moveTo>
                    <a:cubicBezTo>
                      <a:pt x="17993"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368" y="204155"/>
                    </a:moveTo>
                    <a:cubicBezTo>
                      <a:pt x="138712" y="213465"/>
                      <a:pt x="138712" y="213465"/>
                      <a:pt x="131381" y="217455"/>
                    </a:cubicBezTo>
                    <a:cubicBezTo>
                      <a:pt x="123384" y="222110"/>
                      <a:pt x="119386" y="229425"/>
                      <a:pt x="119386" y="238070"/>
                    </a:cubicBezTo>
                    <a:cubicBezTo>
                      <a:pt x="119386" y="254695"/>
                      <a:pt x="133381" y="265335"/>
                      <a:pt x="154706" y="265335"/>
                    </a:cubicBezTo>
                    <a:cubicBezTo>
                      <a:pt x="193359" y="265335"/>
                      <a:pt x="220682" y="239400"/>
                      <a:pt x="220682" y="202825"/>
                    </a:cubicBezTo>
                    <a:lnTo>
                      <a:pt x="220682" y="185535"/>
                    </a:lnTo>
                    <a:lnTo>
                      <a:pt x="167368"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0" name="Freeform 19">
                <a:extLst>
                  <a:ext uri="{FF2B5EF4-FFF2-40B4-BE49-F238E27FC236}">
                    <a16:creationId xmlns:a16="http://schemas.microsoft.com/office/drawing/2014/main" id="{47DF4219-6762-9049-81D8-59595DC6FF95}"/>
                  </a:ext>
                </a:extLst>
              </p:cNvPr>
              <p:cNvSpPr/>
              <p:nvPr/>
            </p:nvSpPr>
            <p:spPr>
              <a:xfrm>
                <a:off x="11299057"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5" y="331170"/>
                      <a:pt x="205259" y="331170"/>
                    </a:cubicBezTo>
                    <a:cubicBezTo>
                      <a:pt x="215256" y="331170"/>
                      <a:pt x="222587" y="329840"/>
                      <a:pt x="229917" y="327180"/>
                    </a:cubicBezTo>
                    <a:lnTo>
                      <a:pt x="229917" y="411635"/>
                    </a:lnTo>
                    <a:cubicBezTo>
                      <a:pt x="203260" y="418285"/>
                      <a:pt x="181935"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1" name="Freeform 20">
                <a:extLst>
                  <a:ext uri="{FF2B5EF4-FFF2-40B4-BE49-F238E27FC236}">
                    <a16:creationId xmlns:a16="http://schemas.microsoft.com/office/drawing/2014/main" id="{914A0E92-6025-614A-8DF9-07A3DE99659D}"/>
                  </a:ext>
                </a:extLst>
              </p:cNvPr>
              <p:cNvSpPr/>
              <p:nvPr/>
            </p:nvSpPr>
            <p:spPr>
              <a:xfrm>
                <a:off x="11770125" y="8338865"/>
                <a:ext cx="355300" cy="443649"/>
              </a:xfrm>
              <a:custGeom>
                <a:avLst/>
                <a:gdLst>
                  <a:gd name="connsiteX0" fmla="*/ 355301 w 355300"/>
                  <a:gd name="connsiteY0" fmla="*/ 117800 h 443649"/>
                  <a:gd name="connsiteX1" fmla="*/ 133285 w 355300"/>
                  <a:gd name="connsiteY1" fmla="*/ 117800 h 443649"/>
                  <a:gd name="connsiteX2" fmla="*/ 133285 w 355300"/>
                  <a:gd name="connsiteY2" fmla="*/ 176320 h 443649"/>
                  <a:gd name="connsiteX3" fmla="*/ 314648 w 355300"/>
                  <a:gd name="connsiteY3" fmla="*/ 176320 h 443649"/>
                  <a:gd name="connsiteX4" fmla="*/ 314648 w 355300"/>
                  <a:gd name="connsiteY4" fmla="*/ 287375 h 443649"/>
                  <a:gd name="connsiteX5" fmla="*/ 133285 w 355300"/>
                  <a:gd name="connsiteY5" fmla="*/ 287375 h 443649"/>
                  <a:gd name="connsiteX6" fmla="*/ 133285 w 355300"/>
                  <a:gd name="connsiteY6" fmla="*/ 443650 h 443649"/>
                  <a:gd name="connsiteX7" fmla="*/ 0 w 355300"/>
                  <a:gd name="connsiteY7" fmla="*/ 443650 h 443649"/>
                  <a:gd name="connsiteX8" fmla="*/ 0 w 355300"/>
                  <a:gd name="connsiteY8" fmla="*/ 0 h 443649"/>
                  <a:gd name="connsiteX9" fmla="*/ 355301 w 355300"/>
                  <a:gd name="connsiteY9"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0" h="443649">
                    <a:moveTo>
                      <a:pt x="355301" y="117800"/>
                    </a:moveTo>
                    <a:lnTo>
                      <a:pt x="133285" y="117800"/>
                    </a:lnTo>
                    <a:lnTo>
                      <a:pt x="133285" y="176320"/>
                    </a:lnTo>
                    <a:lnTo>
                      <a:pt x="314648" y="176320"/>
                    </a:lnTo>
                    <a:lnTo>
                      <a:pt x="314648" y="287375"/>
                    </a:lnTo>
                    <a:lnTo>
                      <a:pt x="133285" y="287375"/>
                    </a:lnTo>
                    <a:lnTo>
                      <a:pt x="133285" y="443650"/>
                    </a:lnTo>
                    <a:lnTo>
                      <a:pt x="0" y="443650"/>
                    </a:lnTo>
                    <a:lnTo>
                      <a:pt x="0" y="0"/>
                    </a:lnTo>
                    <a:lnTo>
                      <a:pt x="355301"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2" name="Freeform 21">
                <a:extLst>
                  <a:ext uri="{FF2B5EF4-FFF2-40B4-BE49-F238E27FC236}">
                    <a16:creationId xmlns:a16="http://schemas.microsoft.com/office/drawing/2014/main" id="{E7BE7ACC-7E25-014E-B94E-728BF5856FE6}"/>
                  </a:ext>
                </a:extLst>
              </p:cNvPr>
              <p:cNvSpPr/>
              <p:nvPr/>
            </p:nvSpPr>
            <p:spPr>
              <a:xfrm>
                <a:off x="12161413" y="8461225"/>
                <a:ext cx="334545" cy="329935"/>
              </a:xfrm>
              <a:custGeom>
                <a:avLst/>
                <a:gdLst>
                  <a:gd name="connsiteX0" fmla="*/ 334546 w 334545"/>
                  <a:gd name="connsiteY0" fmla="*/ 321290 h 329935"/>
                  <a:gd name="connsiteX1" fmla="*/ 216589 w 334545"/>
                  <a:gd name="connsiteY1" fmla="*/ 321290 h 329935"/>
                  <a:gd name="connsiteX2" fmla="*/ 216589 w 334545"/>
                  <a:gd name="connsiteY2" fmla="*/ 280060 h 329935"/>
                  <a:gd name="connsiteX3" fmla="*/ 117957 w 334545"/>
                  <a:gd name="connsiteY3" fmla="*/ 329935 h 329935"/>
                  <a:gd name="connsiteX4" fmla="*/ 27990 w 334545"/>
                  <a:gd name="connsiteY4" fmla="*/ 288705 h 329935"/>
                  <a:gd name="connsiteX5" fmla="*/ 0 w 334545"/>
                  <a:gd name="connsiteY5" fmla="*/ 188955 h 329935"/>
                  <a:gd name="connsiteX6" fmla="*/ 0 w 334545"/>
                  <a:gd name="connsiteY6" fmla="*/ 0 h 329935"/>
                  <a:gd name="connsiteX7" fmla="*/ 124622 w 334545"/>
                  <a:gd name="connsiteY7" fmla="*/ 0 h 329935"/>
                  <a:gd name="connsiteX8" fmla="*/ 124622 w 334545"/>
                  <a:gd name="connsiteY8" fmla="*/ 168910 h 329935"/>
                  <a:gd name="connsiteX9" fmla="*/ 166607 w 334545"/>
                  <a:gd name="connsiteY9" fmla="*/ 224770 h 329935"/>
                  <a:gd name="connsiteX10" fmla="*/ 209924 w 334545"/>
                  <a:gd name="connsiteY10" fmla="*/ 174895 h 329935"/>
                  <a:gd name="connsiteX11" fmla="*/ 209924 w 334545"/>
                  <a:gd name="connsiteY11" fmla="*/ 0 h 329935"/>
                  <a:gd name="connsiteX12" fmla="*/ 334546 w 334545"/>
                  <a:gd name="connsiteY12" fmla="*/ 0 h 329935"/>
                  <a:gd name="connsiteX13" fmla="*/ 334546 w 334545"/>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5" h="329935">
                    <a:moveTo>
                      <a:pt x="334546" y="321290"/>
                    </a:moveTo>
                    <a:lnTo>
                      <a:pt x="216589" y="321290"/>
                    </a:lnTo>
                    <a:lnTo>
                      <a:pt x="216589" y="280060"/>
                    </a:lnTo>
                    <a:cubicBezTo>
                      <a:pt x="188599" y="315305"/>
                      <a:pt x="159276" y="329935"/>
                      <a:pt x="117957" y="329935"/>
                    </a:cubicBezTo>
                    <a:cubicBezTo>
                      <a:pt x="81304" y="329935"/>
                      <a:pt x="49315"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3" name="Freeform 22">
                <a:extLst>
                  <a:ext uri="{FF2B5EF4-FFF2-40B4-BE49-F238E27FC236}">
                    <a16:creationId xmlns:a16="http://schemas.microsoft.com/office/drawing/2014/main" id="{F98EACF8-C776-D848-B218-ACC1EE038EF4}"/>
                  </a:ext>
                </a:extLst>
              </p:cNvPr>
              <p:cNvSpPr/>
              <p:nvPr/>
            </p:nvSpPr>
            <p:spPr>
              <a:xfrm>
                <a:off x="12526519"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4" name="Freeform 23">
                <a:extLst>
                  <a:ext uri="{FF2B5EF4-FFF2-40B4-BE49-F238E27FC236}">
                    <a16:creationId xmlns:a16="http://schemas.microsoft.com/office/drawing/2014/main" id="{137C8B94-3094-024D-920D-7387ACE6566A}"/>
                  </a:ext>
                </a:extLst>
              </p:cNvPr>
              <p:cNvSpPr/>
              <p:nvPr/>
            </p:nvSpPr>
            <p:spPr>
              <a:xfrm>
                <a:off x="12786521"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1 w 334546"/>
                  <a:gd name="connsiteY7" fmla="*/ 0 h 329935"/>
                  <a:gd name="connsiteX8" fmla="*/ 124621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5" y="315305"/>
                      <a:pt x="27990" y="288705"/>
                    </a:cubicBezTo>
                    <a:cubicBezTo>
                      <a:pt x="7997" y="264100"/>
                      <a:pt x="0" y="235505"/>
                      <a:pt x="0" y="188955"/>
                    </a:cubicBezTo>
                    <a:lnTo>
                      <a:pt x="0" y="0"/>
                    </a:lnTo>
                    <a:lnTo>
                      <a:pt x="124621" y="0"/>
                    </a:lnTo>
                    <a:lnTo>
                      <a:pt x="124621" y="168910"/>
                    </a:lnTo>
                    <a:cubicBezTo>
                      <a:pt x="124621"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5" name="Freeform 24">
                <a:extLst>
                  <a:ext uri="{FF2B5EF4-FFF2-40B4-BE49-F238E27FC236}">
                    <a16:creationId xmlns:a16="http://schemas.microsoft.com/office/drawing/2014/main" id="{B8F1CAB4-9923-774F-89B4-A051A28C307A}"/>
                  </a:ext>
                </a:extLst>
              </p:cNvPr>
              <p:cNvSpPr/>
              <p:nvPr/>
            </p:nvSpPr>
            <p:spPr>
              <a:xfrm>
                <a:off x="13174286" y="8452674"/>
                <a:ext cx="251909" cy="329840"/>
              </a:xfrm>
              <a:custGeom>
                <a:avLst/>
                <a:gdLst>
                  <a:gd name="connsiteX0" fmla="*/ 117958 w 251909"/>
                  <a:gd name="connsiteY0" fmla="*/ 8645 h 329840"/>
                  <a:gd name="connsiteX1" fmla="*/ 117958 w 251909"/>
                  <a:gd name="connsiteY1" fmla="*/ 53200 h 329840"/>
                  <a:gd name="connsiteX2" fmla="*/ 213257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6" y="0"/>
                      <a:pt x="213257" y="0"/>
                    </a:cubicBezTo>
                    <a:cubicBezTo>
                      <a:pt x="225918"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6" name="Freeform 25">
                <a:extLst>
                  <a:ext uri="{FF2B5EF4-FFF2-40B4-BE49-F238E27FC236}">
                    <a16:creationId xmlns:a16="http://schemas.microsoft.com/office/drawing/2014/main" id="{919D49E9-BC75-DF41-8C2A-A64512C11147}"/>
                  </a:ext>
                </a:extLst>
              </p:cNvPr>
              <p:cNvSpPr/>
              <p:nvPr/>
            </p:nvSpPr>
            <p:spPr>
              <a:xfrm>
                <a:off x="13454185"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1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8 w 359870"/>
                  <a:gd name="connsiteY10" fmla="*/ 132335 h 338485"/>
                  <a:gd name="connsiteX11" fmla="*/ 179268 w 359870"/>
                  <a:gd name="connsiteY11" fmla="*/ 81795 h 338485"/>
                  <a:gd name="connsiteX12" fmla="*/ 123955 w 359870"/>
                  <a:gd name="connsiteY12" fmla="*/ 132335 h 338485"/>
                  <a:gd name="connsiteX13" fmla="*/ 235248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1" y="252035"/>
                      <a:pt x="187932" y="252035"/>
                    </a:cubicBezTo>
                    <a:cubicBezTo>
                      <a:pt x="209258" y="252035"/>
                      <a:pt x="223919" y="245385"/>
                      <a:pt x="233249" y="230755"/>
                    </a:cubicBezTo>
                    <a:lnTo>
                      <a:pt x="354539" y="230755"/>
                    </a:lnTo>
                    <a:cubicBezTo>
                      <a:pt x="339878" y="293265"/>
                      <a:pt x="267903"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7" name="Freeform 26">
                <a:extLst>
                  <a:ext uri="{FF2B5EF4-FFF2-40B4-BE49-F238E27FC236}">
                    <a16:creationId xmlns:a16="http://schemas.microsoft.com/office/drawing/2014/main" id="{BB6D3BDD-4C6B-494B-B5C2-49F64CC5DB43}"/>
                  </a:ext>
                </a:extLst>
              </p:cNvPr>
              <p:cNvSpPr/>
              <p:nvPr/>
            </p:nvSpPr>
            <p:spPr>
              <a:xfrm>
                <a:off x="13846043" y="8452674"/>
                <a:ext cx="329214" cy="338485"/>
              </a:xfrm>
              <a:custGeom>
                <a:avLst/>
                <a:gdLst>
                  <a:gd name="connsiteX0" fmla="*/ 201927 w 329214"/>
                  <a:gd name="connsiteY0" fmla="*/ 103075 h 338485"/>
                  <a:gd name="connsiteX1" fmla="*/ 161275 w 329214"/>
                  <a:gd name="connsiteY1" fmla="*/ 73150 h 338485"/>
                  <a:gd name="connsiteX2" fmla="*/ 128620 w 329214"/>
                  <a:gd name="connsiteY2" fmla="*/ 91105 h 338485"/>
                  <a:gd name="connsiteX3" fmla="*/ 159942 w 329214"/>
                  <a:gd name="connsiteY3" fmla="*/ 113050 h 338485"/>
                  <a:gd name="connsiteX4" fmla="*/ 217255 w 329214"/>
                  <a:gd name="connsiteY4" fmla="*/ 124355 h 338485"/>
                  <a:gd name="connsiteX5" fmla="*/ 296560 w 329214"/>
                  <a:gd name="connsiteY5" fmla="*/ 154280 h 338485"/>
                  <a:gd name="connsiteX6" fmla="*/ 329215 w 329214"/>
                  <a:gd name="connsiteY6" fmla="*/ 225435 h 338485"/>
                  <a:gd name="connsiteX7" fmla="*/ 164608 w 329214"/>
                  <a:gd name="connsiteY7" fmla="*/ 338485 h 338485"/>
                  <a:gd name="connsiteX8" fmla="*/ 29989 w 329214"/>
                  <a:gd name="connsiteY8" fmla="*/ 292600 h 338485"/>
                  <a:gd name="connsiteX9" fmla="*/ 0 w 329214"/>
                  <a:gd name="connsiteY9" fmla="*/ 220115 h 338485"/>
                  <a:gd name="connsiteX10" fmla="*/ 119291 w 329214"/>
                  <a:gd name="connsiteY10" fmla="*/ 220115 h 338485"/>
                  <a:gd name="connsiteX11" fmla="*/ 167273 w 329214"/>
                  <a:gd name="connsiteY11" fmla="*/ 258685 h 338485"/>
                  <a:gd name="connsiteX12" fmla="*/ 204593 w 329214"/>
                  <a:gd name="connsiteY12" fmla="*/ 235410 h 338485"/>
                  <a:gd name="connsiteX13" fmla="*/ 175271 w 329214"/>
                  <a:gd name="connsiteY13" fmla="*/ 213465 h 338485"/>
                  <a:gd name="connsiteX14" fmla="*/ 102630 w 329214"/>
                  <a:gd name="connsiteY14" fmla="*/ 196840 h 338485"/>
                  <a:gd name="connsiteX15" fmla="*/ 6664 w 329214"/>
                  <a:gd name="connsiteY15" fmla="*/ 103075 h 338485"/>
                  <a:gd name="connsiteX16" fmla="*/ 165940 w 329214"/>
                  <a:gd name="connsiteY16" fmla="*/ 0 h 338485"/>
                  <a:gd name="connsiteX17" fmla="*/ 317886 w 329214"/>
                  <a:gd name="connsiteY17" fmla="*/ 103075 h 338485"/>
                  <a:gd name="connsiteX18" fmla="*/ 201927 w 329214"/>
                  <a:gd name="connsiteY18" fmla="*/ 10307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5">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28" name="Freeform 27">
                <a:extLst>
                  <a:ext uri="{FF2B5EF4-FFF2-40B4-BE49-F238E27FC236}">
                    <a16:creationId xmlns:a16="http://schemas.microsoft.com/office/drawing/2014/main" id="{667CCD4B-0180-9546-A8CC-0135B1C7A927}"/>
                  </a:ext>
                </a:extLst>
              </p:cNvPr>
              <p:cNvSpPr/>
              <p:nvPr/>
            </p:nvSpPr>
            <p:spPr>
              <a:xfrm>
                <a:off x="14227240" y="8654170"/>
                <a:ext cx="128620" cy="128345"/>
              </a:xfrm>
              <a:custGeom>
                <a:avLst/>
                <a:gdLst>
                  <a:gd name="connsiteX0" fmla="*/ 0 w 128620"/>
                  <a:gd name="connsiteY0" fmla="*/ 0 h 128345"/>
                  <a:gd name="connsiteX1" fmla="*/ 128621 w 128620"/>
                  <a:gd name="connsiteY1" fmla="*/ 0 h 128345"/>
                  <a:gd name="connsiteX2" fmla="*/ 128621 w 128620"/>
                  <a:gd name="connsiteY2" fmla="*/ 128345 h 128345"/>
                  <a:gd name="connsiteX3" fmla="*/ 0 w 128620"/>
                  <a:gd name="connsiteY3" fmla="*/ 128345 h 128345"/>
                </a:gdLst>
                <a:ahLst/>
                <a:cxnLst>
                  <a:cxn ang="0">
                    <a:pos x="connsiteX0" y="connsiteY0"/>
                  </a:cxn>
                  <a:cxn ang="0">
                    <a:pos x="connsiteX1" y="connsiteY1"/>
                  </a:cxn>
                  <a:cxn ang="0">
                    <a:pos x="connsiteX2" y="connsiteY2"/>
                  </a:cxn>
                  <a:cxn ang="0">
                    <a:pos x="connsiteX3" y="connsiteY3"/>
                  </a:cxn>
                </a:cxnLst>
                <a:rect l="l" t="t" r="r" b="b"/>
                <a:pathLst>
                  <a:path w="128620" h="128345">
                    <a:moveTo>
                      <a:pt x="0" y="0"/>
                    </a:moveTo>
                    <a:lnTo>
                      <a:pt x="128621" y="0"/>
                    </a:lnTo>
                    <a:lnTo>
                      <a:pt x="128621" y="128345"/>
                    </a:lnTo>
                    <a:lnTo>
                      <a:pt x="0" y="1283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grpSp>
        <p:nvGrpSpPr>
          <p:cNvPr id="2" name="Group 1">
            <a:extLst>
              <a:ext uri="{FF2B5EF4-FFF2-40B4-BE49-F238E27FC236}">
                <a16:creationId xmlns:a16="http://schemas.microsoft.com/office/drawing/2014/main" id="{AECAAD89-F0BF-454A-BE1D-CEFEA09D66DF}"/>
              </a:ext>
            </a:extLst>
          </p:cNvPr>
          <p:cNvGrpSpPr/>
          <p:nvPr userDrawn="1"/>
        </p:nvGrpSpPr>
        <p:grpSpPr>
          <a:xfrm>
            <a:off x="363881" y="6093628"/>
            <a:ext cx="2219130" cy="482140"/>
            <a:chOff x="363881" y="6093628"/>
            <a:chExt cx="2219130" cy="482140"/>
          </a:xfrm>
        </p:grpSpPr>
        <p:sp>
          <p:nvSpPr>
            <p:cNvPr id="47" name="Freeform 46">
              <a:extLst>
                <a:ext uri="{FF2B5EF4-FFF2-40B4-BE49-F238E27FC236}">
                  <a16:creationId xmlns:a16="http://schemas.microsoft.com/office/drawing/2014/main" id="{DDA9F05F-4B5D-C54D-92F2-017CB3856DD2}"/>
                </a:ext>
              </a:extLst>
            </p:cNvPr>
            <p:cNvSpPr/>
            <p:nvPr/>
          </p:nvSpPr>
          <p:spPr>
            <a:xfrm>
              <a:off x="363881" y="6093628"/>
              <a:ext cx="795126" cy="482140"/>
            </a:xfrm>
            <a:custGeom>
              <a:avLst/>
              <a:gdLst>
                <a:gd name="connsiteX0" fmla="*/ 1746694 w 1796129"/>
                <a:gd name="connsiteY0" fmla="*/ 497649 h 1089118"/>
                <a:gd name="connsiteX1" fmla="*/ 1253966 w 1796129"/>
                <a:gd name="connsiteY1" fmla="*/ 998759 h 1089118"/>
                <a:gd name="connsiteX2" fmla="*/ 1254443 w 1796129"/>
                <a:gd name="connsiteY2" fmla="*/ 999235 h 1089118"/>
                <a:gd name="connsiteX3" fmla="*/ 1227392 w 1796129"/>
                <a:gd name="connsiteY3" fmla="*/ 1015809 h 1089118"/>
                <a:gd name="connsiteX4" fmla="*/ 1187482 w 1796129"/>
                <a:gd name="connsiteY4" fmla="*/ 1023047 h 1089118"/>
                <a:gd name="connsiteX5" fmla="*/ 1147477 w 1796129"/>
                <a:gd name="connsiteY5" fmla="*/ 1015809 h 1089118"/>
                <a:gd name="connsiteX6" fmla="*/ 1120426 w 1796129"/>
                <a:gd name="connsiteY6" fmla="*/ 999235 h 1089118"/>
                <a:gd name="connsiteX7" fmla="*/ 1120902 w 1796129"/>
                <a:gd name="connsiteY7" fmla="*/ 998759 h 1089118"/>
                <a:gd name="connsiteX8" fmla="*/ 575120 w 1796129"/>
                <a:gd name="connsiteY8" fmla="*/ 447166 h 1089118"/>
                <a:gd name="connsiteX9" fmla="*/ 597408 w 1796129"/>
                <a:gd name="connsiteY9" fmla="*/ 424687 h 1089118"/>
                <a:gd name="connsiteX10" fmla="*/ 596932 w 1796129"/>
                <a:gd name="connsiteY10" fmla="*/ 424211 h 1089118"/>
                <a:gd name="connsiteX11" fmla="*/ 663607 w 1796129"/>
                <a:gd name="connsiteY11" fmla="*/ 389921 h 1089118"/>
                <a:gd name="connsiteX12" fmla="*/ 701897 w 1796129"/>
                <a:gd name="connsiteY12" fmla="*/ 400017 h 1089118"/>
                <a:gd name="connsiteX13" fmla="*/ 701612 w 1796129"/>
                <a:gd name="connsiteY13" fmla="*/ 400303 h 1089118"/>
                <a:gd name="connsiteX14" fmla="*/ 1027462 w 1796129"/>
                <a:gd name="connsiteY14" fmla="*/ 729963 h 1089118"/>
                <a:gd name="connsiteX15" fmla="*/ 1029081 w 1796129"/>
                <a:gd name="connsiteY15" fmla="*/ 728344 h 1089118"/>
                <a:gd name="connsiteX16" fmla="*/ 1130237 w 1796129"/>
                <a:gd name="connsiteY16" fmla="*/ 771778 h 1089118"/>
                <a:gd name="connsiteX17" fmla="*/ 1248632 w 1796129"/>
                <a:gd name="connsiteY17" fmla="*/ 713866 h 1089118"/>
                <a:gd name="connsiteX18" fmla="*/ 1608296 w 1796129"/>
                <a:gd name="connsiteY18" fmla="*/ 354012 h 1089118"/>
                <a:gd name="connsiteX19" fmla="*/ 1310735 w 1796129"/>
                <a:gd name="connsiteY19" fmla="*/ 40925 h 1089118"/>
                <a:gd name="connsiteX20" fmla="*/ 1207675 w 1796129"/>
                <a:gd name="connsiteY20" fmla="*/ 158 h 1089118"/>
                <a:gd name="connsiteX21" fmla="*/ 1098899 w 1796129"/>
                <a:gd name="connsiteY21" fmla="*/ 23589 h 1089118"/>
                <a:gd name="connsiteX22" fmla="*/ 1015270 w 1796129"/>
                <a:gd name="connsiteY22" fmla="*/ 158 h 1089118"/>
                <a:gd name="connsiteX23" fmla="*/ 906399 w 1796129"/>
                <a:gd name="connsiteY23" fmla="*/ 23589 h 1089118"/>
                <a:gd name="connsiteX24" fmla="*/ 822770 w 1796129"/>
                <a:gd name="connsiteY24" fmla="*/ 158 h 1089118"/>
                <a:gd name="connsiteX25" fmla="*/ 709613 w 1796129"/>
                <a:gd name="connsiteY25" fmla="*/ 26352 h 1089118"/>
                <a:gd name="connsiteX26" fmla="*/ 622078 w 1796129"/>
                <a:gd name="connsiteY26" fmla="*/ 158 h 1089118"/>
                <a:gd name="connsiteX27" fmla="*/ 608743 w 1796129"/>
                <a:gd name="connsiteY27" fmla="*/ 63 h 1089118"/>
                <a:gd name="connsiteX28" fmla="*/ 595408 w 1796129"/>
                <a:gd name="connsiteY28" fmla="*/ 158 h 1089118"/>
                <a:gd name="connsiteX29" fmla="*/ 492347 w 1796129"/>
                <a:gd name="connsiteY29" fmla="*/ 40925 h 1089118"/>
                <a:gd name="connsiteX30" fmla="*/ 0 w 1796129"/>
                <a:gd name="connsiteY30" fmla="*/ 541654 h 1089118"/>
                <a:gd name="connsiteX31" fmla="*/ 49530 w 1796129"/>
                <a:gd name="connsiteY31" fmla="*/ 591470 h 1089118"/>
                <a:gd name="connsiteX32" fmla="*/ 542258 w 1796129"/>
                <a:gd name="connsiteY32" fmla="*/ 90360 h 1089118"/>
                <a:gd name="connsiteX33" fmla="*/ 541782 w 1796129"/>
                <a:gd name="connsiteY33" fmla="*/ 89883 h 1089118"/>
                <a:gd name="connsiteX34" fmla="*/ 568833 w 1796129"/>
                <a:gd name="connsiteY34" fmla="*/ 73310 h 1089118"/>
                <a:gd name="connsiteX35" fmla="*/ 608838 w 1796129"/>
                <a:gd name="connsiteY35" fmla="*/ 66071 h 1089118"/>
                <a:gd name="connsiteX36" fmla="*/ 648748 w 1796129"/>
                <a:gd name="connsiteY36" fmla="*/ 73310 h 1089118"/>
                <a:gd name="connsiteX37" fmla="*/ 675799 w 1796129"/>
                <a:gd name="connsiteY37" fmla="*/ 89883 h 1089118"/>
                <a:gd name="connsiteX38" fmla="*/ 675323 w 1796129"/>
                <a:gd name="connsiteY38" fmla="*/ 90360 h 1089118"/>
                <a:gd name="connsiteX39" fmla="*/ 1221105 w 1796129"/>
                <a:gd name="connsiteY39" fmla="*/ 641952 h 1089118"/>
                <a:gd name="connsiteX40" fmla="*/ 1198817 w 1796129"/>
                <a:gd name="connsiteY40" fmla="*/ 664431 h 1089118"/>
                <a:gd name="connsiteX41" fmla="*/ 1199293 w 1796129"/>
                <a:gd name="connsiteY41" fmla="*/ 664908 h 1089118"/>
                <a:gd name="connsiteX42" fmla="*/ 1132618 w 1796129"/>
                <a:gd name="connsiteY42" fmla="*/ 699198 h 1089118"/>
                <a:gd name="connsiteX43" fmla="*/ 1065371 w 1796129"/>
                <a:gd name="connsiteY43" fmla="*/ 664908 h 1089118"/>
                <a:gd name="connsiteX44" fmla="*/ 1065848 w 1796129"/>
                <a:gd name="connsiteY44" fmla="*/ 664431 h 1089118"/>
                <a:gd name="connsiteX45" fmla="*/ 780479 w 1796129"/>
                <a:gd name="connsiteY45" fmla="*/ 375252 h 1089118"/>
                <a:gd name="connsiteX46" fmla="*/ 666083 w 1796129"/>
                <a:gd name="connsiteY46" fmla="*/ 317340 h 1089118"/>
                <a:gd name="connsiteX47" fmla="*/ 547688 w 1796129"/>
                <a:gd name="connsiteY47" fmla="*/ 375252 h 1089118"/>
                <a:gd name="connsiteX48" fmla="*/ 188024 w 1796129"/>
                <a:gd name="connsiteY48" fmla="*/ 735107 h 1089118"/>
                <a:gd name="connsiteX49" fmla="*/ 485489 w 1796129"/>
                <a:gd name="connsiteY49" fmla="*/ 1048194 h 1089118"/>
                <a:gd name="connsiteX50" fmla="*/ 588550 w 1796129"/>
                <a:gd name="connsiteY50" fmla="*/ 1088961 h 1089118"/>
                <a:gd name="connsiteX51" fmla="*/ 697325 w 1796129"/>
                <a:gd name="connsiteY51" fmla="*/ 1065529 h 1089118"/>
                <a:gd name="connsiteX52" fmla="*/ 780955 w 1796129"/>
                <a:gd name="connsiteY52" fmla="*/ 1088961 h 1089118"/>
                <a:gd name="connsiteX53" fmla="*/ 889730 w 1796129"/>
                <a:gd name="connsiteY53" fmla="*/ 1065529 h 1089118"/>
                <a:gd name="connsiteX54" fmla="*/ 973360 w 1796129"/>
                <a:gd name="connsiteY54" fmla="*/ 1088961 h 1089118"/>
                <a:gd name="connsiteX55" fmla="*/ 1086517 w 1796129"/>
                <a:gd name="connsiteY55" fmla="*/ 1062767 h 1089118"/>
                <a:gd name="connsiteX56" fmla="*/ 1174052 w 1796129"/>
                <a:gd name="connsiteY56" fmla="*/ 1088961 h 1089118"/>
                <a:gd name="connsiteX57" fmla="*/ 1187387 w 1796129"/>
                <a:gd name="connsiteY57" fmla="*/ 1089056 h 1089118"/>
                <a:gd name="connsiteX58" fmla="*/ 1200722 w 1796129"/>
                <a:gd name="connsiteY58" fmla="*/ 1088961 h 1089118"/>
                <a:gd name="connsiteX59" fmla="*/ 1303782 w 1796129"/>
                <a:gd name="connsiteY59" fmla="*/ 1048194 h 1089118"/>
                <a:gd name="connsiteX60" fmla="*/ 1796129 w 1796129"/>
                <a:gd name="connsiteY60" fmla="*/ 547464 h 1089118"/>
                <a:gd name="connsiteX61" fmla="*/ 1746694 w 1796129"/>
                <a:gd name="connsiteY61" fmla="*/ 497649 h 1089118"/>
                <a:gd name="connsiteX62" fmla="*/ 1204627 w 1796129"/>
                <a:gd name="connsiteY62" fmla="*/ 66357 h 1089118"/>
                <a:gd name="connsiteX63" fmla="*/ 1261301 w 1796129"/>
                <a:gd name="connsiteY63" fmla="*/ 89883 h 1089118"/>
                <a:gd name="connsiteX64" fmla="*/ 1260824 w 1796129"/>
                <a:gd name="connsiteY64" fmla="*/ 90360 h 1089118"/>
                <a:gd name="connsiteX65" fmla="*/ 1317879 w 1796129"/>
                <a:gd name="connsiteY65" fmla="*/ 147795 h 1089118"/>
                <a:gd name="connsiteX66" fmla="*/ 1325975 w 1796129"/>
                <a:gd name="connsiteY66" fmla="*/ 155987 h 1089118"/>
                <a:gd name="connsiteX67" fmla="*/ 1514189 w 1796129"/>
                <a:gd name="connsiteY67" fmla="*/ 345725 h 1089118"/>
                <a:gd name="connsiteX68" fmla="*/ 1467517 w 1796129"/>
                <a:gd name="connsiteY68" fmla="*/ 392874 h 1089118"/>
                <a:gd name="connsiteX69" fmla="*/ 1151477 w 1796129"/>
                <a:gd name="connsiteY69" fmla="*/ 74358 h 1089118"/>
                <a:gd name="connsiteX70" fmla="*/ 1204627 w 1796129"/>
                <a:gd name="connsiteY70" fmla="*/ 66357 h 1089118"/>
                <a:gd name="connsiteX71" fmla="*/ 1012127 w 1796129"/>
                <a:gd name="connsiteY71" fmla="*/ 66357 h 1089118"/>
                <a:gd name="connsiteX72" fmla="*/ 1068800 w 1796129"/>
                <a:gd name="connsiteY72" fmla="*/ 89883 h 1089118"/>
                <a:gd name="connsiteX73" fmla="*/ 1068324 w 1796129"/>
                <a:gd name="connsiteY73" fmla="*/ 90360 h 1089118"/>
                <a:gd name="connsiteX74" fmla="*/ 1125379 w 1796129"/>
                <a:gd name="connsiteY74" fmla="*/ 147795 h 1089118"/>
                <a:gd name="connsiteX75" fmla="*/ 1133475 w 1796129"/>
                <a:gd name="connsiteY75" fmla="*/ 155987 h 1089118"/>
                <a:gd name="connsiteX76" fmla="*/ 1418082 w 1796129"/>
                <a:gd name="connsiteY76" fmla="*/ 442880 h 1089118"/>
                <a:gd name="connsiteX77" fmla="*/ 1371410 w 1796129"/>
                <a:gd name="connsiteY77" fmla="*/ 490029 h 1089118"/>
                <a:gd name="connsiteX78" fmla="*/ 958977 w 1796129"/>
                <a:gd name="connsiteY78" fmla="*/ 74358 h 1089118"/>
                <a:gd name="connsiteX79" fmla="*/ 1012127 w 1796129"/>
                <a:gd name="connsiteY79" fmla="*/ 66357 h 1089118"/>
                <a:gd name="connsiteX80" fmla="*/ 760667 w 1796129"/>
                <a:gd name="connsiteY80" fmla="*/ 76834 h 1089118"/>
                <a:gd name="connsiteX81" fmla="*/ 819722 w 1796129"/>
                <a:gd name="connsiteY81" fmla="*/ 66357 h 1089118"/>
                <a:gd name="connsiteX82" fmla="*/ 876395 w 1796129"/>
                <a:gd name="connsiteY82" fmla="*/ 89883 h 1089118"/>
                <a:gd name="connsiteX83" fmla="*/ 875919 w 1796129"/>
                <a:gd name="connsiteY83" fmla="*/ 90360 h 1089118"/>
                <a:gd name="connsiteX84" fmla="*/ 932974 w 1796129"/>
                <a:gd name="connsiteY84" fmla="*/ 147795 h 1089118"/>
                <a:gd name="connsiteX85" fmla="*/ 941070 w 1796129"/>
                <a:gd name="connsiteY85" fmla="*/ 155987 h 1089118"/>
                <a:gd name="connsiteX86" fmla="*/ 1322070 w 1796129"/>
                <a:gd name="connsiteY86" fmla="*/ 539940 h 1089118"/>
                <a:gd name="connsiteX87" fmla="*/ 1270540 w 1796129"/>
                <a:gd name="connsiteY87" fmla="*/ 591946 h 1089118"/>
                <a:gd name="connsiteX88" fmla="*/ 760667 w 1796129"/>
                <a:gd name="connsiteY88" fmla="*/ 76834 h 1089118"/>
                <a:gd name="connsiteX89" fmla="*/ 591598 w 1796129"/>
                <a:gd name="connsiteY89" fmla="*/ 1022762 h 1089118"/>
                <a:gd name="connsiteX90" fmla="*/ 534924 w 1796129"/>
                <a:gd name="connsiteY90" fmla="*/ 999235 h 1089118"/>
                <a:gd name="connsiteX91" fmla="*/ 535400 w 1796129"/>
                <a:gd name="connsiteY91" fmla="*/ 998759 h 1089118"/>
                <a:gd name="connsiteX92" fmla="*/ 478346 w 1796129"/>
                <a:gd name="connsiteY92" fmla="*/ 941323 h 1089118"/>
                <a:gd name="connsiteX93" fmla="*/ 470249 w 1796129"/>
                <a:gd name="connsiteY93" fmla="*/ 933132 h 1089118"/>
                <a:gd name="connsiteX94" fmla="*/ 282035 w 1796129"/>
                <a:gd name="connsiteY94" fmla="*/ 743394 h 1089118"/>
                <a:gd name="connsiteX95" fmla="*/ 328708 w 1796129"/>
                <a:gd name="connsiteY95" fmla="*/ 696245 h 1089118"/>
                <a:gd name="connsiteX96" fmla="*/ 644747 w 1796129"/>
                <a:gd name="connsiteY96" fmla="*/ 1014761 h 1089118"/>
                <a:gd name="connsiteX97" fmla="*/ 591598 w 1796129"/>
                <a:gd name="connsiteY97" fmla="*/ 1022762 h 1089118"/>
                <a:gd name="connsiteX98" fmla="*/ 784098 w 1796129"/>
                <a:gd name="connsiteY98" fmla="*/ 1022762 h 1089118"/>
                <a:gd name="connsiteX99" fmla="*/ 727424 w 1796129"/>
                <a:gd name="connsiteY99" fmla="*/ 999235 h 1089118"/>
                <a:gd name="connsiteX100" fmla="*/ 727901 w 1796129"/>
                <a:gd name="connsiteY100" fmla="*/ 998759 h 1089118"/>
                <a:gd name="connsiteX101" fmla="*/ 670846 w 1796129"/>
                <a:gd name="connsiteY101" fmla="*/ 941323 h 1089118"/>
                <a:gd name="connsiteX102" fmla="*/ 662750 w 1796129"/>
                <a:gd name="connsiteY102" fmla="*/ 933132 h 1089118"/>
                <a:gd name="connsiteX103" fmla="*/ 378143 w 1796129"/>
                <a:gd name="connsiteY103" fmla="*/ 646239 h 1089118"/>
                <a:gd name="connsiteX104" fmla="*/ 424815 w 1796129"/>
                <a:gd name="connsiteY104" fmla="*/ 599090 h 1089118"/>
                <a:gd name="connsiteX105" fmla="*/ 837248 w 1796129"/>
                <a:gd name="connsiteY105" fmla="*/ 1014761 h 1089118"/>
                <a:gd name="connsiteX106" fmla="*/ 784098 w 1796129"/>
                <a:gd name="connsiteY106" fmla="*/ 1022762 h 1089118"/>
                <a:gd name="connsiteX107" fmla="*/ 976503 w 1796129"/>
                <a:gd name="connsiteY107" fmla="*/ 1022762 h 1089118"/>
                <a:gd name="connsiteX108" fmla="*/ 919829 w 1796129"/>
                <a:gd name="connsiteY108" fmla="*/ 999235 h 1089118"/>
                <a:gd name="connsiteX109" fmla="*/ 920306 w 1796129"/>
                <a:gd name="connsiteY109" fmla="*/ 998759 h 1089118"/>
                <a:gd name="connsiteX110" fmla="*/ 863251 w 1796129"/>
                <a:gd name="connsiteY110" fmla="*/ 941323 h 1089118"/>
                <a:gd name="connsiteX111" fmla="*/ 855155 w 1796129"/>
                <a:gd name="connsiteY111" fmla="*/ 933132 h 1089118"/>
                <a:gd name="connsiteX112" fmla="*/ 474155 w 1796129"/>
                <a:gd name="connsiteY112" fmla="*/ 549179 h 1089118"/>
                <a:gd name="connsiteX113" fmla="*/ 525685 w 1796129"/>
                <a:gd name="connsiteY113" fmla="*/ 497077 h 1089118"/>
                <a:gd name="connsiteX114" fmla="*/ 1035558 w 1796129"/>
                <a:gd name="connsiteY114" fmla="*/ 1012380 h 1089118"/>
                <a:gd name="connsiteX115" fmla="*/ 976503 w 1796129"/>
                <a:gd name="connsiteY115" fmla="*/ 1022762 h 10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796129" h="1089118">
                  <a:moveTo>
                    <a:pt x="1746694" y="497649"/>
                  </a:moveTo>
                  <a:lnTo>
                    <a:pt x="1253966" y="998759"/>
                  </a:lnTo>
                  <a:lnTo>
                    <a:pt x="1254443" y="999235"/>
                  </a:lnTo>
                  <a:cubicBezTo>
                    <a:pt x="1246251" y="1006188"/>
                    <a:pt x="1237202" y="1011808"/>
                    <a:pt x="1227392" y="1015809"/>
                  </a:cubicBezTo>
                  <a:cubicBezTo>
                    <a:pt x="1214438" y="1020380"/>
                    <a:pt x="1200817" y="1022857"/>
                    <a:pt x="1187482" y="1023047"/>
                  </a:cubicBezTo>
                  <a:cubicBezTo>
                    <a:pt x="1174052" y="1022857"/>
                    <a:pt x="1160431" y="1020380"/>
                    <a:pt x="1147477" y="1015809"/>
                  </a:cubicBezTo>
                  <a:cubicBezTo>
                    <a:pt x="1137666" y="1011808"/>
                    <a:pt x="1128617" y="1006188"/>
                    <a:pt x="1120426" y="999235"/>
                  </a:cubicBezTo>
                  <a:lnTo>
                    <a:pt x="1120902" y="998759"/>
                  </a:lnTo>
                  <a:lnTo>
                    <a:pt x="575120" y="447166"/>
                  </a:lnTo>
                  <a:lnTo>
                    <a:pt x="597408" y="424687"/>
                  </a:lnTo>
                  <a:lnTo>
                    <a:pt x="596932" y="424211"/>
                  </a:lnTo>
                  <a:cubicBezTo>
                    <a:pt x="605123" y="417258"/>
                    <a:pt x="632365" y="389159"/>
                    <a:pt x="663607" y="389921"/>
                  </a:cubicBezTo>
                  <a:cubicBezTo>
                    <a:pt x="678847" y="389254"/>
                    <a:pt x="691610" y="393921"/>
                    <a:pt x="701897" y="400017"/>
                  </a:cubicBezTo>
                  <a:lnTo>
                    <a:pt x="701612" y="400303"/>
                  </a:lnTo>
                  <a:lnTo>
                    <a:pt x="1027462" y="729963"/>
                  </a:lnTo>
                  <a:lnTo>
                    <a:pt x="1029081" y="728344"/>
                  </a:lnTo>
                  <a:cubicBezTo>
                    <a:pt x="1050417" y="749775"/>
                    <a:pt x="1081850" y="771778"/>
                    <a:pt x="1130237" y="771778"/>
                  </a:cubicBezTo>
                  <a:cubicBezTo>
                    <a:pt x="1176052" y="771778"/>
                    <a:pt x="1227773" y="738441"/>
                    <a:pt x="1248632" y="713866"/>
                  </a:cubicBezTo>
                  <a:lnTo>
                    <a:pt x="1608296" y="354012"/>
                  </a:lnTo>
                  <a:lnTo>
                    <a:pt x="1310735" y="40925"/>
                  </a:lnTo>
                  <a:cubicBezTo>
                    <a:pt x="1289780" y="16350"/>
                    <a:pt x="1255395" y="1872"/>
                    <a:pt x="1207675" y="158"/>
                  </a:cubicBezTo>
                  <a:cubicBezTo>
                    <a:pt x="1173671" y="-1080"/>
                    <a:pt x="1129570" y="4825"/>
                    <a:pt x="1098899" y="23589"/>
                  </a:cubicBezTo>
                  <a:cubicBezTo>
                    <a:pt x="1078230" y="9588"/>
                    <a:pt x="1050417" y="1396"/>
                    <a:pt x="1015270" y="158"/>
                  </a:cubicBezTo>
                  <a:cubicBezTo>
                    <a:pt x="981266" y="-1080"/>
                    <a:pt x="937165" y="4825"/>
                    <a:pt x="906399" y="23589"/>
                  </a:cubicBezTo>
                  <a:cubicBezTo>
                    <a:pt x="885730" y="9588"/>
                    <a:pt x="857917" y="1396"/>
                    <a:pt x="822770" y="158"/>
                  </a:cubicBezTo>
                  <a:cubicBezTo>
                    <a:pt x="787146" y="-1080"/>
                    <a:pt x="740378" y="5397"/>
                    <a:pt x="709613" y="26352"/>
                  </a:cubicBezTo>
                  <a:cubicBezTo>
                    <a:pt x="688658" y="10635"/>
                    <a:pt x="659511" y="1491"/>
                    <a:pt x="622078" y="158"/>
                  </a:cubicBezTo>
                  <a:cubicBezTo>
                    <a:pt x="617792" y="-33"/>
                    <a:pt x="613315" y="-33"/>
                    <a:pt x="608743" y="63"/>
                  </a:cubicBezTo>
                  <a:cubicBezTo>
                    <a:pt x="604171" y="-33"/>
                    <a:pt x="599694" y="63"/>
                    <a:pt x="595408" y="158"/>
                  </a:cubicBezTo>
                  <a:cubicBezTo>
                    <a:pt x="547688" y="1872"/>
                    <a:pt x="513207" y="16350"/>
                    <a:pt x="492347" y="40925"/>
                  </a:cubicBezTo>
                  <a:lnTo>
                    <a:pt x="0" y="541654"/>
                  </a:lnTo>
                  <a:lnTo>
                    <a:pt x="49530" y="591470"/>
                  </a:lnTo>
                  <a:lnTo>
                    <a:pt x="542258" y="90360"/>
                  </a:lnTo>
                  <a:lnTo>
                    <a:pt x="541782" y="89883"/>
                  </a:lnTo>
                  <a:cubicBezTo>
                    <a:pt x="549878" y="82930"/>
                    <a:pt x="559022" y="77310"/>
                    <a:pt x="568833" y="73310"/>
                  </a:cubicBezTo>
                  <a:cubicBezTo>
                    <a:pt x="581787" y="68738"/>
                    <a:pt x="595408" y="66261"/>
                    <a:pt x="608838" y="66071"/>
                  </a:cubicBezTo>
                  <a:cubicBezTo>
                    <a:pt x="622268" y="66261"/>
                    <a:pt x="635889" y="68738"/>
                    <a:pt x="648748" y="73310"/>
                  </a:cubicBezTo>
                  <a:cubicBezTo>
                    <a:pt x="658559" y="77310"/>
                    <a:pt x="667607" y="82930"/>
                    <a:pt x="675799" y="89883"/>
                  </a:cubicBezTo>
                  <a:lnTo>
                    <a:pt x="675323" y="90360"/>
                  </a:lnTo>
                  <a:lnTo>
                    <a:pt x="1221105" y="641952"/>
                  </a:lnTo>
                  <a:lnTo>
                    <a:pt x="1198817" y="664431"/>
                  </a:lnTo>
                  <a:lnTo>
                    <a:pt x="1199293" y="664908"/>
                  </a:lnTo>
                  <a:cubicBezTo>
                    <a:pt x="1191197" y="671861"/>
                    <a:pt x="1163955" y="699960"/>
                    <a:pt x="1132618" y="699198"/>
                  </a:cubicBezTo>
                  <a:cubicBezTo>
                    <a:pt x="1095947" y="700722"/>
                    <a:pt x="1073468" y="671861"/>
                    <a:pt x="1065371" y="664908"/>
                  </a:cubicBezTo>
                  <a:lnTo>
                    <a:pt x="1065848" y="664431"/>
                  </a:lnTo>
                  <a:lnTo>
                    <a:pt x="780479" y="375252"/>
                  </a:lnTo>
                  <a:cubicBezTo>
                    <a:pt x="759619" y="350678"/>
                    <a:pt x="725615" y="317340"/>
                    <a:pt x="666083" y="317340"/>
                  </a:cubicBezTo>
                  <a:cubicBezTo>
                    <a:pt x="620268" y="317340"/>
                    <a:pt x="568547" y="350678"/>
                    <a:pt x="547688" y="375252"/>
                  </a:cubicBezTo>
                  <a:lnTo>
                    <a:pt x="188024" y="735107"/>
                  </a:lnTo>
                  <a:lnTo>
                    <a:pt x="485489" y="1048194"/>
                  </a:lnTo>
                  <a:cubicBezTo>
                    <a:pt x="506444" y="1072768"/>
                    <a:pt x="540830" y="1087246"/>
                    <a:pt x="588550" y="1088961"/>
                  </a:cubicBezTo>
                  <a:cubicBezTo>
                    <a:pt x="622554" y="1090199"/>
                    <a:pt x="666655" y="1084293"/>
                    <a:pt x="697325" y="1065529"/>
                  </a:cubicBezTo>
                  <a:cubicBezTo>
                    <a:pt x="717995" y="1079531"/>
                    <a:pt x="745808" y="1087722"/>
                    <a:pt x="780955" y="1088961"/>
                  </a:cubicBezTo>
                  <a:cubicBezTo>
                    <a:pt x="814959" y="1090199"/>
                    <a:pt x="859060" y="1084293"/>
                    <a:pt x="889730" y="1065529"/>
                  </a:cubicBezTo>
                  <a:cubicBezTo>
                    <a:pt x="910400" y="1079531"/>
                    <a:pt x="938213" y="1087722"/>
                    <a:pt x="973360" y="1088961"/>
                  </a:cubicBezTo>
                  <a:cubicBezTo>
                    <a:pt x="1008983" y="1090199"/>
                    <a:pt x="1055751" y="1083722"/>
                    <a:pt x="1086517" y="1062767"/>
                  </a:cubicBezTo>
                  <a:cubicBezTo>
                    <a:pt x="1107472" y="1078483"/>
                    <a:pt x="1136618" y="1087627"/>
                    <a:pt x="1174052" y="1088961"/>
                  </a:cubicBezTo>
                  <a:cubicBezTo>
                    <a:pt x="1178338" y="1089151"/>
                    <a:pt x="1182815" y="1089151"/>
                    <a:pt x="1187387" y="1089056"/>
                  </a:cubicBezTo>
                  <a:cubicBezTo>
                    <a:pt x="1191959" y="1089151"/>
                    <a:pt x="1196435" y="1089056"/>
                    <a:pt x="1200722" y="1088961"/>
                  </a:cubicBezTo>
                  <a:cubicBezTo>
                    <a:pt x="1248442" y="1087246"/>
                    <a:pt x="1282922" y="1072768"/>
                    <a:pt x="1303782" y="1048194"/>
                  </a:cubicBezTo>
                  <a:lnTo>
                    <a:pt x="1796129" y="547464"/>
                  </a:lnTo>
                  <a:lnTo>
                    <a:pt x="1746694" y="497649"/>
                  </a:lnTo>
                  <a:close/>
                  <a:moveTo>
                    <a:pt x="1204627" y="66357"/>
                  </a:moveTo>
                  <a:cubicBezTo>
                    <a:pt x="1225963" y="67881"/>
                    <a:pt x="1245394" y="76358"/>
                    <a:pt x="1261301" y="89883"/>
                  </a:cubicBezTo>
                  <a:lnTo>
                    <a:pt x="1260824" y="90360"/>
                  </a:lnTo>
                  <a:lnTo>
                    <a:pt x="1317879" y="147795"/>
                  </a:lnTo>
                  <a:lnTo>
                    <a:pt x="1325975" y="155987"/>
                  </a:lnTo>
                  <a:lnTo>
                    <a:pt x="1514189" y="345725"/>
                  </a:lnTo>
                  <a:lnTo>
                    <a:pt x="1467517" y="392874"/>
                  </a:lnTo>
                  <a:lnTo>
                    <a:pt x="1151477" y="74358"/>
                  </a:lnTo>
                  <a:cubicBezTo>
                    <a:pt x="1168527" y="67976"/>
                    <a:pt x="1187006" y="65118"/>
                    <a:pt x="1204627" y="66357"/>
                  </a:cubicBezTo>
                  <a:close/>
                  <a:moveTo>
                    <a:pt x="1012127" y="66357"/>
                  </a:moveTo>
                  <a:cubicBezTo>
                    <a:pt x="1033463" y="67881"/>
                    <a:pt x="1052894" y="76358"/>
                    <a:pt x="1068800" y="89883"/>
                  </a:cubicBezTo>
                  <a:lnTo>
                    <a:pt x="1068324" y="90360"/>
                  </a:lnTo>
                  <a:lnTo>
                    <a:pt x="1125379" y="147795"/>
                  </a:lnTo>
                  <a:lnTo>
                    <a:pt x="1133475" y="155987"/>
                  </a:lnTo>
                  <a:lnTo>
                    <a:pt x="1418082" y="442880"/>
                  </a:lnTo>
                  <a:lnTo>
                    <a:pt x="1371410" y="490029"/>
                  </a:lnTo>
                  <a:lnTo>
                    <a:pt x="958977" y="74358"/>
                  </a:lnTo>
                  <a:cubicBezTo>
                    <a:pt x="976122" y="67976"/>
                    <a:pt x="994505" y="65118"/>
                    <a:pt x="1012127" y="66357"/>
                  </a:cubicBezTo>
                  <a:close/>
                  <a:moveTo>
                    <a:pt x="760667" y="76834"/>
                  </a:moveTo>
                  <a:cubicBezTo>
                    <a:pt x="779336" y="68643"/>
                    <a:pt x="800005" y="65023"/>
                    <a:pt x="819722" y="66357"/>
                  </a:cubicBezTo>
                  <a:cubicBezTo>
                    <a:pt x="841058" y="67881"/>
                    <a:pt x="860488" y="76358"/>
                    <a:pt x="876395" y="89883"/>
                  </a:cubicBezTo>
                  <a:lnTo>
                    <a:pt x="875919" y="90360"/>
                  </a:lnTo>
                  <a:lnTo>
                    <a:pt x="932974" y="147795"/>
                  </a:lnTo>
                  <a:lnTo>
                    <a:pt x="941070" y="155987"/>
                  </a:lnTo>
                  <a:lnTo>
                    <a:pt x="1322070" y="539940"/>
                  </a:lnTo>
                  <a:lnTo>
                    <a:pt x="1270540" y="591946"/>
                  </a:lnTo>
                  <a:lnTo>
                    <a:pt x="760667" y="76834"/>
                  </a:lnTo>
                  <a:close/>
                  <a:moveTo>
                    <a:pt x="591598" y="1022762"/>
                  </a:moveTo>
                  <a:cubicBezTo>
                    <a:pt x="570262" y="1021238"/>
                    <a:pt x="550831" y="1012761"/>
                    <a:pt x="534924" y="999235"/>
                  </a:cubicBezTo>
                  <a:lnTo>
                    <a:pt x="535400" y="998759"/>
                  </a:lnTo>
                  <a:lnTo>
                    <a:pt x="478346" y="941323"/>
                  </a:lnTo>
                  <a:lnTo>
                    <a:pt x="470249" y="933132"/>
                  </a:lnTo>
                  <a:lnTo>
                    <a:pt x="282035" y="743394"/>
                  </a:lnTo>
                  <a:lnTo>
                    <a:pt x="328708" y="696245"/>
                  </a:lnTo>
                  <a:lnTo>
                    <a:pt x="644747" y="1014761"/>
                  </a:lnTo>
                  <a:cubicBezTo>
                    <a:pt x="627698" y="1021238"/>
                    <a:pt x="609314" y="1024000"/>
                    <a:pt x="591598" y="1022762"/>
                  </a:cubicBezTo>
                  <a:close/>
                  <a:moveTo>
                    <a:pt x="784098" y="1022762"/>
                  </a:moveTo>
                  <a:cubicBezTo>
                    <a:pt x="762762" y="1021238"/>
                    <a:pt x="743331" y="1012761"/>
                    <a:pt x="727424" y="999235"/>
                  </a:cubicBezTo>
                  <a:lnTo>
                    <a:pt x="727901" y="998759"/>
                  </a:lnTo>
                  <a:lnTo>
                    <a:pt x="670846" y="941323"/>
                  </a:lnTo>
                  <a:lnTo>
                    <a:pt x="662750" y="933132"/>
                  </a:lnTo>
                  <a:lnTo>
                    <a:pt x="378143" y="646239"/>
                  </a:lnTo>
                  <a:lnTo>
                    <a:pt x="424815" y="599090"/>
                  </a:lnTo>
                  <a:lnTo>
                    <a:pt x="837248" y="1014761"/>
                  </a:lnTo>
                  <a:cubicBezTo>
                    <a:pt x="820103" y="1021238"/>
                    <a:pt x="801719" y="1024000"/>
                    <a:pt x="784098" y="1022762"/>
                  </a:cubicBezTo>
                  <a:close/>
                  <a:moveTo>
                    <a:pt x="976503" y="1022762"/>
                  </a:moveTo>
                  <a:cubicBezTo>
                    <a:pt x="955167" y="1021238"/>
                    <a:pt x="935736" y="1012761"/>
                    <a:pt x="919829" y="999235"/>
                  </a:cubicBezTo>
                  <a:lnTo>
                    <a:pt x="920306" y="998759"/>
                  </a:lnTo>
                  <a:lnTo>
                    <a:pt x="863251" y="941323"/>
                  </a:lnTo>
                  <a:lnTo>
                    <a:pt x="855155" y="933132"/>
                  </a:lnTo>
                  <a:lnTo>
                    <a:pt x="474155" y="549179"/>
                  </a:lnTo>
                  <a:lnTo>
                    <a:pt x="525685" y="497077"/>
                  </a:lnTo>
                  <a:lnTo>
                    <a:pt x="1035558" y="1012380"/>
                  </a:lnTo>
                  <a:cubicBezTo>
                    <a:pt x="1016889" y="1020476"/>
                    <a:pt x="996220" y="1024191"/>
                    <a:pt x="976503" y="1022762"/>
                  </a:cubicBezTo>
                  <a:close/>
                </a:path>
              </a:pathLst>
            </a:custGeom>
            <a:solidFill>
              <a:schemeClr val="accent1"/>
            </a:solidFill>
            <a:ln w="9525" cap="flat">
              <a:noFill/>
              <a:prstDash val="solid"/>
              <a:miter/>
            </a:ln>
          </p:spPr>
          <p:txBody>
            <a:bodyPr rtlCol="0" anchor="ctr"/>
            <a:lstStyle/>
            <a:p>
              <a:endParaRPr lang="en-US" b="0" i="0">
                <a:latin typeface="Arial" panose="020B0604020202020204" pitchFamily="34" charset="0"/>
              </a:endParaRPr>
            </a:p>
          </p:txBody>
        </p:sp>
        <p:grpSp>
          <p:nvGrpSpPr>
            <p:cNvPr id="3" name="Group 2">
              <a:extLst>
                <a:ext uri="{FF2B5EF4-FFF2-40B4-BE49-F238E27FC236}">
                  <a16:creationId xmlns:a16="http://schemas.microsoft.com/office/drawing/2014/main" id="{DB7F253C-B7AD-DF4F-813B-0A621D2001D5}"/>
                </a:ext>
              </a:extLst>
            </p:cNvPr>
            <p:cNvGrpSpPr/>
            <p:nvPr userDrawn="1"/>
          </p:nvGrpSpPr>
          <p:grpSpPr>
            <a:xfrm>
              <a:off x="1215214" y="6234480"/>
              <a:ext cx="1367797" cy="210040"/>
              <a:chOff x="1215214" y="6300582"/>
              <a:chExt cx="1367797" cy="210040"/>
            </a:xfrm>
            <a:solidFill>
              <a:schemeClr val="bg2"/>
            </a:solidFill>
          </p:grpSpPr>
          <p:sp>
            <p:nvSpPr>
              <p:cNvPr id="48" name="Freeform 47">
                <a:extLst>
                  <a:ext uri="{FF2B5EF4-FFF2-40B4-BE49-F238E27FC236}">
                    <a16:creationId xmlns:a16="http://schemas.microsoft.com/office/drawing/2014/main" id="{B141E0C9-5727-974F-8F04-2409BE5C4980}"/>
                  </a:ext>
                </a:extLst>
              </p:cNvPr>
              <p:cNvSpPr/>
              <p:nvPr/>
            </p:nvSpPr>
            <p:spPr>
              <a:xfrm>
                <a:off x="1216741"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90 w 199052"/>
                  <a:gd name="connsiteY3" fmla="*/ 93631 h 198405"/>
                  <a:gd name="connsiteX4" fmla="*/ 149904 w 199052"/>
                  <a:gd name="connsiteY4" fmla="*/ 91345 h 198405"/>
                  <a:gd name="connsiteX5" fmla="*/ 152190 w 199052"/>
                  <a:gd name="connsiteY5" fmla="*/ 89059 h 198405"/>
                  <a:gd name="connsiteX6" fmla="*/ 157809 w 199052"/>
                  <a:gd name="connsiteY6" fmla="*/ 89059 h 198405"/>
                  <a:gd name="connsiteX7" fmla="*/ 191337 w 199052"/>
                  <a:gd name="connsiteY7" fmla="*/ 51530 h 198405"/>
                  <a:gd name="connsiteX8" fmla="*/ 191337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7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1 w 199052"/>
                  <a:gd name="connsiteY23" fmla="*/ 198406 h 198405"/>
                  <a:gd name="connsiteX24" fmla="*/ 153618 w 199052"/>
                  <a:gd name="connsiteY24" fmla="*/ 198406 h 198405"/>
                  <a:gd name="connsiteX25" fmla="*/ 199052 w 199052"/>
                  <a:gd name="connsiteY25" fmla="*/ 151447 h 198405"/>
                  <a:gd name="connsiteX26" fmla="*/ 199052 w 199052"/>
                  <a:gd name="connsiteY26" fmla="*/ 131826 h 198405"/>
                  <a:gd name="connsiteX27" fmla="*/ 153618 w 199052"/>
                  <a:gd name="connsiteY27" fmla="*/ 93917 h 198405"/>
                  <a:gd name="connsiteX28" fmla="*/ 147522 w 199052"/>
                  <a:gd name="connsiteY28" fmla="*/ 140208 h 198405"/>
                  <a:gd name="connsiteX29" fmla="*/ 119328 w 199052"/>
                  <a:gd name="connsiteY29" fmla="*/ 165830 h 198405"/>
                  <a:gd name="connsiteX30" fmla="*/ 75132 w 199052"/>
                  <a:gd name="connsiteY30" fmla="*/ 165830 h 198405"/>
                  <a:gd name="connsiteX31" fmla="*/ 73418 w 199052"/>
                  <a:gd name="connsiteY31" fmla="*/ 165449 h 198405"/>
                  <a:gd name="connsiteX32" fmla="*/ 72465 w 199052"/>
                  <a:gd name="connsiteY32" fmla="*/ 163544 h 198405"/>
                  <a:gd name="connsiteX33" fmla="*/ 72465 w 199052"/>
                  <a:gd name="connsiteY33" fmla="*/ 35719 h 198405"/>
                  <a:gd name="connsiteX34" fmla="*/ 73227 w 199052"/>
                  <a:gd name="connsiteY34" fmla="*/ 33052 h 198405"/>
                  <a:gd name="connsiteX35" fmla="*/ 75704 w 199052"/>
                  <a:gd name="connsiteY35" fmla="*/ 32480 h 198405"/>
                  <a:gd name="connsiteX36" fmla="*/ 119328 w 199052"/>
                  <a:gd name="connsiteY36" fmla="*/ 32480 h 198405"/>
                  <a:gd name="connsiteX37" fmla="*/ 138188 w 199052"/>
                  <a:gd name="connsiteY37" fmla="*/ 49435 h 198405"/>
                  <a:gd name="connsiteX38" fmla="*/ 138188 w 199052"/>
                  <a:gd name="connsiteY38" fmla="*/ 60770 h 198405"/>
                  <a:gd name="connsiteX39" fmla="*/ 118947 w 199052"/>
                  <a:gd name="connsiteY39" fmla="*/ 79534 h 198405"/>
                  <a:gd name="connsiteX40" fmla="*/ 99135 w 199052"/>
                  <a:gd name="connsiteY40" fmla="*/ 79724 h 198405"/>
                  <a:gd name="connsiteX41" fmla="*/ 93039 w 199052"/>
                  <a:gd name="connsiteY41" fmla="*/ 85820 h 198405"/>
                  <a:gd name="connsiteX42" fmla="*/ 93039 w 199052"/>
                  <a:gd name="connsiteY42" fmla="*/ 107156 h 198405"/>
                  <a:gd name="connsiteX43" fmla="*/ 99135 w 199052"/>
                  <a:gd name="connsiteY43" fmla="*/ 113252 h 198405"/>
                  <a:gd name="connsiteX44" fmla="*/ 121329 w 199052"/>
                  <a:gd name="connsiteY44" fmla="*/ 113252 h 198405"/>
                  <a:gd name="connsiteX45" fmla="*/ 147522 w 199052"/>
                  <a:gd name="connsiteY45" fmla="*/ 131540 h 198405"/>
                  <a:gd name="connsiteX46" fmla="*/ 147522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90" y="93631"/>
                    </a:lnTo>
                    <a:cubicBezTo>
                      <a:pt x="150951" y="93631"/>
                      <a:pt x="149904" y="92583"/>
                      <a:pt x="149904" y="91345"/>
                    </a:cubicBezTo>
                    <a:cubicBezTo>
                      <a:pt x="149904" y="90106"/>
                      <a:pt x="150951" y="89059"/>
                      <a:pt x="152190" y="89059"/>
                    </a:cubicBezTo>
                    <a:lnTo>
                      <a:pt x="157809" y="89059"/>
                    </a:lnTo>
                    <a:cubicBezTo>
                      <a:pt x="176669" y="86963"/>
                      <a:pt x="191337" y="70961"/>
                      <a:pt x="191337" y="51530"/>
                    </a:cubicBezTo>
                    <a:lnTo>
                      <a:pt x="191337" y="37814"/>
                    </a:lnTo>
                    <a:cubicBezTo>
                      <a:pt x="191337" y="16954"/>
                      <a:pt x="174383" y="95"/>
                      <a:pt x="153618" y="95"/>
                    </a:cubicBezTo>
                    <a:lnTo>
                      <a:pt x="1885" y="0"/>
                    </a:lnTo>
                    <a:cubicBezTo>
                      <a:pt x="837" y="0"/>
                      <a:pt x="75" y="857"/>
                      <a:pt x="75" y="1810"/>
                    </a:cubicBezTo>
                    <a:cubicBezTo>
                      <a:pt x="75" y="1810"/>
                      <a:pt x="-20" y="25717"/>
                      <a:pt x="75" y="25717"/>
                    </a:cubicBezTo>
                    <a:cubicBezTo>
                      <a:pt x="75" y="25717"/>
                      <a:pt x="-115" y="27051"/>
                      <a:pt x="837" y="27813"/>
                    </a:cubicBezTo>
                    <a:cubicBezTo>
                      <a:pt x="1409" y="28194"/>
                      <a:pt x="3123" y="28384"/>
                      <a:pt x="3123" y="28384"/>
                    </a:cubicBezTo>
                    <a:cubicBezTo>
                      <a:pt x="10172" y="29146"/>
                      <a:pt x="21221" y="34862"/>
                      <a:pt x="21221" y="39529"/>
                    </a:cubicBezTo>
                    <a:lnTo>
                      <a:pt x="21221" y="158115"/>
                    </a:lnTo>
                    <a:cubicBezTo>
                      <a:pt x="21030"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3" y="198310"/>
                      <a:pt x="1885" y="198310"/>
                    </a:cubicBezTo>
                    <a:lnTo>
                      <a:pt x="21221" y="198310"/>
                    </a:lnTo>
                    <a:cubicBezTo>
                      <a:pt x="21792" y="198310"/>
                      <a:pt x="22364" y="198406"/>
                      <a:pt x="23031" y="198406"/>
                    </a:cubicBezTo>
                    <a:lnTo>
                      <a:pt x="153618" y="198406"/>
                    </a:lnTo>
                    <a:cubicBezTo>
                      <a:pt x="180383" y="198406"/>
                      <a:pt x="199052" y="172307"/>
                      <a:pt x="199052" y="151447"/>
                    </a:cubicBezTo>
                    <a:lnTo>
                      <a:pt x="199052" y="131826"/>
                    </a:lnTo>
                    <a:cubicBezTo>
                      <a:pt x="199148" y="110871"/>
                      <a:pt x="187337" y="93917"/>
                      <a:pt x="153618" y="93917"/>
                    </a:cubicBezTo>
                    <a:close/>
                    <a:moveTo>
                      <a:pt x="147522" y="140208"/>
                    </a:moveTo>
                    <a:cubicBezTo>
                      <a:pt x="147713" y="160115"/>
                      <a:pt x="135711" y="165830"/>
                      <a:pt x="119328" y="165830"/>
                    </a:cubicBezTo>
                    <a:lnTo>
                      <a:pt x="75132" y="165830"/>
                    </a:lnTo>
                    <a:lnTo>
                      <a:pt x="73418" y="165449"/>
                    </a:lnTo>
                    <a:cubicBezTo>
                      <a:pt x="72465" y="164497"/>
                      <a:pt x="72465" y="163544"/>
                      <a:pt x="72465" y="163544"/>
                    </a:cubicBezTo>
                    <a:lnTo>
                      <a:pt x="72465" y="35719"/>
                    </a:lnTo>
                    <a:cubicBezTo>
                      <a:pt x="72465" y="35719"/>
                      <a:pt x="72465" y="33623"/>
                      <a:pt x="73227" y="33052"/>
                    </a:cubicBezTo>
                    <a:cubicBezTo>
                      <a:pt x="73989" y="32480"/>
                      <a:pt x="75704" y="32480"/>
                      <a:pt x="75704" y="32480"/>
                    </a:cubicBezTo>
                    <a:lnTo>
                      <a:pt x="119328" y="32480"/>
                    </a:lnTo>
                    <a:cubicBezTo>
                      <a:pt x="128758" y="32480"/>
                      <a:pt x="138188" y="40100"/>
                      <a:pt x="138188" y="49435"/>
                    </a:cubicBezTo>
                    <a:lnTo>
                      <a:pt x="138188" y="60770"/>
                    </a:lnTo>
                    <a:cubicBezTo>
                      <a:pt x="138378" y="66104"/>
                      <a:pt x="130091" y="80200"/>
                      <a:pt x="118947" y="79534"/>
                    </a:cubicBezTo>
                    <a:lnTo>
                      <a:pt x="99135" y="79724"/>
                    </a:lnTo>
                    <a:cubicBezTo>
                      <a:pt x="95801" y="79724"/>
                      <a:pt x="93039" y="82487"/>
                      <a:pt x="93039" y="85820"/>
                    </a:cubicBezTo>
                    <a:lnTo>
                      <a:pt x="93039" y="107156"/>
                    </a:lnTo>
                    <a:cubicBezTo>
                      <a:pt x="93039" y="110490"/>
                      <a:pt x="95801" y="113252"/>
                      <a:pt x="99135" y="113252"/>
                    </a:cubicBezTo>
                    <a:lnTo>
                      <a:pt x="121329" y="113252"/>
                    </a:lnTo>
                    <a:cubicBezTo>
                      <a:pt x="142188" y="114491"/>
                      <a:pt x="147427" y="126397"/>
                      <a:pt x="147522" y="131540"/>
                    </a:cubicBezTo>
                    <a:lnTo>
                      <a:pt x="147522"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49" name="Freeform 48">
                <a:extLst>
                  <a:ext uri="{FF2B5EF4-FFF2-40B4-BE49-F238E27FC236}">
                    <a16:creationId xmlns:a16="http://schemas.microsoft.com/office/drawing/2014/main" id="{3BC44891-E06C-564C-94EB-D1D87D95B9FA}"/>
                  </a:ext>
                </a:extLst>
              </p:cNvPr>
              <p:cNvSpPr/>
              <p:nvPr/>
            </p:nvSpPr>
            <p:spPr>
              <a:xfrm>
                <a:off x="2417589"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89 w 199052"/>
                  <a:gd name="connsiteY3" fmla="*/ 93631 h 198405"/>
                  <a:gd name="connsiteX4" fmla="*/ 149903 w 199052"/>
                  <a:gd name="connsiteY4" fmla="*/ 91345 h 198405"/>
                  <a:gd name="connsiteX5" fmla="*/ 152189 w 199052"/>
                  <a:gd name="connsiteY5" fmla="*/ 89059 h 198405"/>
                  <a:gd name="connsiteX6" fmla="*/ 157809 w 199052"/>
                  <a:gd name="connsiteY6" fmla="*/ 89059 h 198405"/>
                  <a:gd name="connsiteX7" fmla="*/ 191338 w 199052"/>
                  <a:gd name="connsiteY7" fmla="*/ 51530 h 198405"/>
                  <a:gd name="connsiteX8" fmla="*/ 191338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8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0 w 199052"/>
                  <a:gd name="connsiteY23" fmla="*/ 198406 h 198405"/>
                  <a:gd name="connsiteX24" fmla="*/ 153618 w 199052"/>
                  <a:gd name="connsiteY24" fmla="*/ 198406 h 198405"/>
                  <a:gd name="connsiteX25" fmla="*/ 199053 w 199052"/>
                  <a:gd name="connsiteY25" fmla="*/ 151447 h 198405"/>
                  <a:gd name="connsiteX26" fmla="*/ 199053 w 199052"/>
                  <a:gd name="connsiteY26" fmla="*/ 131826 h 198405"/>
                  <a:gd name="connsiteX27" fmla="*/ 153618 w 199052"/>
                  <a:gd name="connsiteY27" fmla="*/ 93917 h 198405"/>
                  <a:gd name="connsiteX28" fmla="*/ 147427 w 199052"/>
                  <a:gd name="connsiteY28" fmla="*/ 140208 h 198405"/>
                  <a:gd name="connsiteX29" fmla="*/ 119233 w 199052"/>
                  <a:gd name="connsiteY29" fmla="*/ 165830 h 198405"/>
                  <a:gd name="connsiteX30" fmla="*/ 75037 w 199052"/>
                  <a:gd name="connsiteY30" fmla="*/ 165830 h 198405"/>
                  <a:gd name="connsiteX31" fmla="*/ 73323 w 199052"/>
                  <a:gd name="connsiteY31" fmla="*/ 165449 h 198405"/>
                  <a:gd name="connsiteX32" fmla="*/ 72370 w 199052"/>
                  <a:gd name="connsiteY32" fmla="*/ 163544 h 198405"/>
                  <a:gd name="connsiteX33" fmla="*/ 72370 w 199052"/>
                  <a:gd name="connsiteY33" fmla="*/ 35719 h 198405"/>
                  <a:gd name="connsiteX34" fmla="*/ 73132 w 199052"/>
                  <a:gd name="connsiteY34" fmla="*/ 33052 h 198405"/>
                  <a:gd name="connsiteX35" fmla="*/ 75609 w 199052"/>
                  <a:gd name="connsiteY35" fmla="*/ 32480 h 198405"/>
                  <a:gd name="connsiteX36" fmla="*/ 119233 w 199052"/>
                  <a:gd name="connsiteY36" fmla="*/ 32480 h 198405"/>
                  <a:gd name="connsiteX37" fmla="*/ 138093 w 199052"/>
                  <a:gd name="connsiteY37" fmla="*/ 49435 h 198405"/>
                  <a:gd name="connsiteX38" fmla="*/ 138093 w 199052"/>
                  <a:gd name="connsiteY38" fmla="*/ 60770 h 198405"/>
                  <a:gd name="connsiteX39" fmla="*/ 118852 w 199052"/>
                  <a:gd name="connsiteY39" fmla="*/ 79534 h 198405"/>
                  <a:gd name="connsiteX40" fmla="*/ 99040 w 199052"/>
                  <a:gd name="connsiteY40" fmla="*/ 79724 h 198405"/>
                  <a:gd name="connsiteX41" fmla="*/ 92944 w 199052"/>
                  <a:gd name="connsiteY41" fmla="*/ 85820 h 198405"/>
                  <a:gd name="connsiteX42" fmla="*/ 92944 w 199052"/>
                  <a:gd name="connsiteY42" fmla="*/ 107156 h 198405"/>
                  <a:gd name="connsiteX43" fmla="*/ 99040 w 199052"/>
                  <a:gd name="connsiteY43" fmla="*/ 113252 h 198405"/>
                  <a:gd name="connsiteX44" fmla="*/ 121233 w 199052"/>
                  <a:gd name="connsiteY44" fmla="*/ 113252 h 198405"/>
                  <a:gd name="connsiteX45" fmla="*/ 147427 w 199052"/>
                  <a:gd name="connsiteY45" fmla="*/ 131540 h 198405"/>
                  <a:gd name="connsiteX46" fmla="*/ 147427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89" y="93631"/>
                    </a:lnTo>
                    <a:cubicBezTo>
                      <a:pt x="150951" y="93631"/>
                      <a:pt x="149903" y="92583"/>
                      <a:pt x="149903" y="91345"/>
                    </a:cubicBezTo>
                    <a:cubicBezTo>
                      <a:pt x="149903" y="90106"/>
                      <a:pt x="150951" y="89059"/>
                      <a:pt x="152189" y="89059"/>
                    </a:cubicBezTo>
                    <a:lnTo>
                      <a:pt x="157809" y="89059"/>
                    </a:lnTo>
                    <a:cubicBezTo>
                      <a:pt x="176669" y="86963"/>
                      <a:pt x="191338" y="70961"/>
                      <a:pt x="191338" y="51530"/>
                    </a:cubicBezTo>
                    <a:lnTo>
                      <a:pt x="191338" y="37814"/>
                    </a:lnTo>
                    <a:cubicBezTo>
                      <a:pt x="191338" y="16954"/>
                      <a:pt x="174478" y="95"/>
                      <a:pt x="153618" y="95"/>
                    </a:cubicBezTo>
                    <a:lnTo>
                      <a:pt x="1885" y="0"/>
                    </a:lnTo>
                    <a:cubicBezTo>
                      <a:pt x="838" y="0"/>
                      <a:pt x="75" y="857"/>
                      <a:pt x="75" y="1810"/>
                    </a:cubicBezTo>
                    <a:cubicBezTo>
                      <a:pt x="75" y="1810"/>
                      <a:pt x="-20" y="25717"/>
                      <a:pt x="75" y="25717"/>
                    </a:cubicBezTo>
                    <a:cubicBezTo>
                      <a:pt x="75" y="25717"/>
                      <a:pt x="-115" y="27051"/>
                      <a:pt x="838" y="27813"/>
                    </a:cubicBezTo>
                    <a:cubicBezTo>
                      <a:pt x="1409" y="28194"/>
                      <a:pt x="3123" y="28384"/>
                      <a:pt x="3123" y="28384"/>
                    </a:cubicBezTo>
                    <a:cubicBezTo>
                      <a:pt x="10172" y="29146"/>
                      <a:pt x="21221" y="34862"/>
                      <a:pt x="21221" y="39529"/>
                    </a:cubicBezTo>
                    <a:lnTo>
                      <a:pt x="21221" y="158115"/>
                    </a:lnTo>
                    <a:cubicBezTo>
                      <a:pt x="21031"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2" y="198310"/>
                      <a:pt x="1885" y="198310"/>
                    </a:cubicBezTo>
                    <a:lnTo>
                      <a:pt x="21221" y="198310"/>
                    </a:lnTo>
                    <a:cubicBezTo>
                      <a:pt x="21792" y="198310"/>
                      <a:pt x="22364" y="198406"/>
                      <a:pt x="23030" y="198406"/>
                    </a:cubicBezTo>
                    <a:lnTo>
                      <a:pt x="153618" y="198406"/>
                    </a:lnTo>
                    <a:cubicBezTo>
                      <a:pt x="180384" y="198406"/>
                      <a:pt x="199053" y="172307"/>
                      <a:pt x="199053" y="151447"/>
                    </a:cubicBezTo>
                    <a:lnTo>
                      <a:pt x="199053" y="131826"/>
                    </a:lnTo>
                    <a:cubicBezTo>
                      <a:pt x="199053" y="110871"/>
                      <a:pt x="187241" y="93917"/>
                      <a:pt x="153618" y="93917"/>
                    </a:cubicBezTo>
                    <a:close/>
                    <a:moveTo>
                      <a:pt x="147427" y="140208"/>
                    </a:moveTo>
                    <a:cubicBezTo>
                      <a:pt x="147618" y="160115"/>
                      <a:pt x="135616" y="165830"/>
                      <a:pt x="119233" y="165830"/>
                    </a:cubicBezTo>
                    <a:lnTo>
                      <a:pt x="75037" y="165830"/>
                    </a:lnTo>
                    <a:lnTo>
                      <a:pt x="73323" y="165449"/>
                    </a:lnTo>
                    <a:cubicBezTo>
                      <a:pt x="72370" y="164497"/>
                      <a:pt x="72370" y="163544"/>
                      <a:pt x="72370" y="163544"/>
                    </a:cubicBezTo>
                    <a:lnTo>
                      <a:pt x="72370" y="35719"/>
                    </a:lnTo>
                    <a:cubicBezTo>
                      <a:pt x="72370" y="35719"/>
                      <a:pt x="72370" y="33623"/>
                      <a:pt x="73132" y="33052"/>
                    </a:cubicBezTo>
                    <a:cubicBezTo>
                      <a:pt x="73894" y="32480"/>
                      <a:pt x="75609" y="32480"/>
                      <a:pt x="75609" y="32480"/>
                    </a:cubicBezTo>
                    <a:lnTo>
                      <a:pt x="119233" y="32480"/>
                    </a:lnTo>
                    <a:cubicBezTo>
                      <a:pt x="128663" y="32480"/>
                      <a:pt x="138093" y="40100"/>
                      <a:pt x="138093" y="49435"/>
                    </a:cubicBezTo>
                    <a:lnTo>
                      <a:pt x="138093" y="60770"/>
                    </a:lnTo>
                    <a:cubicBezTo>
                      <a:pt x="138283" y="66104"/>
                      <a:pt x="129901" y="80200"/>
                      <a:pt x="118852" y="79534"/>
                    </a:cubicBezTo>
                    <a:lnTo>
                      <a:pt x="99040" y="79724"/>
                    </a:lnTo>
                    <a:cubicBezTo>
                      <a:pt x="95706" y="79724"/>
                      <a:pt x="92944" y="82487"/>
                      <a:pt x="92944" y="85820"/>
                    </a:cubicBezTo>
                    <a:lnTo>
                      <a:pt x="92944" y="107156"/>
                    </a:lnTo>
                    <a:cubicBezTo>
                      <a:pt x="92944" y="110490"/>
                      <a:pt x="95706" y="113252"/>
                      <a:pt x="99040" y="113252"/>
                    </a:cubicBezTo>
                    <a:lnTo>
                      <a:pt x="121233" y="113252"/>
                    </a:lnTo>
                    <a:cubicBezTo>
                      <a:pt x="142093" y="114491"/>
                      <a:pt x="147237" y="126397"/>
                      <a:pt x="147427" y="131540"/>
                    </a:cubicBezTo>
                    <a:lnTo>
                      <a:pt x="147427"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0" name="Freeform 49">
                <a:extLst>
                  <a:ext uri="{FF2B5EF4-FFF2-40B4-BE49-F238E27FC236}">
                    <a16:creationId xmlns:a16="http://schemas.microsoft.com/office/drawing/2014/main" id="{AB6BCCA2-3561-154D-8D5B-873E40B837E1}"/>
                  </a:ext>
                </a:extLst>
              </p:cNvPr>
              <p:cNvSpPr/>
              <p:nvPr/>
            </p:nvSpPr>
            <p:spPr>
              <a:xfrm>
                <a:off x="1399859" y="6302443"/>
                <a:ext cx="87290" cy="87921"/>
              </a:xfrm>
              <a:custGeom>
                <a:avLst/>
                <a:gdLst>
                  <a:gd name="connsiteX0" fmla="*/ 191167 w 197182"/>
                  <a:gd name="connsiteY0" fmla="*/ 11 h 198607"/>
                  <a:gd name="connsiteX1" fmla="*/ 130492 w 197182"/>
                  <a:gd name="connsiteY1" fmla="*/ 11 h 198607"/>
                  <a:gd name="connsiteX2" fmla="*/ 124396 w 197182"/>
                  <a:gd name="connsiteY2" fmla="*/ 6107 h 198607"/>
                  <a:gd name="connsiteX3" fmla="*/ 124396 w 197182"/>
                  <a:gd name="connsiteY3" fmla="*/ 20395 h 198607"/>
                  <a:gd name="connsiteX4" fmla="*/ 129921 w 197182"/>
                  <a:gd name="connsiteY4" fmla="*/ 22205 h 198607"/>
                  <a:gd name="connsiteX5" fmla="*/ 134874 w 197182"/>
                  <a:gd name="connsiteY5" fmla="*/ 25253 h 198607"/>
                  <a:gd name="connsiteX6" fmla="*/ 135826 w 197182"/>
                  <a:gd name="connsiteY6" fmla="*/ 27539 h 198607"/>
                  <a:gd name="connsiteX7" fmla="*/ 133350 w 197182"/>
                  <a:gd name="connsiteY7" fmla="*/ 36492 h 198607"/>
                  <a:gd name="connsiteX8" fmla="*/ 112490 w 197182"/>
                  <a:gd name="connsiteY8" fmla="*/ 70877 h 198607"/>
                  <a:gd name="connsiteX9" fmla="*/ 105537 w 197182"/>
                  <a:gd name="connsiteY9" fmla="*/ 75449 h 198607"/>
                  <a:gd name="connsiteX10" fmla="*/ 105061 w 197182"/>
                  <a:gd name="connsiteY10" fmla="*/ 75449 h 198607"/>
                  <a:gd name="connsiteX11" fmla="*/ 99250 w 197182"/>
                  <a:gd name="connsiteY11" fmla="*/ 71163 h 198607"/>
                  <a:gd name="connsiteX12" fmla="*/ 76390 w 197182"/>
                  <a:gd name="connsiteY12" fmla="*/ 38111 h 198607"/>
                  <a:gd name="connsiteX13" fmla="*/ 76009 w 197182"/>
                  <a:gd name="connsiteY13" fmla="*/ 24872 h 198607"/>
                  <a:gd name="connsiteX14" fmla="*/ 83153 w 197182"/>
                  <a:gd name="connsiteY14" fmla="*/ 21538 h 198607"/>
                  <a:gd name="connsiteX15" fmla="*/ 87058 w 197182"/>
                  <a:gd name="connsiteY15" fmla="*/ 16680 h 198607"/>
                  <a:gd name="connsiteX16" fmla="*/ 87058 w 197182"/>
                  <a:gd name="connsiteY16" fmla="*/ 4774 h 198607"/>
                  <a:gd name="connsiteX17" fmla="*/ 82963 w 197182"/>
                  <a:gd name="connsiteY17" fmla="*/ 11 h 198607"/>
                  <a:gd name="connsiteX18" fmla="*/ 6096 w 197182"/>
                  <a:gd name="connsiteY18" fmla="*/ 11 h 198607"/>
                  <a:gd name="connsiteX19" fmla="*/ 0 w 197182"/>
                  <a:gd name="connsiteY19" fmla="*/ 3726 h 198607"/>
                  <a:gd name="connsiteX20" fmla="*/ 0 w 197182"/>
                  <a:gd name="connsiteY20" fmla="*/ 19347 h 198607"/>
                  <a:gd name="connsiteX21" fmla="*/ 3429 w 197182"/>
                  <a:gd name="connsiteY21" fmla="*/ 26396 h 198607"/>
                  <a:gd name="connsiteX22" fmla="*/ 17431 w 197182"/>
                  <a:gd name="connsiteY22" fmla="*/ 33349 h 198607"/>
                  <a:gd name="connsiteX23" fmla="*/ 71533 w 197182"/>
                  <a:gd name="connsiteY23" fmla="*/ 110597 h 198607"/>
                  <a:gd name="connsiteX24" fmla="*/ 71533 w 197182"/>
                  <a:gd name="connsiteY24" fmla="*/ 162794 h 198607"/>
                  <a:gd name="connsiteX25" fmla="*/ 61055 w 197182"/>
                  <a:gd name="connsiteY25" fmla="*/ 167937 h 198607"/>
                  <a:gd name="connsiteX26" fmla="*/ 56007 w 197182"/>
                  <a:gd name="connsiteY26" fmla="*/ 168985 h 198607"/>
                  <a:gd name="connsiteX27" fmla="*/ 54197 w 197182"/>
                  <a:gd name="connsiteY27" fmla="*/ 170509 h 198607"/>
                  <a:gd name="connsiteX28" fmla="*/ 54102 w 197182"/>
                  <a:gd name="connsiteY28" fmla="*/ 170509 h 198607"/>
                  <a:gd name="connsiteX29" fmla="*/ 54102 w 197182"/>
                  <a:gd name="connsiteY29" fmla="*/ 170795 h 198607"/>
                  <a:gd name="connsiteX30" fmla="*/ 54102 w 197182"/>
                  <a:gd name="connsiteY30" fmla="*/ 196798 h 198607"/>
                  <a:gd name="connsiteX31" fmla="*/ 54102 w 197182"/>
                  <a:gd name="connsiteY31" fmla="*/ 197084 h 198607"/>
                  <a:gd name="connsiteX32" fmla="*/ 54197 w 197182"/>
                  <a:gd name="connsiteY32" fmla="*/ 197084 h 198607"/>
                  <a:gd name="connsiteX33" fmla="*/ 56007 w 197182"/>
                  <a:gd name="connsiteY33" fmla="*/ 198608 h 198607"/>
                  <a:gd name="connsiteX34" fmla="*/ 140779 w 197182"/>
                  <a:gd name="connsiteY34" fmla="*/ 198608 h 198607"/>
                  <a:gd name="connsiteX35" fmla="*/ 142589 w 197182"/>
                  <a:gd name="connsiteY35" fmla="*/ 197084 h 198607"/>
                  <a:gd name="connsiteX36" fmla="*/ 142684 w 197182"/>
                  <a:gd name="connsiteY36" fmla="*/ 197084 h 198607"/>
                  <a:gd name="connsiteX37" fmla="*/ 142684 w 197182"/>
                  <a:gd name="connsiteY37" fmla="*/ 196798 h 198607"/>
                  <a:gd name="connsiteX38" fmla="*/ 142684 w 197182"/>
                  <a:gd name="connsiteY38" fmla="*/ 170795 h 198607"/>
                  <a:gd name="connsiteX39" fmla="*/ 142684 w 197182"/>
                  <a:gd name="connsiteY39" fmla="*/ 170509 h 198607"/>
                  <a:gd name="connsiteX40" fmla="*/ 142589 w 197182"/>
                  <a:gd name="connsiteY40" fmla="*/ 170509 h 198607"/>
                  <a:gd name="connsiteX41" fmla="*/ 140779 w 197182"/>
                  <a:gd name="connsiteY41" fmla="*/ 168985 h 198607"/>
                  <a:gd name="connsiteX42" fmla="*/ 138589 w 197182"/>
                  <a:gd name="connsiteY42" fmla="*/ 168985 h 198607"/>
                  <a:gd name="connsiteX43" fmla="*/ 122777 w 197182"/>
                  <a:gd name="connsiteY43" fmla="*/ 160698 h 198607"/>
                  <a:gd name="connsiteX44" fmla="*/ 122777 w 197182"/>
                  <a:gd name="connsiteY44" fmla="*/ 115454 h 198607"/>
                  <a:gd name="connsiteX45" fmla="*/ 167068 w 197182"/>
                  <a:gd name="connsiteY45" fmla="*/ 46874 h 198607"/>
                  <a:gd name="connsiteX46" fmla="*/ 177260 w 197182"/>
                  <a:gd name="connsiteY46" fmla="*/ 33635 h 198607"/>
                  <a:gd name="connsiteX47" fmla="*/ 185547 w 197182"/>
                  <a:gd name="connsiteY47" fmla="*/ 28015 h 198607"/>
                  <a:gd name="connsiteX48" fmla="*/ 192214 w 197182"/>
                  <a:gd name="connsiteY48" fmla="*/ 26967 h 198607"/>
                  <a:gd name="connsiteX49" fmla="*/ 197167 w 197182"/>
                  <a:gd name="connsiteY49" fmla="*/ 21919 h 198607"/>
                  <a:gd name="connsiteX50" fmla="*/ 197167 w 197182"/>
                  <a:gd name="connsiteY50" fmla="*/ 6107 h 198607"/>
                  <a:gd name="connsiteX51" fmla="*/ 191167 w 197182"/>
                  <a:gd name="connsiteY51" fmla="*/ 11 h 1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7182" h="198607">
                    <a:moveTo>
                      <a:pt x="191167" y="11"/>
                    </a:moveTo>
                    <a:lnTo>
                      <a:pt x="130492" y="11"/>
                    </a:lnTo>
                    <a:cubicBezTo>
                      <a:pt x="125158" y="-84"/>
                      <a:pt x="124492" y="297"/>
                      <a:pt x="124396" y="6107"/>
                    </a:cubicBezTo>
                    <a:lnTo>
                      <a:pt x="124396" y="20395"/>
                    </a:lnTo>
                    <a:cubicBezTo>
                      <a:pt x="124492" y="23443"/>
                      <a:pt x="129921" y="22205"/>
                      <a:pt x="129921" y="22205"/>
                    </a:cubicBezTo>
                    <a:cubicBezTo>
                      <a:pt x="129921" y="22205"/>
                      <a:pt x="133159" y="22395"/>
                      <a:pt x="134874" y="25253"/>
                    </a:cubicBezTo>
                    <a:cubicBezTo>
                      <a:pt x="135255" y="25919"/>
                      <a:pt x="135826" y="27539"/>
                      <a:pt x="135826" y="27539"/>
                    </a:cubicBezTo>
                    <a:cubicBezTo>
                      <a:pt x="135826" y="27539"/>
                      <a:pt x="135922" y="31920"/>
                      <a:pt x="133350" y="36492"/>
                    </a:cubicBezTo>
                    <a:cubicBezTo>
                      <a:pt x="130492" y="41636"/>
                      <a:pt x="117919" y="62495"/>
                      <a:pt x="112490" y="70877"/>
                    </a:cubicBezTo>
                    <a:cubicBezTo>
                      <a:pt x="111823" y="73544"/>
                      <a:pt x="108394" y="75449"/>
                      <a:pt x="105537" y="75449"/>
                    </a:cubicBezTo>
                    <a:lnTo>
                      <a:pt x="105061" y="75449"/>
                    </a:lnTo>
                    <a:cubicBezTo>
                      <a:pt x="102298" y="75449"/>
                      <a:pt x="100489" y="73354"/>
                      <a:pt x="99250" y="71163"/>
                    </a:cubicBezTo>
                    <a:lnTo>
                      <a:pt x="76390" y="38111"/>
                    </a:lnTo>
                    <a:cubicBezTo>
                      <a:pt x="76390" y="38111"/>
                      <a:pt x="72676" y="30872"/>
                      <a:pt x="76009" y="24872"/>
                    </a:cubicBezTo>
                    <a:cubicBezTo>
                      <a:pt x="77343" y="22490"/>
                      <a:pt x="81915" y="21538"/>
                      <a:pt x="83153" y="21538"/>
                    </a:cubicBezTo>
                    <a:cubicBezTo>
                      <a:pt x="85725" y="21538"/>
                      <a:pt x="87058" y="21252"/>
                      <a:pt x="87058" y="16680"/>
                    </a:cubicBezTo>
                    <a:cubicBezTo>
                      <a:pt x="87058" y="15347"/>
                      <a:pt x="87058" y="4774"/>
                      <a:pt x="87058" y="4774"/>
                    </a:cubicBezTo>
                    <a:cubicBezTo>
                      <a:pt x="87058" y="2774"/>
                      <a:pt x="86392" y="11"/>
                      <a:pt x="82963" y="11"/>
                    </a:cubicBezTo>
                    <a:lnTo>
                      <a:pt x="6096" y="11"/>
                    </a:lnTo>
                    <a:cubicBezTo>
                      <a:pt x="2762" y="11"/>
                      <a:pt x="0" y="392"/>
                      <a:pt x="0" y="3726"/>
                    </a:cubicBezTo>
                    <a:lnTo>
                      <a:pt x="0" y="19347"/>
                    </a:lnTo>
                    <a:cubicBezTo>
                      <a:pt x="286" y="25062"/>
                      <a:pt x="-667" y="26205"/>
                      <a:pt x="3429" y="26396"/>
                    </a:cubicBezTo>
                    <a:cubicBezTo>
                      <a:pt x="10477" y="26681"/>
                      <a:pt x="17431" y="33349"/>
                      <a:pt x="17431" y="33349"/>
                    </a:cubicBezTo>
                    <a:lnTo>
                      <a:pt x="71533" y="110597"/>
                    </a:lnTo>
                    <a:lnTo>
                      <a:pt x="71533" y="162794"/>
                    </a:lnTo>
                    <a:cubicBezTo>
                      <a:pt x="71723" y="165461"/>
                      <a:pt x="65437" y="167175"/>
                      <a:pt x="61055" y="167937"/>
                    </a:cubicBezTo>
                    <a:lnTo>
                      <a:pt x="56007" y="168985"/>
                    </a:lnTo>
                    <a:cubicBezTo>
                      <a:pt x="55054" y="168985"/>
                      <a:pt x="54388" y="169652"/>
                      <a:pt x="54197" y="170509"/>
                    </a:cubicBezTo>
                    <a:cubicBezTo>
                      <a:pt x="54197" y="170509"/>
                      <a:pt x="54197" y="170509"/>
                      <a:pt x="54102" y="170509"/>
                    </a:cubicBezTo>
                    <a:lnTo>
                      <a:pt x="54102" y="170795"/>
                    </a:lnTo>
                    <a:lnTo>
                      <a:pt x="54102" y="196798"/>
                    </a:lnTo>
                    <a:lnTo>
                      <a:pt x="54102" y="197084"/>
                    </a:lnTo>
                    <a:lnTo>
                      <a:pt x="54197" y="197084"/>
                    </a:lnTo>
                    <a:cubicBezTo>
                      <a:pt x="54292" y="197941"/>
                      <a:pt x="55054" y="198608"/>
                      <a:pt x="56007" y="198608"/>
                    </a:cubicBezTo>
                    <a:lnTo>
                      <a:pt x="140779" y="198608"/>
                    </a:lnTo>
                    <a:cubicBezTo>
                      <a:pt x="141732" y="198608"/>
                      <a:pt x="142399" y="197941"/>
                      <a:pt x="142589" y="197084"/>
                    </a:cubicBezTo>
                    <a:lnTo>
                      <a:pt x="142684" y="197084"/>
                    </a:lnTo>
                    <a:lnTo>
                      <a:pt x="142684" y="196798"/>
                    </a:lnTo>
                    <a:lnTo>
                      <a:pt x="142684" y="170795"/>
                    </a:lnTo>
                    <a:lnTo>
                      <a:pt x="142684" y="170509"/>
                    </a:lnTo>
                    <a:cubicBezTo>
                      <a:pt x="142684" y="170509"/>
                      <a:pt x="142684" y="170509"/>
                      <a:pt x="142589" y="170509"/>
                    </a:cubicBezTo>
                    <a:cubicBezTo>
                      <a:pt x="142399" y="169652"/>
                      <a:pt x="141732" y="168985"/>
                      <a:pt x="140779" y="168985"/>
                    </a:cubicBezTo>
                    <a:lnTo>
                      <a:pt x="138589" y="168985"/>
                    </a:lnTo>
                    <a:cubicBezTo>
                      <a:pt x="131921" y="167937"/>
                      <a:pt x="123158" y="163937"/>
                      <a:pt x="122777" y="160698"/>
                    </a:cubicBezTo>
                    <a:lnTo>
                      <a:pt x="122777" y="115454"/>
                    </a:lnTo>
                    <a:lnTo>
                      <a:pt x="167068" y="46874"/>
                    </a:lnTo>
                    <a:cubicBezTo>
                      <a:pt x="167068" y="46874"/>
                      <a:pt x="174879" y="36397"/>
                      <a:pt x="177260" y="33635"/>
                    </a:cubicBezTo>
                    <a:cubicBezTo>
                      <a:pt x="180022" y="30491"/>
                      <a:pt x="182975" y="28872"/>
                      <a:pt x="185547" y="28015"/>
                    </a:cubicBezTo>
                    <a:lnTo>
                      <a:pt x="192214" y="26967"/>
                    </a:lnTo>
                    <a:cubicBezTo>
                      <a:pt x="197263" y="27253"/>
                      <a:pt x="197167" y="25253"/>
                      <a:pt x="197167" y="21919"/>
                    </a:cubicBezTo>
                    <a:lnTo>
                      <a:pt x="197167" y="6107"/>
                    </a:lnTo>
                    <a:cubicBezTo>
                      <a:pt x="197358" y="583"/>
                      <a:pt x="195739" y="11"/>
                      <a:pt x="191167" y="11"/>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1" name="Freeform 50">
                <a:extLst>
                  <a:ext uri="{FF2B5EF4-FFF2-40B4-BE49-F238E27FC236}">
                    <a16:creationId xmlns:a16="http://schemas.microsoft.com/office/drawing/2014/main" id="{3B34572D-8FB3-8945-8E2A-5F2C24E4718C}"/>
                  </a:ext>
                </a:extLst>
              </p:cNvPr>
              <p:cNvSpPr/>
              <p:nvPr/>
            </p:nvSpPr>
            <p:spPr>
              <a:xfrm>
                <a:off x="2248578" y="6302743"/>
                <a:ext cx="71625" cy="87157"/>
              </a:xfrm>
              <a:custGeom>
                <a:avLst/>
                <a:gdLst>
                  <a:gd name="connsiteX0" fmla="*/ 161258 w 161795"/>
                  <a:gd name="connsiteY0" fmla="*/ 166116 h 196881"/>
                  <a:gd name="connsiteX1" fmla="*/ 161258 w 161795"/>
                  <a:gd name="connsiteY1" fmla="*/ 124968 h 196881"/>
                  <a:gd name="connsiteX2" fmla="*/ 155163 w 161795"/>
                  <a:gd name="connsiteY2" fmla="*/ 118872 h 196881"/>
                  <a:gd name="connsiteX3" fmla="*/ 139351 w 161795"/>
                  <a:gd name="connsiteY3" fmla="*/ 118872 h 196881"/>
                  <a:gd name="connsiteX4" fmla="*/ 133255 w 161795"/>
                  <a:gd name="connsiteY4" fmla="*/ 124968 h 196881"/>
                  <a:gd name="connsiteX5" fmla="*/ 133255 w 161795"/>
                  <a:gd name="connsiteY5" fmla="*/ 132874 h 196881"/>
                  <a:gd name="connsiteX6" fmla="*/ 130683 w 161795"/>
                  <a:gd name="connsiteY6" fmla="*/ 143351 h 196881"/>
                  <a:gd name="connsiteX7" fmla="*/ 112395 w 161795"/>
                  <a:gd name="connsiteY7" fmla="*/ 160115 h 196881"/>
                  <a:gd name="connsiteX8" fmla="*/ 89440 w 161795"/>
                  <a:gd name="connsiteY8" fmla="*/ 162687 h 196881"/>
                  <a:gd name="connsiteX9" fmla="*/ 89440 w 161795"/>
                  <a:gd name="connsiteY9" fmla="*/ 162782 h 196881"/>
                  <a:gd name="connsiteX10" fmla="*/ 68485 w 161795"/>
                  <a:gd name="connsiteY10" fmla="*/ 162782 h 196881"/>
                  <a:gd name="connsiteX11" fmla="*/ 64484 w 161795"/>
                  <a:gd name="connsiteY11" fmla="*/ 157639 h 196881"/>
                  <a:gd name="connsiteX12" fmla="*/ 64484 w 161795"/>
                  <a:gd name="connsiteY12" fmla="*/ 39243 h 196881"/>
                  <a:gd name="connsiteX13" fmla="*/ 83534 w 161795"/>
                  <a:gd name="connsiteY13" fmla="*/ 28480 h 196881"/>
                  <a:gd name="connsiteX14" fmla="*/ 85440 w 161795"/>
                  <a:gd name="connsiteY14" fmla="*/ 27718 h 196881"/>
                  <a:gd name="connsiteX15" fmla="*/ 85820 w 161795"/>
                  <a:gd name="connsiteY15" fmla="*/ 25813 h 196881"/>
                  <a:gd name="connsiteX16" fmla="*/ 85630 w 161795"/>
                  <a:gd name="connsiteY16" fmla="*/ 1810 h 196881"/>
                  <a:gd name="connsiteX17" fmla="*/ 83820 w 161795"/>
                  <a:gd name="connsiteY17" fmla="*/ 0 h 196881"/>
                  <a:gd name="connsiteX18" fmla="*/ 2000 w 161795"/>
                  <a:gd name="connsiteY18" fmla="*/ 0 h 196881"/>
                  <a:gd name="connsiteX19" fmla="*/ 191 w 161795"/>
                  <a:gd name="connsiteY19" fmla="*/ 1810 h 196881"/>
                  <a:gd name="connsiteX20" fmla="*/ 0 w 161795"/>
                  <a:gd name="connsiteY20" fmla="*/ 25813 h 196881"/>
                  <a:gd name="connsiteX21" fmla="*/ 381 w 161795"/>
                  <a:gd name="connsiteY21" fmla="*/ 27718 h 196881"/>
                  <a:gd name="connsiteX22" fmla="*/ 2286 w 161795"/>
                  <a:gd name="connsiteY22" fmla="*/ 28480 h 196881"/>
                  <a:gd name="connsiteX23" fmla="*/ 21336 w 161795"/>
                  <a:gd name="connsiteY23" fmla="*/ 39243 h 196881"/>
                  <a:gd name="connsiteX24" fmla="*/ 21336 w 161795"/>
                  <a:gd name="connsiteY24" fmla="*/ 157639 h 196881"/>
                  <a:gd name="connsiteX25" fmla="*/ 2286 w 161795"/>
                  <a:gd name="connsiteY25" fmla="*/ 168402 h 196881"/>
                  <a:gd name="connsiteX26" fmla="*/ 381 w 161795"/>
                  <a:gd name="connsiteY26" fmla="*/ 169164 h 196881"/>
                  <a:gd name="connsiteX27" fmla="*/ 0 w 161795"/>
                  <a:gd name="connsiteY27" fmla="*/ 171069 h 196881"/>
                  <a:gd name="connsiteX28" fmla="*/ 191 w 161795"/>
                  <a:gd name="connsiteY28" fmla="*/ 195072 h 196881"/>
                  <a:gd name="connsiteX29" fmla="*/ 2000 w 161795"/>
                  <a:gd name="connsiteY29" fmla="*/ 196882 h 196881"/>
                  <a:gd name="connsiteX30" fmla="*/ 67437 w 161795"/>
                  <a:gd name="connsiteY30" fmla="*/ 196882 h 196881"/>
                  <a:gd name="connsiteX31" fmla="*/ 67533 w 161795"/>
                  <a:gd name="connsiteY31" fmla="*/ 196882 h 196881"/>
                  <a:gd name="connsiteX32" fmla="*/ 155639 w 161795"/>
                  <a:gd name="connsiteY32" fmla="*/ 196882 h 196881"/>
                  <a:gd name="connsiteX33" fmla="*/ 161735 w 161795"/>
                  <a:gd name="connsiteY33" fmla="*/ 190786 h 196881"/>
                  <a:gd name="connsiteX34" fmla="*/ 161735 w 161795"/>
                  <a:gd name="connsiteY34" fmla="*/ 168878 h 196881"/>
                  <a:gd name="connsiteX35" fmla="*/ 161258 w 161795"/>
                  <a:gd name="connsiteY35" fmla="*/ 166116 h 19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881">
                    <a:moveTo>
                      <a:pt x="161258" y="166116"/>
                    </a:moveTo>
                    <a:lnTo>
                      <a:pt x="161258" y="124968"/>
                    </a:lnTo>
                    <a:cubicBezTo>
                      <a:pt x="161258" y="121634"/>
                      <a:pt x="158496" y="118872"/>
                      <a:pt x="155163" y="118872"/>
                    </a:cubicBezTo>
                    <a:lnTo>
                      <a:pt x="139351" y="118872"/>
                    </a:lnTo>
                    <a:cubicBezTo>
                      <a:pt x="136017" y="118872"/>
                      <a:pt x="133255" y="121634"/>
                      <a:pt x="133255" y="124968"/>
                    </a:cubicBezTo>
                    <a:lnTo>
                      <a:pt x="133255" y="132874"/>
                    </a:lnTo>
                    <a:cubicBezTo>
                      <a:pt x="132969" y="136493"/>
                      <a:pt x="132112" y="140399"/>
                      <a:pt x="130683" y="143351"/>
                    </a:cubicBezTo>
                    <a:cubicBezTo>
                      <a:pt x="126588" y="151543"/>
                      <a:pt x="116396" y="158591"/>
                      <a:pt x="112395" y="160115"/>
                    </a:cubicBezTo>
                    <a:cubicBezTo>
                      <a:pt x="102394" y="163830"/>
                      <a:pt x="89440" y="162687"/>
                      <a:pt x="89440" y="162687"/>
                    </a:cubicBezTo>
                    <a:lnTo>
                      <a:pt x="89440" y="162782"/>
                    </a:lnTo>
                    <a:lnTo>
                      <a:pt x="68485" y="162782"/>
                    </a:lnTo>
                    <a:cubicBezTo>
                      <a:pt x="66104" y="161163"/>
                      <a:pt x="64484" y="159353"/>
                      <a:pt x="64484" y="157639"/>
                    </a:cubicBezTo>
                    <a:lnTo>
                      <a:pt x="64484" y="39243"/>
                    </a:lnTo>
                    <a:cubicBezTo>
                      <a:pt x="64484" y="34576"/>
                      <a:pt x="75248" y="29813"/>
                      <a:pt x="83534" y="28480"/>
                    </a:cubicBezTo>
                    <a:cubicBezTo>
                      <a:pt x="83534" y="28480"/>
                      <a:pt x="84868" y="28575"/>
                      <a:pt x="85440" y="27718"/>
                    </a:cubicBezTo>
                    <a:cubicBezTo>
                      <a:pt x="86011" y="26861"/>
                      <a:pt x="85725" y="25813"/>
                      <a:pt x="85820" y="25813"/>
                    </a:cubicBezTo>
                    <a:lnTo>
                      <a:pt x="85630" y="1810"/>
                    </a:lnTo>
                    <a:cubicBezTo>
                      <a:pt x="85630" y="762"/>
                      <a:pt x="84773" y="0"/>
                      <a:pt x="83820" y="0"/>
                    </a:cubicBezTo>
                    <a:lnTo>
                      <a:pt x="2000" y="0"/>
                    </a:lnTo>
                    <a:cubicBezTo>
                      <a:pt x="953" y="0"/>
                      <a:pt x="191" y="857"/>
                      <a:pt x="191" y="1810"/>
                    </a:cubicBezTo>
                    <a:lnTo>
                      <a:pt x="0" y="25813"/>
                    </a:lnTo>
                    <a:cubicBezTo>
                      <a:pt x="95" y="25813"/>
                      <a:pt x="-190" y="26861"/>
                      <a:pt x="381" y="27718"/>
                    </a:cubicBezTo>
                    <a:cubicBezTo>
                      <a:pt x="953" y="28575"/>
                      <a:pt x="2286" y="28480"/>
                      <a:pt x="2286" y="28480"/>
                    </a:cubicBezTo>
                    <a:cubicBezTo>
                      <a:pt x="10573" y="29813"/>
                      <a:pt x="21336" y="34576"/>
                      <a:pt x="21336" y="39243"/>
                    </a:cubicBezTo>
                    <a:lnTo>
                      <a:pt x="21336" y="157639"/>
                    </a:lnTo>
                    <a:cubicBezTo>
                      <a:pt x="21336" y="162306"/>
                      <a:pt x="10478" y="167069"/>
                      <a:pt x="2286" y="168402"/>
                    </a:cubicBezTo>
                    <a:cubicBezTo>
                      <a:pt x="2286" y="168402"/>
                      <a:pt x="953" y="168307"/>
                      <a:pt x="381" y="169164"/>
                    </a:cubicBezTo>
                    <a:cubicBezTo>
                      <a:pt x="-190" y="170021"/>
                      <a:pt x="95" y="171069"/>
                      <a:pt x="0" y="171069"/>
                    </a:cubicBezTo>
                    <a:lnTo>
                      <a:pt x="191" y="195072"/>
                    </a:lnTo>
                    <a:cubicBezTo>
                      <a:pt x="191" y="196120"/>
                      <a:pt x="1048" y="196882"/>
                      <a:pt x="2000" y="196882"/>
                    </a:cubicBezTo>
                    <a:lnTo>
                      <a:pt x="67437" y="196882"/>
                    </a:lnTo>
                    <a:cubicBezTo>
                      <a:pt x="67437" y="196882"/>
                      <a:pt x="67533" y="196882"/>
                      <a:pt x="67533" y="196882"/>
                    </a:cubicBezTo>
                    <a:lnTo>
                      <a:pt x="155639" y="196882"/>
                    </a:lnTo>
                    <a:cubicBezTo>
                      <a:pt x="158972" y="196882"/>
                      <a:pt x="161735" y="194120"/>
                      <a:pt x="161735" y="190786"/>
                    </a:cubicBezTo>
                    <a:lnTo>
                      <a:pt x="161735" y="168878"/>
                    </a:lnTo>
                    <a:cubicBezTo>
                      <a:pt x="161925" y="167831"/>
                      <a:pt x="161640" y="166878"/>
                      <a:pt x="161258" y="1661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2" name="Freeform 51">
                <a:extLst>
                  <a:ext uri="{FF2B5EF4-FFF2-40B4-BE49-F238E27FC236}">
                    <a16:creationId xmlns:a16="http://schemas.microsoft.com/office/drawing/2014/main" id="{693A3BEE-8695-4540-A27F-C3BE238E113C}"/>
                  </a:ext>
                </a:extLst>
              </p:cNvPr>
              <p:cNvSpPr/>
              <p:nvPr/>
            </p:nvSpPr>
            <p:spPr>
              <a:xfrm>
                <a:off x="1972728" y="6302911"/>
                <a:ext cx="71625" cy="86988"/>
              </a:xfrm>
              <a:custGeom>
                <a:avLst/>
                <a:gdLst>
                  <a:gd name="connsiteX0" fmla="*/ 161258 w 161795"/>
                  <a:gd name="connsiteY0" fmla="*/ 165735 h 196500"/>
                  <a:gd name="connsiteX1" fmla="*/ 161258 w 161795"/>
                  <a:gd name="connsiteY1" fmla="*/ 124587 h 196500"/>
                  <a:gd name="connsiteX2" fmla="*/ 155162 w 161795"/>
                  <a:gd name="connsiteY2" fmla="*/ 118491 h 196500"/>
                  <a:gd name="connsiteX3" fmla="*/ 139351 w 161795"/>
                  <a:gd name="connsiteY3" fmla="*/ 118491 h 196500"/>
                  <a:gd name="connsiteX4" fmla="*/ 133255 w 161795"/>
                  <a:gd name="connsiteY4" fmla="*/ 124587 h 196500"/>
                  <a:gd name="connsiteX5" fmla="*/ 133255 w 161795"/>
                  <a:gd name="connsiteY5" fmla="*/ 132493 h 196500"/>
                  <a:gd name="connsiteX6" fmla="*/ 130683 w 161795"/>
                  <a:gd name="connsiteY6" fmla="*/ 142970 h 196500"/>
                  <a:gd name="connsiteX7" fmla="*/ 112395 w 161795"/>
                  <a:gd name="connsiteY7" fmla="*/ 159734 h 196500"/>
                  <a:gd name="connsiteX8" fmla="*/ 89440 w 161795"/>
                  <a:gd name="connsiteY8" fmla="*/ 162306 h 196500"/>
                  <a:gd name="connsiteX9" fmla="*/ 89440 w 161795"/>
                  <a:gd name="connsiteY9" fmla="*/ 162401 h 196500"/>
                  <a:gd name="connsiteX10" fmla="*/ 68485 w 161795"/>
                  <a:gd name="connsiteY10" fmla="*/ 162401 h 196500"/>
                  <a:gd name="connsiteX11" fmla="*/ 64484 w 161795"/>
                  <a:gd name="connsiteY11" fmla="*/ 157258 h 196500"/>
                  <a:gd name="connsiteX12" fmla="*/ 64484 w 161795"/>
                  <a:gd name="connsiteY12" fmla="*/ 39243 h 196500"/>
                  <a:gd name="connsiteX13" fmla="*/ 83534 w 161795"/>
                  <a:gd name="connsiteY13" fmla="*/ 28480 h 196500"/>
                  <a:gd name="connsiteX14" fmla="*/ 85439 w 161795"/>
                  <a:gd name="connsiteY14" fmla="*/ 27718 h 196500"/>
                  <a:gd name="connsiteX15" fmla="*/ 85820 w 161795"/>
                  <a:gd name="connsiteY15" fmla="*/ 25813 h 196500"/>
                  <a:gd name="connsiteX16" fmla="*/ 85630 w 161795"/>
                  <a:gd name="connsiteY16" fmla="*/ 1810 h 196500"/>
                  <a:gd name="connsiteX17" fmla="*/ 83820 w 161795"/>
                  <a:gd name="connsiteY17" fmla="*/ 0 h 196500"/>
                  <a:gd name="connsiteX18" fmla="*/ 2000 w 161795"/>
                  <a:gd name="connsiteY18" fmla="*/ 0 h 196500"/>
                  <a:gd name="connsiteX19" fmla="*/ 190 w 161795"/>
                  <a:gd name="connsiteY19" fmla="*/ 1810 h 196500"/>
                  <a:gd name="connsiteX20" fmla="*/ 0 w 161795"/>
                  <a:gd name="connsiteY20" fmla="*/ 25813 h 196500"/>
                  <a:gd name="connsiteX21" fmla="*/ 381 w 161795"/>
                  <a:gd name="connsiteY21" fmla="*/ 27718 h 196500"/>
                  <a:gd name="connsiteX22" fmla="*/ 2286 w 161795"/>
                  <a:gd name="connsiteY22" fmla="*/ 28480 h 196500"/>
                  <a:gd name="connsiteX23" fmla="*/ 21336 w 161795"/>
                  <a:gd name="connsiteY23" fmla="*/ 39243 h 196500"/>
                  <a:gd name="connsiteX24" fmla="*/ 21336 w 161795"/>
                  <a:gd name="connsiteY24" fmla="*/ 157258 h 196500"/>
                  <a:gd name="connsiteX25" fmla="*/ 2286 w 161795"/>
                  <a:gd name="connsiteY25" fmla="*/ 168021 h 196500"/>
                  <a:gd name="connsiteX26" fmla="*/ 381 w 161795"/>
                  <a:gd name="connsiteY26" fmla="*/ 168783 h 196500"/>
                  <a:gd name="connsiteX27" fmla="*/ 0 w 161795"/>
                  <a:gd name="connsiteY27" fmla="*/ 170688 h 196500"/>
                  <a:gd name="connsiteX28" fmla="*/ 190 w 161795"/>
                  <a:gd name="connsiteY28" fmla="*/ 194691 h 196500"/>
                  <a:gd name="connsiteX29" fmla="*/ 2000 w 161795"/>
                  <a:gd name="connsiteY29" fmla="*/ 196501 h 196500"/>
                  <a:gd name="connsiteX30" fmla="*/ 67437 w 161795"/>
                  <a:gd name="connsiteY30" fmla="*/ 196501 h 196500"/>
                  <a:gd name="connsiteX31" fmla="*/ 67532 w 161795"/>
                  <a:gd name="connsiteY31" fmla="*/ 196501 h 196500"/>
                  <a:gd name="connsiteX32" fmla="*/ 155638 w 161795"/>
                  <a:gd name="connsiteY32" fmla="*/ 196501 h 196500"/>
                  <a:gd name="connsiteX33" fmla="*/ 161735 w 161795"/>
                  <a:gd name="connsiteY33" fmla="*/ 190405 h 196500"/>
                  <a:gd name="connsiteX34" fmla="*/ 161735 w 161795"/>
                  <a:gd name="connsiteY34" fmla="*/ 168497 h 196500"/>
                  <a:gd name="connsiteX35" fmla="*/ 161258 w 161795"/>
                  <a:gd name="connsiteY35" fmla="*/ 165735 h 19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500">
                    <a:moveTo>
                      <a:pt x="161258" y="165735"/>
                    </a:moveTo>
                    <a:lnTo>
                      <a:pt x="161258" y="124587"/>
                    </a:lnTo>
                    <a:cubicBezTo>
                      <a:pt x="161258" y="121253"/>
                      <a:pt x="158496" y="118491"/>
                      <a:pt x="155162" y="118491"/>
                    </a:cubicBezTo>
                    <a:lnTo>
                      <a:pt x="139351" y="118491"/>
                    </a:lnTo>
                    <a:cubicBezTo>
                      <a:pt x="136017" y="118491"/>
                      <a:pt x="133255" y="121253"/>
                      <a:pt x="133255" y="124587"/>
                    </a:cubicBezTo>
                    <a:lnTo>
                      <a:pt x="133255" y="132493"/>
                    </a:lnTo>
                    <a:cubicBezTo>
                      <a:pt x="132969" y="136112"/>
                      <a:pt x="132112" y="140017"/>
                      <a:pt x="130683" y="142970"/>
                    </a:cubicBezTo>
                    <a:cubicBezTo>
                      <a:pt x="126587" y="151162"/>
                      <a:pt x="116396" y="158210"/>
                      <a:pt x="112395" y="159734"/>
                    </a:cubicBezTo>
                    <a:cubicBezTo>
                      <a:pt x="102489" y="163449"/>
                      <a:pt x="89440" y="162306"/>
                      <a:pt x="89440" y="162306"/>
                    </a:cubicBezTo>
                    <a:lnTo>
                      <a:pt x="89440" y="162401"/>
                    </a:lnTo>
                    <a:lnTo>
                      <a:pt x="68485" y="162401"/>
                    </a:lnTo>
                    <a:cubicBezTo>
                      <a:pt x="66104" y="160782"/>
                      <a:pt x="64484" y="158972"/>
                      <a:pt x="64484" y="157258"/>
                    </a:cubicBezTo>
                    <a:lnTo>
                      <a:pt x="64484" y="39243"/>
                    </a:lnTo>
                    <a:cubicBezTo>
                      <a:pt x="64484" y="34576"/>
                      <a:pt x="75247" y="29813"/>
                      <a:pt x="83534" y="28480"/>
                    </a:cubicBezTo>
                    <a:cubicBezTo>
                      <a:pt x="83534" y="28480"/>
                      <a:pt x="84868" y="28480"/>
                      <a:pt x="85439" y="27718"/>
                    </a:cubicBezTo>
                    <a:cubicBezTo>
                      <a:pt x="86011" y="26956"/>
                      <a:pt x="85725" y="25813"/>
                      <a:pt x="85820" y="25813"/>
                    </a:cubicBezTo>
                    <a:lnTo>
                      <a:pt x="85630" y="1810"/>
                    </a:lnTo>
                    <a:cubicBezTo>
                      <a:pt x="85630" y="762"/>
                      <a:pt x="84772" y="0"/>
                      <a:pt x="83820" y="0"/>
                    </a:cubicBezTo>
                    <a:lnTo>
                      <a:pt x="2000" y="0"/>
                    </a:lnTo>
                    <a:cubicBezTo>
                      <a:pt x="953" y="0"/>
                      <a:pt x="190" y="857"/>
                      <a:pt x="190" y="1810"/>
                    </a:cubicBezTo>
                    <a:lnTo>
                      <a:pt x="0" y="25813"/>
                    </a:lnTo>
                    <a:cubicBezTo>
                      <a:pt x="95" y="25813"/>
                      <a:pt x="-190" y="26956"/>
                      <a:pt x="381" y="27718"/>
                    </a:cubicBezTo>
                    <a:cubicBezTo>
                      <a:pt x="953" y="28575"/>
                      <a:pt x="2286" y="28480"/>
                      <a:pt x="2286" y="28480"/>
                    </a:cubicBezTo>
                    <a:cubicBezTo>
                      <a:pt x="10573" y="29813"/>
                      <a:pt x="21336" y="34576"/>
                      <a:pt x="21336" y="39243"/>
                    </a:cubicBezTo>
                    <a:lnTo>
                      <a:pt x="21336" y="157258"/>
                    </a:lnTo>
                    <a:cubicBezTo>
                      <a:pt x="21336" y="161925"/>
                      <a:pt x="10573" y="166688"/>
                      <a:pt x="2286" y="168021"/>
                    </a:cubicBezTo>
                    <a:cubicBezTo>
                      <a:pt x="2286" y="168021"/>
                      <a:pt x="953" y="167926"/>
                      <a:pt x="381" y="168783"/>
                    </a:cubicBezTo>
                    <a:cubicBezTo>
                      <a:pt x="-190" y="169640"/>
                      <a:pt x="95" y="170688"/>
                      <a:pt x="0" y="170688"/>
                    </a:cubicBezTo>
                    <a:lnTo>
                      <a:pt x="190" y="194691"/>
                    </a:lnTo>
                    <a:cubicBezTo>
                      <a:pt x="190" y="195739"/>
                      <a:pt x="1048" y="196501"/>
                      <a:pt x="2000" y="196501"/>
                    </a:cubicBezTo>
                    <a:lnTo>
                      <a:pt x="67437" y="196501"/>
                    </a:lnTo>
                    <a:cubicBezTo>
                      <a:pt x="67437" y="196501"/>
                      <a:pt x="67532" y="196501"/>
                      <a:pt x="67532" y="196501"/>
                    </a:cubicBezTo>
                    <a:lnTo>
                      <a:pt x="155638" y="196501"/>
                    </a:lnTo>
                    <a:cubicBezTo>
                      <a:pt x="158972" y="196501"/>
                      <a:pt x="161735" y="193738"/>
                      <a:pt x="161735" y="190405"/>
                    </a:cubicBezTo>
                    <a:lnTo>
                      <a:pt x="161735" y="168497"/>
                    </a:lnTo>
                    <a:cubicBezTo>
                      <a:pt x="161925" y="167450"/>
                      <a:pt x="161639" y="166497"/>
                      <a:pt x="161258" y="165735"/>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3" name="Freeform 52">
                <a:extLst>
                  <a:ext uri="{FF2B5EF4-FFF2-40B4-BE49-F238E27FC236}">
                    <a16:creationId xmlns:a16="http://schemas.microsoft.com/office/drawing/2014/main" id="{89F72EFA-8CD9-B540-A350-AC5B522A043A}"/>
                  </a:ext>
                </a:extLst>
              </p:cNvPr>
              <p:cNvSpPr/>
              <p:nvPr/>
            </p:nvSpPr>
            <p:spPr>
              <a:xfrm>
                <a:off x="2315496" y="6302659"/>
                <a:ext cx="98036" cy="88591"/>
              </a:xfrm>
              <a:custGeom>
                <a:avLst/>
                <a:gdLst>
                  <a:gd name="connsiteX0" fmla="*/ 110680 w 221456"/>
                  <a:gd name="connsiteY0" fmla="*/ 165259 h 200120"/>
                  <a:gd name="connsiteX1" fmla="*/ 90488 w 221456"/>
                  <a:gd name="connsiteY1" fmla="*/ 164306 h 200120"/>
                  <a:gd name="connsiteX2" fmla="*/ 74009 w 221456"/>
                  <a:gd name="connsiteY2" fmla="*/ 154114 h 200120"/>
                  <a:gd name="connsiteX3" fmla="*/ 72295 w 221456"/>
                  <a:gd name="connsiteY3" fmla="*/ 127444 h 200120"/>
                  <a:gd name="connsiteX4" fmla="*/ 72295 w 221456"/>
                  <a:gd name="connsiteY4" fmla="*/ 39243 h 200120"/>
                  <a:gd name="connsiteX5" fmla="*/ 91345 w 221456"/>
                  <a:gd name="connsiteY5" fmla="*/ 28480 h 200120"/>
                  <a:gd name="connsiteX6" fmla="*/ 93250 w 221456"/>
                  <a:gd name="connsiteY6" fmla="*/ 27718 h 200120"/>
                  <a:gd name="connsiteX7" fmla="*/ 93631 w 221456"/>
                  <a:gd name="connsiteY7" fmla="*/ 25813 h 200120"/>
                  <a:gd name="connsiteX8" fmla="*/ 93440 w 221456"/>
                  <a:gd name="connsiteY8" fmla="*/ 1810 h 200120"/>
                  <a:gd name="connsiteX9" fmla="*/ 91630 w 221456"/>
                  <a:gd name="connsiteY9" fmla="*/ 0 h 200120"/>
                  <a:gd name="connsiteX10" fmla="*/ 2000 w 221456"/>
                  <a:gd name="connsiteY10" fmla="*/ 0 h 200120"/>
                  <a:gd name="connsiteX11" fmla="*/ 191 w 221456"/>
                  <a:gd name="connsiteY11" fmla="*/ 1810 h 200120"/>
                  <a:gd name="connsiteX12" fmla="*/ 0 w 221456"/>
                  <a:gd name="connsiteY12" fmla="*/ 25813 h 200120"/>
                  <a:gd name="connsiteX13" fmla="*/ 381 w 221456"/>
                  <a:gd name="connsiteY13" fmla="*/ 27718 h 200120"/>
                  <a:gd name="connsiteX14" fmla="*/ 2286 w 221456"/>
                  <a:gd name="connsiteY14" fmla="*/ 28480 h 200120"/>
                  <a:gd name="connsiteX15" fmla="*/ 21336 w 221456"/>
                  <a:gd name="connsiteY15" fmla="*/ 39243 h 200120"/>
                  <a:gd name="connsiteX16" fmla="*/ 21336 w 221456"/>
                  <a:gd name="connsiteY16" fmla="*/ 122968 h 200120"/>
                  <a:gd name="connsiteX17" fmla="*/ 21241 w 221456"/>
                  <a:gd name="connsiteY17" fmla="*/ 123063 h 200120"/>
                  <a:gd name="connsiteX18" fmla="*/ 21241 w 221456"/>
                  <a:gd name="connsiteY18" fmla="*/ 140398 h 200120"/>
                  <a:gd name="connsiteX19" fmla="*/ 25432 w 221456"/>
                  <a:gd name="connsiteY19" fmla="*/ 172593 h 200120"/>
                  <a:gd name="connsiteX20" fmla="*/ 104585 w 221456"/>
                  <a:gd name="connsiteY20" fmla="*/ 200120 h 200120"/>
                  <a:gd name="connsiteX21" fmla="*/ 114491 w 221456"/>
                  <a:gd name="connsiteY21" fmla="*/ 200120 h 200120"/>
                  <a:gd name="connsiteX22" fmla="*/ 196025 w 221456"/>
                  <a:gd name="connsiteY22" fmla="*/ 172593 h 200120"/>
                  <a:gd name="connsiteX23" fmla="*/ 200216 w 221456"/>
                  <a:gd name="connsiteY23" fmla="*/ 140398 h 200120"/>
                  <a:gd name="connsiteX24" fmla="*/ 200216 w 221456"/>
                  <a:gd name="connsiteY24" fmla="*/ 123063 h 200120"/>
                  <a:gd name="connsiteX25" fmla="*/ 200120 w 221456"/>
                  <a:gd name="connsiteY25" fmla="*/ 122968 h 200120"/>
                  <a:gd name="connsiteX26" fmla="*/ 200120 w 221456"/>
                  <a:gd name="connsiteY26" fmla="*/ 39243 h 200120"/>
                  <a:gd name="connsiteX27" fmla="*/ 219170 w 221456"/>
                  <a:gd name="connsiteY27" fmla="*/ 28480 h 200120"/>
                  <a:gd name="connsiteX28" fmla="*/ 221075 w 221456"/>
                  <a:gd name="connsiteY28" fmla="*/ 27718 h 200120"/>
                  <a:gd name="connsiteX29" fmla="*/ 221456 w 221456"/>
                  <a:gd name="connsiteY29" fmla="*/ 25813 h 200120"/>
                  <a:gd name="connsiteX30" fmla="*/ 221266 w 221456"/>
                  <a:gd name="connsiteY30" fmla="*/ 1810 h 200120"/>
                  <a:gd name="connsiteX31" fmla="*/ 219456 w 221456"/>
                  <a:gd name="connsiteY31" fmla="*/ 0 h 200120"/>
                  <a:gd name="connsiteX32" fmla="*/ 129826 w 221456"/>
                  <a:gd name="connsiteY32" fmla="*/ 0 h 200120"/>
                  <a:gd name="connsiteX33" fmla="*/ 128016 w 221456"/>
                  <a:gd name="connsiteY33" fmla="*/ 1810 h 200120"/>
                  <a:gd name="connsiteX34" fmla="*/ 127826 w 221456"/>
                  <a:gd name="connsiteY34" fmla="*/ 25813 h 200120"/>
                  <a:gd name="connsiteX35" fmla="*/ 128207 w 221456"/>
                  <a:gd name="connsiteY35" fmla="*/ 27718 h 200120"/>
                  <a:gd name="connsiteX36" fmla="*/ 130112 w 221456"/>
                  <a:gd name="connsiteY36" fmla="*/ 28480 h 200120"/>
                  <a:gd name="connsiteX37" fmla="*/ 149162 w 221456"/>
                  <a:gd name="connsiteY37" fmla="*/ 39243 h 200120"/>
                  <a:gd name="connsiteX38" fmla="*/ 149162 w 221456"/>
                  <a:gd name="connsiteY38" fmla="*/ 127444 h 200120"/>
                  <a:gd name="connsiteX39" fmla="*/ 147447 w 221456"/>
                  <a:gd name="connsiteY39" fmla="*/ 154114 h 200120"/>
                  <a:gd name="connsiteX40" fmla="*/ 130969 w 221456"/>
                  <a:gd name="connsiteY40" fmla="*/ 164306 h 200120"/>
                  <a:gd name="connsiteX41" fmla="*/ 110680 w 221456"/>
                  <a:gd name="connsiteY41" fmla="*/ 165259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1456" h="200120">
                    <a:moveTo>
                      <a:pt x="110680" y="165259"/>
                    </a:moveTo>
                    <a:cubicBezTo>
                      <a:pt x="105252" y="165163"/>
                      <a:pt x="93917" y="164878"/>
                      <a:pt x="90488" y="164306"/>
                    </a:cubicBezTo>
                    <a:cubicBezTo>
                      <a:pt x="84677" y="163259"/>
                      <a:pt x="77534" y="160210"/>
                      <a:pt x="74009" y="154114"/>
                    </a:cubicBezTo>
                    <a:cubicBezTo>
                      <a:pt x="71152" y="149257"/>
                      <a:pt x="72580" y="132969"/>
                      <a:pt x="72295" y="127444"/>
                    </a:cubicBezTo>
                    <a:lnTo>
                      <a:pt x="72295" y="39243"/>
                    </a:lnTo>
                    <a:cubicBezTo>
                      <a:pt x="72295" y="34576"/>
                      <a:pt x="83058" y="29813"/>
                      <a:pt x="91345" y="28480"/>
                    </a:cubicBezTo>
                    <a:cubicBezTo>
                      <a:pt x="91345" y="28480"/>
                      <a:pt x="92679" y="28575"/>
                      <a:pt x="93250" y="27718"/>
                    </a:cubicBezTo>
                    <a:cubicBezTo>
                      <a:pt x="93822" y="26860"/>
                      <a:pt x="93536" y="25813"/>
                      <a:pt x="93631" y="25813"/>
                    </a:cubicBezTo>
                    <a:lnTo>
                      <a:pt x="93440" y="1810"/>
                    </a:lnTo>
                    <a:cubicBezTo>
                      <a:pt x="93440" y="762"/>
                      <a:pt x="92583" y="0"/>
                      <a:pt x="91630" y="0"/>
                    </a:cubicBezTo>
                    <a:lnTo>
                      <a:pt x="2000" y="0"/>
                    </a:lnTo>
                    <a:cubicBezTo>
                      <a:pt x="953" y="0"/>
                      <a:pt x="191" y="857"/>
                      <a:pt x="191" y="1810"/>
                    </a:cubicBezTo>
                    <a:lnTo>
                      <a:pt x="0" y="25813"/>
                    </a:lnTo>
                    <a:cubicBezTo>
                      <a:pt x="95" y="25813"/>
                      <a:pt x="-190" y="26860"/>
                      <a:pt x="381" y="27718"/>
                    </a:cubicBezTo>
                    <a:cubicBezTo>
                      <a:pt x="953" y="28575"/>
                      <a:pt x="2286" y="28480"/>
                      <a:pt x="2286" y="28480"/>
                    </a:cubicBezTo>
                    <a:cubicBezTo>
                      <a:pt x="10573" y="29813"/>
                      <a:pt x="21336" y="34576"/>
                      <a:pt x="21336" y="39243"/>
                    </a:cubicBezTo>
                    <a:lnTo>
                      <a:pt x="21336" y="122968"/>
                    </a:lnTo>
                    <a:lnTo>
                      <a:pt x="21241" y="123063"/>
                    </a:lnTo>
                    <a:lnTo>
                      <a:pt x="21241" y="140398"/>
                    </a:lnTo>
                    <a:cubicBezTo>
                      <a:pt x="21241" y="140398"/>
                      <a:pt x="20955" y="165544"/>
                      <a:pt x="25432" y="172593"/>
                    </a:cubicBezTo>
                    <a:cubicBezTo>
                      <a:pt x="36672" y="190214"/>
                      <a:pt x="53626" y="200120"/>
                      <a:pt x="104585" y="200120"/>
                    </a:cubicBezTo>
                    <a:cubicBezTo>
                      <a:pt x="104966" y="200120"/>
                      <a:pt x="114110" y="200120"/>
                      <a:pt x="114491" y="200120"/>
                    </a:cubicBezTo>
                    <a:cubicBezTo>
                      <a:pt x="165449" y="200120"/>
                      <a:pt x="184881" y="190214"/>
                      <a:pt x="196025" y="172593"/>
                    </a:cubicBezTo>
                    <a:cubicBezTo>
                      <a:pt x="200502" y="165544"/>
                      <a:pt x="200216" y="140398"/>
                      <a:pt x="200216" y="140398"/>
                    </a:cubicBezTo>
                    <a:lnTo>
                      <a:pt x="200216" y="123063"/>
                    </a:lnTo>
                    <a:lnTo>
                      <a:pt x="200120" y="122968"/>
                    </a:lnTo>
                    <a:lnTo>
                      <a:pt x="200120" y="39243"/>
                    </a:lnTo>
                    <a:cubicBezTo>
                      <a:pt x="200120" y="34576"/>
                      <a:pt x="210884" y="29813"/>
                      <a:pt x="219170" y="28480"/>
                    </a:cubicBezTo>
                    <a:cubicBezTo>
                      <a:pt x="219170" y="28480"/>
                      <a:pt x="220504" y="28575"/>
                      <a:pt x="221075" y="27718"/>
                    </a:cubicBezTo>
                    <a:cubicBezTo>
                      <a:pt x="221647" y="26860"/>
                      <a:pt x="221361" y="25813"/>
                      <a:pt x="221456" y="25813"/>
                    </a:cubicBezTo>
                    <a:lnTo>
                      <a:pt x="221266" y="1810"/>
                    </a:lnTo>
                    <a:cubicBezTo>
                      <a:pt x="221266" y="762"/>
                      <a:pt x="220409" y="0"/>
                      <a:pt x="219456" y="0"/>
                    </a:cubicBezTo>
                    <a:lnTo>
                      <a:pt x="129826" y="0"/>
                    </a:lnTo>
                    <a:cubicBezTo>
                      <a:pt x="128778" y="0"/>
                      <a:pt x="128016" y="857"/>
                      <a:pt x="128016" y="1810"/>
                    </a:cubicBezTo>
                    <a:lnTo>
                      <a:pt x="127826" y="25813"/>
                    </a:lnTo>
                    <a:cubicBezTo>
                      <a:pt x="127921" y="25813"/>
                      <a:pt x="127635" y="26860"/>
                      <a:pt x="128207" y="27718"/>
                    </a:cubicBezTo>
                    <a:cubicBezTo>
                      <a:pt x="128778" y="28575"/>
                      <a:pt x="130112" y="28480"/>
                      <a:pt x="130112" y="28480"/>
                    </a:cubicBezTo>
                    <a:cubicBezTo>
                      <a:pt x="138399" y="29813"/>
                      <a:pt x="149162" y="34576"/>
                      <a:pt x="149162" y="39243"/>
                    </a:cubicBezTo>
                    <a:lnTo>
                      <a:pt x="149162" y="127444"/>
                    </a:lnTo>
                    <a:cubicBezTo>
                      <a:pt x="148780" y="132969"/>
                      <a:pt x="150305" y="149257"/>
                      <a:pt x="147447" y="154114"/>
                    </a:cubicBezTo>
                    <a:cubicBezTo>
                      <a:pt x="143923" y="160210"/>
                      <a:pt x="136779" y="163259"/>
                      <a:pt x="130969" y="164306"/>
                    </a:cubicBezTo>
                    <a:cubicBezTo>
                      <a:pt x="127445" y="164973"/>
                      <a:pt x="116110" y="165163"/>
                      <a:pt x="110680" y="165259"/>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4" name="Freeform 53">
                <a:extLst>
                  <a:ext uri="{FF2B5EF4-FFF2-40B4-BE49-F238E27FC236}">
                    <a16:creationId xmlns:a16="http://schemas.microsoft.com/office/drawing/2014/main" id="{DD86BD21-7DC4-2343-918F-82AD5A7E0F36}"/>
                  </a:ext>
                </a:extLst>
              </p:cNvPr>
              <p:cNvSpPr/>
              <p:nvPr/>
            </p:nvSpPr>
            <p:spPr>
              <a:xfrm>
                <a:off x="2162264" y="6300712"/>
                <a:ext cx="81085" cy="91322"/>
              </a:xfrm>
              <a:custGeom>
                <a:avLst/>
                <a:gdLst>
                  <a:gd name="connsiteX0" fmla="*/ 182689 w 183165"/>
                  <a:gd name="connsiteY0" fmla="*/ 146319 h 206289"/>
                  <a:gd name="connsiteX1" fmla="*/ 176593 w 183165"/>
                  <a:gd name="connsiteY1" fmla="*/ 140223 h 206289"/>
                  <a:gd name="connsiteX2" fmla="*/ 160782 w 183165"/>
                  <a:gd name="connsiteY2" fmla="*/ 140223 h 206289"/>
                  <a:gd name="connsiteX3" fmla="*/ 154686 w 183165"/>
                  <a:gd name="connsiteY3" fmla="*/ 146319 h 206289"/>
                  <a:gd name="connsiteX4" fmla="*/ 154686 w 183165"/>
                  <a:gd name="connsiteY4" fmla="*/ 148415 h 206289"/>
                  <a:gd name="connsiteX5" fmla="*/ 137922 w 183165"/>
                  <a:gd name="connsiteY5" fmla="*/ 169751 h 206289"/>
                  <a:gd name="connsiteX6" fmla="*/ 109918 w 183165"/>
                  <a:gd name="connsiteY6" fmla="*/ 174323 h 206289"/>
                  <a:gd name="connsiteX7" fmla="*/ 109251 w 183165"/>
                  <a:gd name="connsiteY7" fmla="*/ 174323 h 206289"/>
                  <a:gd name="connsiteX8" fmla="*/ 109156 w 183165"/>
                  <a:gd name="connsiteY8" fmla="*/ 174323 h 206289"/>
                  <a:gd name="connsiteX9" fmla="*/ 81153 w 183165"/>
                  <a:gd name="connsiteY9" fmla="*/ 169751 h 206289"/>
                  <a:gd name="connsiteX10" fmla="*/ 60770 w 183165"/>
                  <a:gd name="connsiteY10" fmla="*/ 146700 h 206289"/>
                  <a:gd name="connsiteX11" fmla="*/ 55054 w 183165"/>
                  <a:gd name="connsiteY11" fmla="*/ 101266 h 206289"/>
                  <a:gd name="connsiteX12" fmla="*/ 60770 w 183165"/>
                  <a:gd name="connsiteY12" fmla="*/ 52403 h 206289"/>
                  <a:gd name="connsiteX13" fmla="*/ 101632 w 183165"/>
                  <a:gd name="connsiteY13" fmla="*/ 31352 h 206289"/>
                  <a:gd name="connsiteX14" fmla="*/ 138684 w 183165"/>
                  <a:gd name="connsiteY14" fmla="*/ 45831 h 206289"/>
                  <a:gd name="connsiteX15" fmla="*/ 145542 w 183165"/>
                  <a:gd name="connsiteY15" fmla="*/ 58594 h 206289"/>
                  <a:gd name="connsiteX16" fmla="*/ 145542 w 183165"/>
                  <a:gd name="connsiteY16" fmla="*/ 60690 h 206289"/>
                  <a:gd name="connsiteX17" fmla="*/ 151638 w 183165"/>
                  <a:gd name="connsiteY17" fmla="*/ 66786 h 206289"/>
                  <a:gd name="connsiteX18" fmla="*/ 167450 w 183165"/>
                  <a:gd name="connsiteY18" fmla="*/ 66786 h 206289"/>
                  <a:gd name="connsiteX19" fmla="*/ 173545 w 183165"/>
                  <a:gd name="connsiteY19" fmla="*/ 60690 h 206289"/>
                  <a:gd name="connsiteX20" fmla="*/ 174021 w 183165"/>
                  <a:gd name="connsiteY20" fmla="*/ 13350 h 206289"/>
                  <a:gd name="connsiteX21" fmla="*/ 170688 w 183165"/>
                  <a:gd name="connsiteY21" fmla="*/ 6492 h 206289"/>
                  <a:gd name="connsiteX22" fmla="*/ 109633 w 183165"/>
                  <a:gd name="connsiteY22" fmla="*/ 15 h 206289"/>
                  <a:gd name="connsiteX23" fmla="*/ 38576 w 183165"/>
                  <a:gd name="connsiteY23" fmla="*/ 15255 h 206289"/>
                  <a:gd name="connsiteX24" fmla="*/ 0 w 183165"/>
                  <a:gd name="connsiteY24" fmla="*/ 98123 h 206289"/>
                  <a:gd name="connsiteX25" fmla="*/ 24384 w 183165"/>
                  <a:gd name="connsiteY25" fmla="*/ 179085 h 206289"/>
                  <a:gd name="connsiteX26" fmla="*/ 85249 w 183165"/>
                  <a:gd name="connsiteY26" fmla="*/ 204517 h 206289"/>
                  <a:gd name="connsiteX27" fmla="*/ 102298 w 183165"/>
                  <a:gd name="connsiteY27" fmla="*/ 205946 h 206289"/>
                  <a:gd name="connsiteX28" fmla="*/ 109251 w 183165"/>
                  <a:gd name="connsiteY28" fmla="*/ 206232 h 206289"/>
                  <a:gd name="connsiteX29" fmla="*/ 127540 w 183165"/>
                  <a:gd name="connsiteY29" fmla="*/ 205470 h 206289"/>
                  <a:gd name="connsiteX30" fmla="*/ 177069 w 183165"/>
                  <a:gd name="connsiteY30" fmla="*/ 199659 h 206289"/>
                  <a:gd name="connsiteX31" fmla="*/ 183166 w 183165"/>
                  <a:gd name="connsiteY31" fmla="*/ 193563 h 206289"/>
                  <a:gd name="connsiteX32" fmla="*/ 182689 w 183165"/>
                  <a:gd name="connsiteY32" fmla="*/ 146319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165" h="206289">
                    <a:moveTo>
                      <a:pt x="182689" y="146319"/>
                    </a:moveTo>
                    <a:cubicBezTo>
                      <a:pt x="182689" y="142986"/>
                      <a:pt x="179927" y="140223"/>
                      <a:pt x="176593" y="140223"/>
                    </a:cubicBezTo>
                    <a:lnTo>
                      <a:pt x="160782" y="140223"/>
                    </a:lnTo>
                    <a:cubicBezTo>
                      <a:pt x="157448" y="140223"/>
                      <a:pt x="154686" y="142986"/>
                      <a:pt x="154686" y="146319"/>
                    </a:cubicBezTo>
                    <a:lnTo>
                      <a:pt x="154686" y="148415"/>
                    </a:lnTo>
                    <a:cubicBezTo>
                      <a:pt x="154305" y="157178"/>
                      <a:pt x="143542" y="167465"/>
                      <a:pt x="137922" y="169751"/>
                    </a:cubicBezTo>
                    <a:cubicBezTo>
                      <a:pt x="127730" y="173847"/>
                      <a:pt x="124206" y="173847"/>
                      <a:pt x="109918" y="174323"/>
                    </a:cubicBezTo>
                    <a:cubicBezTo>
                      <a:pt x="109728" y="174323"/>
                      <a:pt x="109538" y="174323"/>
                      <a:pt x="109251" y="174323"/>
                    </a:cubicBezTo>
                    <a:lnTo>
                      <a:pt x="109156" y="174323"/>
                    </a:lnTo>
                    <a:cubicBezTo>
                      <a:pt x="94869" y="173847"/>
                      <a:pt x="91344" y="173847"/>
                      <a:pt x="81153" y="169751"/>
                    </a:cubicBezTo>
                    <a:cubicBezTo>
                      <a:pt x="75438" y="167465"/>
                      <a:pt x="64198" y="155844"/>
                      <a:pt x="60770" y="146700"/>
                    </a:cubicBezTo>
                    <a:cubicBezTo>
                      <a:pt x="58293" y="139652"/>
                      <a:pt x="55054" y="130698"/>
                      <a:pt x="55054" y="101266"/>
                    </a:cubicBezTo>
                    <a:cubicBezTo>
                      <a:pt x="55054" y="71834"/>
                      <a:pt x="57150" y="58213"/>
                      <a:pt x="60770" y="52403"/>
                    </a:cubicBezTo>
                    <a:cubicBezTo>
                      <a:pt x="67246" y="42116"/>
                      <a:pt x="77534" y="31352"/>
                      <a:pt x="101632" y="31352"/>
                    </a:cubicBezTo>
                    <a:cubicBezTo>
                      <a:pt x="125730" y="31352"/>
                      <a:pt x="134493" y="40116"/>
                      <a:pt x="138684" y="45831"/>
                    </a:cubicBezTo>
                    <a:cubicBezTo>
                      <a:pt x="138684" y="45831"/>
                      <a:pt x="145161" y="51165"/>
                      <a:pt x="145542" y="58594"/>
                    </a:cubicBezTo>
                    <a:lnTo>
                      <a:pt x="145542" y="60690"/>
                    </a:lnTo>
                    <a:cubicBezTo>
                      <a:pt x="145542" y="64023"/>
                      <a:pt x="148304" y="66786"/>
                      <a:pt x="151638" y="66786"/>
                    </a:cubicBezTo>
                    <a:lnTo>
                      <a:pt x="167450" y="66786"/>
                    </a:lnTo>
                    <a:cubicBezTo>
                      <a:pt x="170783" y="66786"/>
                      <a:pt x="173545" y="64023"/>
                      <a:pt x="173545" y="60690"/>
                    </a:cubicBezTo>
                    <a:lnTo>
                      <a:pt x="174021" y="13350"/>
                    </a:lnTo>
                    <a:cubicBezTo>
                      <a:pt x="174021" y="13350"/>
                      <a:pt x="174879" y="9921"/>
                      <a:pt x="170688" y="6492"/>
                    </a:cubicBezTo>
                    <a:cubicBezTo>
                      <a:pt x="170688" y="6492"/>
                      <a:pt x="147733" y="-366"/>
                      <a:pt x="109633" y="15"/>
                    </a:cubicBezTo>
                    <a:cubicBezTo>
                      <a:pt x="77914" y="301"/>
                      <a:pt x="52006" y="6873"/>
                      <a:pt x="38576" y="15255"/>
                    </a:cubicBezTo>
                    <a:cubicBezTo>
                      <a:pt x="25241" y="23637"/>
                      <a:pt x="0" y="48117"/>
                      <a:pt x="0" y="98123"/>
                    </a:cubicBezTo>
                    <a:cubicBezTo>
                      <a:pt x="0" y="148129"/>
                      <a:pt x="11049" y="166512"/>
                      <a:pt x="24384" y="179085"/>
                    </a:cubicBezTo>
                    <a:cubicBezTo>
                      <a:pt x="35433" y="189468"/>
                      <a:pt x="51816" y="200326"/>
                      <a:pt x="85249" y="204517"/>
                    </a:cubicBezTo>
                    <a:cubicBezTo>
                      <a:pt x="86296" y="205374"/>
                      <a:pt x="95155" y="205946"/>
                      <a:pt x="102298" y="205946"/>
                    </a:cubicBezTo>
                    <a:cubicBezTo>
                      <a:pt x="104584" y="206041"/>
                      <a:pt x="106870" y="206136"/>
                      <a:pt x="109251" y="206232"/>
                    </a:cubicBezTo>
                    <a:cubicBezTo>
                      <a:pt x="116205" y="206422"/>
                      <a:pt x="122301" y="206136"/>
                      <a:pt x="127540" y="205470"/>
                    </a:cubicBezTo>
                    <a:cubicBezTo>
                      <a:pt x="167640" y="203946"/>
                      <a:pt x="177069" y="199659"/>
                      <a:pt x="177069" y="199659"/>
                    </a:cubicBezTo>
                    <a:cubicBezTo>
                      <a:pt x="180404" y="199659"/>
                      <a:pt x="183166" y="196897"/>
                      <a:pt x="183166" y="193563"/>
                    </a:cubicBezTo>
                    <a:lnTo>
                      <a:pt x="182689" y="146319"/>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5" name="Freeform 54">
                <a:extLst>
                  <a:ext uri="{FF2B5EF4-FFF2-40B4-BE49-F238E27FC236}">
                    <a16:creationId xmlns:a16="http://schemas.microsoft.com/office/drawing/2014/main" id="{6D71653D-40E8-784D-A89C-8F185676093F}"/>
                  </a:ext>
                </a:extLst>
              </p:cNvPr>
              <p:cNvSpPr/>
              <p:nvPr/>
            </p:nvSpPr>
            <p:spPr>
              <a:xfrm>
                <a:off x="1736261" y="6300670"/>
                <a:ext cx="85049" cy="91322"/>
              </a:xfrm>
              <a:custGeom>
                <a:avLst/>
                <a:gdLst>
                  <a:gd name="connsiteX0" fmla="*/ 191548 w 192119"/>
                  <a:gd name="connsiteY0" fmla="*/ 145843 h 206289"/>
                  <a:gd name="connsiteX1" fmla="*/ 192119 w 192119"/>
                  <a:gd name="connsiteY1" fmla="*/ 144890 h 206289"/>
                  <a:gd name="connsiteX2" fmla="*/ 191643 w 192119"/>
                  <a:gd name="connsiteY2" fmla="*/ 97551 h 206289"/>
                  <a:gd name="connsiteX3" fmla="*/ 185547 w 192119"/>
                  <a:gd name="connsiteY3" fmla="*/ 91455 h 206289"/>
                  <a:gd name="connsiteX4" fmla="*/ 114300 w 192119"/>
                  <a:gd name="connsiteY4" fmla="*/ 91455 h 206289"/>
                  <a:gd name="connsiteX5" fmla="*/ 108204 w 192119"/>
                  <a:gd name="connsiteY5" fmla="*/ 97551 h 206289"/>
                  <a:gd name="connsiteX6" fmla="*/ 108204 w 192119"/>
                  <a:gd name="connsiteY6" fmla="*/ 99647 h 206289"/>
                  <a:gd name="connsiteX7" fmla="*/ 108204 w 192119"/>
                  <a:gd name="connsiteY7" fmla="*/ 116030 h 206289"/>
                  <a:gd name="connsiteX8" fmla="*/ 108204 w 192119"/>
                  <a:gd name="connsiteY8" fmla="*/ 118125 h 206289"/>
                  <a:gd name="connsiteX9" fmla="*/ 114300 w 192119"/>
                  <a:gd name="connsiteY9" fmla="*/ 124221 h 206289"/>
                  <a:gd name="connsiteX10" fmla="*/ 141827 w 192119"/>
                  <a:gd name="connsiteY10" fmla="*/ 124221 h 206289"/>
                  <a:gd name="connsiteX11" fmla="*/ 141827 w 192119"/>
                  <a:gd name="connsiteY11" fmla="*/ 167560 h 206289"/>
                  <a:gd name="connsiteX12" fmla="*/ 138017 w 192119"/>
                  <a:gd name="connsiteY12" fmla="*/ 169751 h 206289"/>
                  <a:gd name="connsiteX13" fmla="*/ 110014 w 192119"/>
                  <a:gd name="connsiteY13" fmla="*/ 174323 h 206289"/>
                  <a:gd name="connsiteX14" fmla="*/ 109347 w 192119"/>
                  <a:gd name="connsiteY14" fmla="*/ 174323 h 206289"/>
                  <a:gd name="connsiteX15" fmla="*/ 109252 w 192119"/>
                  <a:gd name="connsiteY15" fmla="*/ 174323 h 206289"/>
                  <a:gd name="connsiteX16" fmla="*/ 81248 w 192119"/>
                  <a:gd name="connsiteY16" fmla="*/ 169751 h 206289"/>
                  <a:gd name="connsiteX17" fmla="*/ 60769 w 192119"/>
                  <a:gd name="connsiteY17" fmla="*/ 146700 h 206289"/>
                  <a:gd name="connsiteX18" fmla="*/ 55054 w 192119"/>
                  <a:gd name="connsiteY18" fmla="*/ 101266 h 206289"/>
                  <a:gd name="connsiteX19" fmla="*/ 60769 w 192119"/>
                  <a:gd name="connsiteY19" fmla="*/ 52403 h 206289"/>
                  <a:gd name="connsiteX20" fmla="*/ 101632 w 192119"/>
                  <a:gd name="connsiteY20" fmla="*/ 31353 h 206289"/>
                  <a:gd name="connsiteX21" fmla="*/ 138684 w 192119"/>
                  <a:gd name="connsiteY21" fmla="*/ 45831 h 206289"/>
                  <a:gd name="connsiteX22" fmla="*/ 145542 w 192119"/>
                  <a:gd name="connsiteY22" fmla="*/ 58594 h 206289"/>
                  <a:gd name="connsiteX23" fmla="*/ 145542 w 192119"/>
                  <a:gd name="connsiteY23" fmla="*/ 60690 h 206289"/>
                  <a:gd name="connsiteX24" fmla="*/ 151638 w 192119"/>
                  <a:gd name="connsiteY24" fmla="*/ 66786 h 206289"/>
                  <a:gd name="connsiteX25" fmla="*/ 167449 w 192119"/>
                  <a:gd name="connsiteY25" fmla="*/ 66786 h 206289"/>
                  <a:gd name="connsiteX26" fmla="*/ 173546 w 192119"/>
                  <a:gd name="connsiteY26" fmla="*/ 60690 h 206289"/>
                  <a:gd name="connsiteX27" fmla="*/ 174022 w 192119"/>
                  <a:gd name="connsiteY27" fmla="*/ 13350 h 206289"/>
                  <a:gd name="connsiteX28" fmla="*/ 170688 w 192119"/>
                  <a:gd name="connsiteY28" fmla="*/ 6492 h 206289"/>
                  <a:gd name="connsiteX29" fmla="*/ 109633 w 192119"/>
                  <a:gd name="connsiteY29" fmla="*/ 15 h 206289"/>
                  <a:gd name="connsiteX30" fmla="*/ 38576 w 192119"/>
                  <a:gd name="connsiteY30" fmla="*/ 15255 h 206289"/>
                  <a:gd name="connsiteX31" fmla="*/ 0 w 192119"/>
                  <a:gd name="connsiteY31" fmla="*/ 98123 h 206289"/>
                  <a:gd name="connsiteX32" fmla="*/ 24384 w 192119"/>
                  <a:gd name="connsiteY32" fmla="*/ 179085 h 206289"/>
                  <a:gd name="connsiteX33" fmla="*/ 85249 w 192119"/>
                  <a:gd name="connsiteY33" fmla="*/ 204517 h 206289"/>
                  <a:gd name="connsiteX34" fmla="*/ 102298 w 192119"/>
                  <a:gd name="connsiteY34" fmla="*/ 205946 h 206289"/>
                  <a:gd name="connsiteX35" fmla="*/ 109252 w 192119"/>
                  <a:gd name="connsiteY35" fmla="*/ 206232 h 206289"/>
                  <a:gd name="connsiteX36" fmla="*/ 127540 w 192119"/>
                  <a:gd name="connsiteY36" fmla="*/ 205469 h 206289"/>
                  <a:gd name="connsiteX37" fmla="*/ 185928 w 192119"/>
                  <a:gd name="connsiteY37" fmla="*/ 199659 h 206289"/>
                  <a:gd name="connsiteX38" fmla="*/ 192024 w 192119"/>
                  <a:gd name="connsiteY38" fmla="*/ 193563 h 206289"/>
                  <a:gd name="connsiteX39" fmla="*/ 191548 w 192119"/>
                  <a:gd name="connsiteY39" fmla="*/ 146224 h 206289"/>
                  <a:gd name="connsiteX40" fmla="*/ 191548 w 192119"/>
                  <a:gd name="connsiteY40" fmla="*/ 145843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2119" h="206289">
                    <a:moveTo>
                      <a:pt x="191548" y="145843"/>
                    </a:moveTo>
                    <a:lnTo>
                      <a:pt x="192119" y="144890"/>
                    </a:lnTo>
                    <a:lnTo>
                      <a:pt x="191643" y="97551"/>
                    </a:lnTo>
                    <a:cubicBezTo>
                      <a:pt x="191643" y="94218"/>
                      <a:pt x="188881" y="91455"/>
                      <a:pt x="185547" y="91455"/>
                    </a:cubicBezTo>
                    <a:lnTo>
                      <a:pt x="114300" y="91455"/>
                    </a:lnTo>
                    <a:cubicBezTo>
                      <a:pt x="110966" y="91455"/>
                      <a:pt x="108204" y="94218"/>
                      <a:pt x="108204" y="97551"/>
                    </a:cubicBezTo>
                    <a:lnTo>
                      <a:pt x="108204" y="99647"/>
                    </a:lnTo>
                    <a:lnTo>
                      <a:pt x="108204" y="116030"/>
                    </a:lnTo>
                    <a:lnTo>
                      <a:pt x="108204" y="118125"/>
                    </a:lnTo>
                    <a:cubicBezTo>
                      <a:pt x="108204" y="121459"/>
                      <a:pt x="110966" y="124221"/>
                      <a:pt x="114300" y="124221"/>
                    </a:cubicBezTo>
                    <a:lnTo>
                      <a:pt x="141827" y="124221"/>
                    </a:lnTo>
                    <a:lnTo>
                      <a:pt x="141827" y="167560"/>
                    </a:lnTo>
                    <a:cubicBezTo>
                      <a:pt x="140398" y="168513"/>
                      <a:pt x="139160" y="169274"/>
                      <a:pt x="138017" y="169751"/>
                    </a:cubicBezTo>
                    <a:cubicBezTo>
                      <a:pt x="127825" y="173847"/>
                      <a:pt x="124301" y="173847"/>
                      <a:pt x="110014" y="174323"/>
                    </a:cubicBezTo>
                    <a:cubicBezTo>
                      <a:pt x="109823" y="174323"/>
                      <a:pt x="109633" y="174323"/>
                      <a:pt x="109347" y="174323"/>
                    </a:cubicBezTo>
                    <a:lnTo>
                      <a:pt x="109252" y="174323"/>
                    </a:lnTo>
                    <a:cubicBezTo>
                      <a:pt x="94964" y="173847"/>
                      <a:pt x="91440" y="173847"/>
                      <a:pt x="81248" y="169751"/>
                    </a:cubicBezTo>
                    <a:cubicBezTo>
                      <a:pt x="75533" y="167465"/>
                      <a:pt x="64294" y="155844"/>
                      <a:pt x="60769" y="146700"/>
                    </a:cubicBezTo>
                    <a:cubicBezTo>
                      <a:pt x="58293" y="139652"/>
                      <a:pt x="55054" y="130698"/>
                      <a:pt x="55054" y="101266"/>
                    </a:cubicBezTo>
                    <a:cubicBezTo>
                      <a:pt x="55054" y="71834"/>
                      <a:pt x="57150" y="58213"/>
                      <a:pt x="60769" y="52403"/>
                    </a:cubicBezTo>
                    <a:cubicBezTo>
                      <a:pt x="67246" y="42116"/>
                      <a:pt x="77533" y="31353"/>
                      <a:pt x="101632" y="31353"/>
                    </a:cubicBezTo>
                    <a:cubicBezTo>
                      <a:pt x="125730" y="31353"/>
                      <a:pt x="134493" y="40115"/>
                      <a:pt x="138684" y="45831"/>
                    </a:cubicBezTo>
                    <a:cubicBezTo>
                      <a:pt x="138684" y="45831"/>
                      <a:pt x="145161" y="51165"/>
                      <a:pt x="145542" y="58594"/>
                    </a:cubicBezTo>
                    <a:lnTo>
                      <a:pt x="145542" y="60690"/>
                    </a:lnTo>
                    <a:cubicBezTo>
                      <a:pt x="145542" y="64023"/>
                      <a:pt x="148304" y="66786"/>
                      <a:pt x="151638" y="66786"/>
                    </a:cubicBezTo>
                    <a:lnTo>
                      <a:pt x="167449" y="66786"/>
                    </a:lnTo>
                    <a:cubicBezTo>
                      <a:pt x="170783" y="66786"/>
                      <a:pt x="173546" y="64023"/>
                      <a:pt x="173546" y="60690"/>
                    </a:cubicBezTo>
                    <a:lnTo>
                      <a:pt x="174022" y="13350"/>
                    </a:lnTo>
                    <a:cubicBezTo>
                      <a:pt x="174022" y="13350"/>
                      <a:pt x="174879" y="9921"/>
                      <a:pt x="170688" y="6492"/>
                    </a:cubicBezTo>
                    <a:cubicBezTo>
                      <a:pt x="170688" y="6492"/>
                      <a:pt x="147733" y="-366"/>
                      <a:pt x="109633" y="15"/>
                    </a:cubicBezTo>
                    <a:cubicBezTo>
                      <a:pt x="77914" y="301"/>
                      <a:pt x="52006" y="6873"/>
                      <a:pt x="38576" y="15255"/>
                    </a:cubicBezTo>
                    <a:cubicBezTo>
                      <a:pt x="25241" y="23637"/>
                      <a:pt x="0" y="48116"/>
                      <a:pt x="0" y="98123"/>
                    </a:cubicBezTo>
                    <a:cubicBezTo>
                      <a:pt x="0" y="148129"/>
                      <a:pt x="11049" y="166512"/>
                      <a:pt x="24384" y="179085"/>
                    </a:cubicBezTo>
                    <a:cubicBezTo>
                      <a:pt x="35433" y="189468"/>
                      <a:pt x="51911" y="200326"/>
                      <a:pt x="85249" y="204517"/>
                    </a:cubicBezTo>
                    <a:cubicBezTo>
                      <a:pt x="86296" y="205374"/>
                      <a:pt x="95155" y="205946"/>
                      <a:pt x="102298" y="205946"/>
                    </a:cubicBezTo>
                    <a:cubicBezTo>
                      <a:pt x="104584" y="206041"/>
                      <a:pt x="106775" y="206136"/>
                      <a:pt x="109252" y="206232"/>
                    </a:cubicBezTo>
                    <a:cubicBezTo>
                      <a:pt x="116205" y="206422"/>
                      <a:pt x="122301" y="206136"/>
                      <a:pt x="127540" y="205469"/>
                    </a:cubicBezTo>
                    <a:cubicBezTo>
                      <a:pt x="167640" y="203945"/>
                      <a:pt x="185928" y="199659"/>
                      <a:pt x="185928" y="199659"/>
                    </a:cubicBezTo>
                    <a:cubicBezTo>
                      <a:pt x="189262" y="199659"/>
                      <a:pt x="192024" y="196897"/>
                      <a:pt x="192024" y="193563"/>
                    </a:cubicBezTo>
                    <a:lnTo>
                      <a:pt x="191548" y="146224"/>
                    </a:lnTo>
                    <a:cubicBezTo>
                      <a:pt x="191643" y="146224"/>
                      <a:pt x="191643" y="146034"/>
                      <a:pt x="191548" y="145843"/>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6" name="Freeform 55">
                <a:extLst>
                  <a:ext uri="{FF2B5EF4-FFF2-40B4-BE49-F238E27FC236}">
                    <a16:creationId xmlns:a16="http://schemas.microsoft.com/office/drawing/2014/main" id="{C2626AA4-C214-4943-8381-A92272F9C171}"/>
                  </a:ext>
                </a:extLst>
              </p:cNvPr>
              <p:cNvSpPr/>
              <p:nvPr/>
            </p:nvSpPr>
            <p:spPr>
              <a:xfrm>
                <a:off x="1307600" y="6300761"/>
                <a:ext cx="96096" cy="91247"/>
              </a:xfrm>
              <a:custGeom>
                <a:avLst/>
                <a:gdLst>
                  <a:gd name="connsiteX0" fmla="*/ 178403 w 217074"/>
                  <a:gd name="connsiteY0" fmla="*/ 15240 h 206120"/>
                  <a:gd name="connsiteX1" fmla="*/ 111157 w 217074"/>
                  <a:gd name="connsiteY1" fmla="*/ 95 h 206120"/>
                  <a:gd name="connsiteX2" fmla="*/ 111157 w 217074"/>
                  <a:gd name="connsiteY2" fmla="*/ 0 h 206120"/>
                  <a:gd name="connsiteX3" fmla="*/ 105823 w 217074"/>
                  <a:gd name="connsiteY3" fmla="*/ 0 h 206120"/>
                  <a:gd name="connsiteX4" fmla="*/ 105823 w 217074"/>
                  <a:gd name="connsiteY4" fmla="*/ 95 h 206120"/>
                  <a:gd name="connsiteX5" fmla="*/ 38576 w 217074"/>
                  <a:gd name="connsiteY5" fmla="*/ 15240 h 206120"/>
                  <a:gd name="connsiteX6" fmla="*/ 0 w 217074"/>
                  <a:gd name="connsiteY6" fmla="*/ 98108 h 206120"/>
                  <a:gd name="connsiteX7" fmla="*/ 24479 w 217074"/>
                  <a:gd name="connsiteY7" fmla="*/ 179070 h 206120"/>
                  <a:gd name="connsiteX8" fmla="*/ 85344 w 217074"/>
                  <a:gd name="connsiteY8" fmla="*/ 204502 h 206120"/>
                  <a:gd name="connsiteX9" fmla="*/ 102394 w 217074"/>
                  <a:gd name="connsiteY9" fmla="*/ 205931 h 206120"/>
                  <a:gd name="connsiteX10" fmla="*/ 111252 w 217074"/>
                  <a:gd name="connsiteY10" fmla="*/ 206121 h 206120"/>
                  <a:gd name="connsiteX11" fmla="*/ 131731 w 217074"/>
                  <a:gd name="connsiteY11" fmla="*/ 204502 h 206120"/>
                  <a:gd name="connsiteX12" fmla="*/ 192596 w 217074"/>
                  <a:gd name="connsiteY12" fmla="*/ 179070 h 206120"/>
                  <a:gd name="connsiteX13" fmla="*/ 217075 w 217074"/>
                  <a:gd name="connsiteY13" fmla="*/ 98108 h 206120"/>
                  <a:gd name="connsiteX14" fmla="*/ 178403 w 217074"/>
                  <a:gd name="connsiteY14" fmla="*/ 15240 h 206120"/>
                  <a:gd name="connsiteX15" fmla="*/ 156210 w 217074"/>
                  <a:gd name="connsiteY15" fmla="*/ 146590 h 206120"/>
                  <a:gd name="connsiteX16" fmla="*/ 135826 w 217074"/>
                  <a:gd name="connsiteY16" fmla="*/ 169640 h 206120"/>
                  <a:gd name="connsiteX17" fmla="*/ 108490 w 217074"/>
                  <a:gd name="connsiteY17" fmla="*/ 174212 h 206120"/>
                  <a:gd name="connsiteX18" fmla="*/ 81153 w 217074"/>
                  <a:gd name="connsiteY18" fmla="*/ 169640 h 206120"/>
                  <a:gd name="connsiteX19" fmla="*/ 60770 w 217074"/>
                  <a:gd name="connsiteY19" fmla="*/ 146590 h 206120"/>
                  <a:gd name="connsiteX20" fmla="*/ 55054 w 217074"/>
                  <a:gd name="connsiteY20" fmla="*/ 101156 h 206120"/>
                  <a:gd name="connsiteX21" fmla="*/ 60770 w 217074"/>
                  <a:gd name="connsiteY21" fmla="*/ 52292 h 206120"/>
                  <a:gd name="connsiteX22" fmla="*/ 101632 w 217074"/>
                  <a:gd name="connsiteY22" fmla="*/ 31242 h 206120"/>
                  <a:gd name="connsiteX23" fmla="*/ 115348 w 217074"/>
                  <a:gd name="connsiteY23" fmla="*/ 31242 h 206120"/>
                  <a:gd name="connsiteX24" fmla="*/ 156210 w 217074"/>
                  <a:gd name="connsiteY24" fmla="*/ 52292 h 206120"/>
                  <a:gd name="connsiteX25" fmla="*/ 161925 w 217074"/>
                  <a:gd name="connsiteY25" fmla="*/ 101156 h 206120"/>
                  <a:gd name="connsiteX26" fmla="*/ 156210 w 217074"/>
                  <a:gd name="connsiteY26" fmla="*/ 146590 h 20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74" h="206120">
                    <a:moveTo>
                      <a:pt x="178403" y="15240"/>
                    </a:moveTo>
                    <a:cubicBezTo>
                      <a:pt x="165545" y="7144"/>
                      <a:pt x="141160" y="857"/>
                      <a:pt x="111157" y="95"/>
                    </a:cubicBezTo>
                    <a:lnTo>
                      <a:pt x="111157" y="0"/>
                    </a:lnTo>
                    <a:cubicBezTo>
                      <a:pt x="110680" y="0"/>
                      <a:pt x="106299" y="0"/>
                      <a:pt x="105823" y="0"/>
                    </a:cubicBezTo>
                    <a:lnTo>
                      <a:pt x="105823" y="95"/>
                    </a:lnTo>
                    <a:cubicBezTo>
                      <a:pt x="75819" y="857"/>
                      <a:pt x="51435" y="7239"/>
                      <a:pt x="38576" y="15240"/>
                    </a:cubicBezTo>
                    <a:cubicBezTo>
                      <a:pt x="25241" y="23622"/>
                      <a:pt x="0" y="48101"/>
                      <a:pt x="0" y="98108"/>
                    </a:cubicBezTo>
                    <a:cubicBezTo>
                      <a:pt x="0" y="148114"/>
                      <a:pt x="11049" y="166497"/>
                      <a:pt x="24479" y="179070"/>
                    </a:cubicBezTo>
                    <a:cubicBezTo>
                      <a:pt x="35433" y="189452"/>
                      <a:pt x="51911" y="200311"/>
                      <a:pt x="85344" y="204502"/>
                    </a:cubicBezTo>
                    <a:cubicBezTo>
                      <a:pt x="86392" y="205359"/>
                      <a:pt x="95250" y="205931"/>
                      <a:pt x="102394" y="205931"/>
                    </a:cubicBezTo>
                    <a:cubicBezTo>
                      <a:pt x="103537" y="206026"/>
                      <a:pt x="111252" y="206121"/>
                      <a:pt x="111252" y="206121"/>
                    </a:cubicBezTo>
                    <a:cubicBezTo>
                      <a:pt x="112395" y="206121"/>
                      <a:pt x="130683" y="205359"/>
                      <a:pt x="131731" y="204502"/>
                    </a:cubicBezTo>
                    <a:cubicBezTo>
                      <a:pt x="165068" y="200311"/>
                      <a:pt x="181546" y="189452"/>
                      <a:pt x="192596" y="179070"/>
                    </a:cubicBezTo>
                    <a:cubicBezTo>
                      <a:pt x="205930" y="166497"/>
                      <a:pt x="217075" y="148114"/>
                      <a:pt x="217075" y="98108"/>
                    </a:cubicBezTo>
                    <a:cubicBezTo>
                      <a:pt x="216979" y="48101"/>
                      <a:pt x="191738" y="23622"/>
                      <a:pt x="178403" y="15240"/>
                    </a:cubicBezTo>
                    <a:close/>
                    <a:moveTo>
                      <a:pt x="156210" y="146590"/>
                    </a:moveTo>
                    <a:cubicBezTo>
                      <a:pt x="152781" y="155734"/>
                      <a:pt x="141446" y="167354"/>
                      <a:pt x="135826" y="169640"/>
                    </a:cubicBezTo>
                    <a:cubicBezTo>
                      <a:pt x="125825" y="173641"/>
                      <a:pt x="122206" y="173736"/>
                      <a:pt x="108490" y="174212"/>
                    </a:cubicBezTo>
                    <a:cubicBezTo>
                      <a:pt x="94869" y="173736"/>
                      <a:pt x="91154" y="173641"/>
                      <a:pt x="81153" y="169640"/>
                    </a:cubicBezTo>
                    <a:cubicBezTo>
                      <a:pt x="75438" y="167354"/>
                      <a:pt x="64198" y="155734"/>
                      <a:pt x="60770" y="146590"/>
                    </a:cubicBezTo>
                    <a:cubicBezTo>
                      <a:pt x="58293" y="139541"/>
                      <a:pt x="55054" y="130588"/>
                      <a:pt x="55054" y="101156"/>
                    </a:cubicBezTo>
                    <a:cubicBezTo>
                      <a:pt x="55054" y="71723"/>
                      <a:pt x="57150" y="58103"/>
                      <a:pt x="60770" y="52292"/>
                    </a:cubicBezTo>
                    <a:cubicBezTo>
                      <a:pt x="67246" y="42005"/>
                      <a:pt x="77533" y="31242"/>
                      <a:pt x="101632" y="31242"/>
                    </a:cubicBezTo>
                    <a:cubicBezTo>
                      <a:pt x="103060" y="31242"/>
                      <a:pt x="113919" y="31242"/>
                      <a:pt x="115348" y="31242"/>
                    </a:cubicBezTo>
                    <a:cubicBezTo>
                      <a:pt x="143161" y="31147"/>
                      <a:pt x="149733" y="41910"/>
                      <a:pt x="156210" y="52292"/>
                    </a:cubicBezTo>
                    <a:cubicBezTo>
                      <a:pt x="159829" y="58103"/>
                      <a:pt x="161925" y="71723"/>
                      <a:pt x="161925" y="101156"/>
                    </a:cubicBezTo>
                    <a:cubicBezTo>
                      <a:pt x="161925" y="130588"/>
                      <a:pt x="158687" y="139541"/>
                      <a:pt x="156210" y="14659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7" name="Freeform 56">
                <a:extLst>
                  <a:ext uri="{FF2B5EF4-FFF2-40B4-BE49-F238E27FC236}">
                    <a16:creationId xmlns:a16="http://schemas.microsoft.com/office/drawing/2014/main" id="{EEA10CBC-53B6-B44F-A968-A94248AF0AFA}"/>
                  </a:ext>
                </a:extLst>
              </p:cNvPr>
              <p:cNvSpPr/>
              <p:nvPr/>
            </p:nvSpPr>
            <p:spPr>
              <a:xfrm>
                <a:off x="1215214" y="6440331"/>
                <a:ext cx="73917" cy="70291"/>
              </a:xfrm>
              <a:custGeom>
                <a:avLst/>
                <a:gdLst>
                  <a:gd name="connsiteX0" fmla="*/ 137160 w 166973"/>
                  <a:gd name="connsiteY0" fmla="*/ 11811 h 158781"/>
                  <a:gd name="connsiteX1" fmla="*/ 85439 w 166973"/>
                  <a:gd name="connsiteY1" fmla="*/ 95 h 158781"/>
                  <a:gd name="connsiteX2" fmla="*/ 85439 w 166973"/>
                  <a:gd name="connsiteY2" fmla="*/ 0 h 158781"/>
                  <a:gd name="connsiteX3" fmla="*/ 84296 w 166973"/>
                  <a:gd name="connsiteY3" fmla="*/ 0 h 158781"/>
                  <a:gd name="connsiteX4" fmla="*/ 83439 w 166973"/>
                  <a:gd name="connsiteY4" fmla="*/ 0 h 158781"/>
                  <a:gd name="connsiteX5" fmla="*/ 82582 w 166973"/>
                  <a:gd name="connsiteY5" fmla="*/ 0 h 158781"/>
                  <a:gd name="connsiteX6" fmla="*/ 81439 w 166973"/>
                  <a:gd name="connsiteY6" fmla="*/ 0 h 158781"/>
                  <a:gd name="connsiteX7" fmla="*/ 81439 w 166973"/>
                  <a:gd name="connsiteY7" fmla="*/ 95 h 158781"/>
                  <a:gd name="connsiteX8" fmla="*/ 29718 w 166973"/>
                  <a:gd name="connsiteY8" fmla="*/ 11811 h 158781"/>
                  <a:gd name="connsiteX9" fmla="*/ 0 w 166973"/>
                  <a:gd name="connsiteY9" fmla="*/ 75629 h 158781"/>
                  <a:gd name="connsiteX10" fmla="*/ 18859 w 166973"/>
                  <a:gd name="connsiteY10" fmla="*/ 137922 h 158781"/>
                  <a:gd name="connsiteX11" fmla="*/ 65722 w 166973"/>
                  <a:gd name="connsiteY11" fmla="*/ 157448 h 158781"/>
                  <a:gd name="connsiteX12" fmla="*/ 78867 w 166973"/>
                  <a:gd name="connsiteY12" fmla="*/ 158591 h 158781"/>
                  <a:gd name="connsiteX13" fmla="*/ 81534 w 166973"/>
                  <a:gd name="connsiteY13" fmla="*/ 158687 h 158781"/>
                  <a:gd name="connsiteX14" fmla="*/ 81534 w 166973"/>
                  <a:gd name="connsiteY14" fmla="*/ 158782 h 158781"/>
                  <a:gd name="connsiteX15" fmla="*/ 82963 w 166973"/>
                  <a:gd name="connsiteY15" fmla="*/ 158782 h 158781"/>
                  <a:gd name="connsiteX16" fmla="*/ 83534 w 166973"/>
                  <a:gd name="connsiteY16" fmla="*/ 158782 h 158781"/>
                  <a:gd name="connsiteX17" fmla="*/ 84106 w 166973"/>
                  <a:gd name="connsiteY17" fmla="*/ 158782 h 158781"/>
                  <a:gd name="connsiteX18" fmla="*/ 85534 w 166973"/>
                  <a:gd name="connsiteY18" fmla="*/ 158782 h 158781"/>
                  <a:gd name="connsiteX19" fmla="*/ 85534 w 166973"/>
                  <a:gd name="connsiteY19" fmla="*/ 158687 h 158781"/>
                  <a:gd name="connsiteX20" fmla="*/ 88201 w 166973"/>
                  <a:gd name="connsiteY20" fmla="*/ 158591 h 158781"/>
                  <a:gd name="connsiteX21" fmla="*/ 101251 w 166973"/>
                  <a:gd name="connsiteY21" fmla="*/ 157448 h 158781"/>
                  <a:gd name="connsiteX22" fmla="*/ 148114 w 166973"/>
                  <a:gd name="connsiteY22" fmla="*/ 137922 h 158781"/>
                  <a:gd name="connsiteX23" fmla="*/ 166973 w 166973"/>
                  <a:gd name="connsiteY23" fmla="*/ 75629 h 158781"/>
                  <a:gd name="connsiteX24" fmla="*/ 137160 w 166973"/>
                  <a:gd name="connsiteY24" fmla="*/ 11811 h 158781"/>
                  <a:gd name="connsiteX25" fmla="*/ 120110 w 166973"/>
                  <a:gd name="connsiteY25" fmla="*/ 112967 h 158781"/>
                  <a:gd name="connsiteX26" fmla="*/ 104394 w 166973"/>
                  <a:gd name="connsiteY26" fmla="*/ 130683 h 158781"/>
                  <a:gd name="connsiteX27" fmla="*/ 83344 w 166973"/>
                  <a:gd name="connsiteY27" fmla="*/ 134207 h 158781"/>
                  <a:gd name="connsiteX28" fmla="*/ 62294 w 166973"/>
                  <a:gd name="connsiteY28" fmla="*/ 130683 h 158781"/>
                  <a:gd name="connsiteX29" fmla="*/ 46577 w 166973"/>
                  <a:gd name="connsiteY29" fmla="*/ 112967 h 158781"/>
                  <a:gd name="connsiteX30" fmla="*/ 42196 w 166973"/>
                  <a:gd name="connsiteY30" fmla="*/ 78010 h 158781"/>
                  <a:gd name="connsiteX31" fmla="*/ 46577 w 166973"/>
                  <a:gd name="connsiteY31" fmla="*/ 40386 h 158781"/>
                  <a:gd name="connsiteX32" fmla="*/ 78010 w 166973"/>
                  <a:gd name="connsiteY32" fmla="*/ 24193 h 158781"/>
                  <a:gd name="connsiteX33" fmla="*/ 81248 w 166973"/>
                  <a:gd name="connsiteY33" fmla="*/ 24289 h 158781"/>
                  <a:gd name="connsiteX34" fmla="*/ 81248 w 166973"/>
                  <a:gd name="connsiteY34" fmla="*/ 24575 h 158781"/>
                  <a:gd name="connsiteX35" fmla="*/ 83344 w 166973"/>
                  <a:gd name="connsiteY35" fmla="*/ 24384 h 158781"/>
                  <a:gd name="connsiteX36" fmla="*/ 85439 w 166973"/>
                  <a:gd name="connsiteY36" fmla="*/ 24575 h 158781"/>
                  <a:gd name="connsiteX37" fmla="*/ 85439 w 166973"/>
                  <a:gd name="connsiteY37" fmla="*/ 24289 h 158781"/>
                  <a:gd name="connsiteX38" fmla="*/ 88678 w 166973"/>
                  <a:gd name="connsiteY38" fmla="*/ 24193 h 158781"/>
                  <a:gd name="connsiteX39" fmla="*/ 120110 w 166973"/>
                  <a:gd name="connsiteY39" fmla="*/ 40386 h 158781"/>
                  <a:gd name="connsiteX40" fmla="*/ 124492 w 166973"/>
                  <a:gd name="connsiteY40" fmla="*/ 78010 h 158781"/>
                  <a:gd name="connsiteX41" fmla="*/ 120110 w 166973"/>
                  <a:gd name="connsiteY41" fmla="*/ 112967 h 15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973" h="158781">
                    <a:moveTo>
                      <a:pt x="137160" y="11811"/>
                    </a:moveTo>
                    <a:cubicBezTo>
                      <a:pt x="127254" y="5620"/>
                      <a:pt x="108490" y="762"/>
                      <a:pt x="85439" y="95"/>
                    </a:cubicBezTo>
                    <a:lnTo>
                      <a:pt x="85439" y="0"/>
                    </a:lnTo>
                    <a:cubicBezTo>
                      <a:pt x="85058" y="0"/>
                      <a:pt x="84677" y="0"/>
                      <a:pt x="84296" y="0"/>
                    </a:cubicBezTo>
                    <a:cubicBezTo>
                      <a:pt x="84011" y="0"/>
                      <a:pt x="83725" y="0"/>
                      <a:pt x="83439" y="0"/>
                    </a:cubicBezTo>
                    <a:cubicBezTo>
                      <a:pt x="83153" y="0"/>
                      <a:pt x="82867" y="0"/>
                      <a:pt x="82582" y="0"/>
                    </a:cubicBezTo>
                    <a:cubicBezTo>
                      <a:pt x="82201" y="0"/>
                      <a:pt x="81820" y="0"/>
                      <a:pt x="81439" y="0"/>
                    </a:cubicBezTo>
                    <a:lnTo>
                      <a:pt x="81439" y="95"/>
                    </a:lnTo>
                    <a:cubicBezTo>
                      <a:pt x="58388" y="667"/>
                      <a:pt x="39529" y="5620"/>
                      <a:pt x="29718" y="11811"/>
                    </a:cubicBezTo>
                    <a:cubicBezTo>
                      <a:pt x="19431" y="18288"/>
                      <a:pt x="0" y="37052"/>
                      <a:pt x="0" y="75629"/>
                    </a:cubicBezTo>
                    <a:cubicBezTo>
                      <a:pt x="0" y="114109"/>
                      <a:pt x="8572" y="128302"/>
                      <a:pt x="18859" y="137922"/>
                    </a:cubicBezTo>
                    <a:cubicBezTo>
                      <a:pt x="27337" y="145923"/>
                      <a:pt x="40005" y="154305"/>
                      <a:pt x="65722" y="157448"/>
                    </a:cubicBezTo>
                    <a:cubicBezTo>
                      <a:pt x="66580" y="158115"/>
                      <a:pt x="73342" y="158591"/>
                      <a:pt x="78867" y="158591"/>
                    </a:cubicBezTo>
                    <a:cubicBezTo>
                      <a:pt x="79724" y="158591"/>
                      <a:pt x="80677" y="158687"/>
                      <a:pt x="81534" y="158687"/>
                    </a:cubicBezTo>
                    <a:lnTo>
                      <a:pt x="81534" y="158782"/>
                    </a:lnTo>
                    <a:cubicBezTo>
                      <a:pt x="82010" y="158782"/>
                      <a:pt x="82487" y="158782"/>
                      <a:pt x="82963" y="158782"/>
                    </a:cubicBezTo>
                    <a:cubicBezTo>
                      <a:pt x="83153" y="158782"/>
                      <a:pt x="83344" y="158782"/>
                      <a:pt x="83534" y="158782"/>
                    </a:cubicBezTo>
                    <a:cubicBezTo>
                      <a:pt x="83725" y="158782"/>
                      <a:pt x="83915" y="158782"/>
                      <a:pt x="84106" y="158782"/>
                    </a:cubicBezTo>
                    <a:cubicBezTo>
                      <a:pt x="84582" y="158782"/>
                      <a:pt x="85058" y="158782"/>
                      <a:pt x="85534" y="158782"/>
                    </a:cubicBezTo>
                    <a:lnTo>
                      <a:pt x="85534" y="158687"/>
                    </a:lnTo>
                    <a:cubicBezTo>
                      <a:pt x="86392" y="158687"/>
                      <a:pt x="87344" y="158591"/>
                      <a:pt x="88201" y="158591"/>
                    </a:cubicBezTo>
                    <a:cubicBezTo>
                      <a:pt x="93631" y="158591"/>
                      <a:pt x="100489" y="158115"/>
                      <a:pt x="101251" y="157448"/>
                    </a:cubicBezTo>
                    <a:cubicBezTo>
                      <a:pt x="126968" y="154210"/>
                      <a:pt x="139637" y="145828"/>
                      <a:pt x="148114" y="137922"/>
                    </a:cubicBezTo>
                    <a:cubicBezTo>
                      <a:pt x="158401" y="128207"/>
                      <a:pt x="166973" y="114109"/>
                      <a:pt x="166973" y="75629"/>
                    </a:cubicBezTo>
                    <a:cubicBezTo>
                      <a:pt x="166878" y="37052"/>
                      <a:pt x="147447" y="18288"/>
                      <a:pt x="137160" y="11811"/>
                    </a:cubicBezTo>
                    <a:close/>
                    <a:moveTo>
                      <a:pt x="120110" y="112967"/>
                    </a:moveTo>
                    <a:cubicBezTo>
                      <a:pt x="117443" y="120015"/>
                      <a:pt x="108775" y="128968"/>
                      <a:pt x="104394" y="130683"/>
                    </a:cubicBezTo>
                    <a:cubicBezTo>
                      <a:pt x="96679" y="133731"/>
                      <a:pt x="93916" y="133826"/>
                      <a:pt x="83344" y="134207"/>
                    </a:cubicBezTo>
                    <a:cubicBezTo>
                      <a:pt x="72866" y="133826"/>
                      <a:pt x="70009" y="133826"/>
                      <a:pt x="62294" y="130683"/>
                    </a:cubicBezTo>
                    <a:cubicBezTo>
                      <a:pt x="57912" y="128968"/>
                      <a:pt x="49244" y="120015"/>
                      <a:pt x="46577" y="112967"/>
                    </a:cubicBezTo>
                    <a:cubicBezTo>
                      <a:pt x="44672" y="107537"/>
                      <a:pt x="42196" y="100584"/>
                      <a:pt x="42196" y="78010"/>
                    </a:cubicBezTo>
                    <a:cubicBezTo>
                      <a:pt x="42196" y="55340"/>
                      <a:pt x="43815" y="44863"/>
                      <a:pt x="46577" y="40386"/>
                    </a:cubicBezTo>
                    <a:cubicBezTo>
                      <a:pt x="51530" y="32480"/>
                      <a:pt x="59531" y="24193"/>
                      <a:pt x="78010" y="24193"/>
                    </a:cubicBezTo>
                    <a:cubicBezTo>
                      <a:pt x="79153" y="24193"/>
                      <a:pt x="80200" y="24193"/>
                      <a:pt x="81248" y="24289"/>
                    </a:cubicBezTo>
                    <a:lnTo>
                      <a:pt x="81248" y="24575"/>
                    </a:lnTo>
                    <a:cubicBezTo>
                      <a:pt x="81915" y="24479"/>
                      <a:pt x="82582" y="24479"/>
                      <a:pt x="83344" y="24384"/>
                    </a:cubicBezTo>
                    <a:cubicBezTo>
                      <a:pt x="84011" y="24479"/>
                      <a:pt x="84772" y="24479"/>
                      <a:pt x="85439" y="24575"/>
                    </a:cubicBezTo>
                    <a:lnTo>
                      <a:pt x="85439" y="24289"/>
                    </a:lnTo>
                    <a:cubicBezTo>
                      <a:pt x="86487" y="24193"/>
                      <a:pt x="87535" y="24193"/>
                      <a:pt x="88678" y="24193"/>
                    </a:cubicBezTo>
                    <a:cubicBezTo>
                      <a:pt x="107156" y="24193"/>
                      <a:pt x="115157" y="32385"/>
                      <a:pt x="120110" y="40386"/>
                    </a:cubicBezTo>
                    <a:cubicBezTo>
                      <a:pt x="122968" y="44863"/>
                      <a:pt x="124492" y="55340"/>
                      <a:pt x="124492" y="78010"/>
                    </a:cubicBezTo>
                    <a:cubicBezTo>
                      <a:pt x="124492" y="100584"/>
                      <a:pt x="122015" y="107537"/>
                      <a:pt x="120110" y="11296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8" name="Freeform 57">
                <a:extLst>
                  <a:ext uri="{FF2B5EF4-FFF2-40B4-BE49-F238E27FC236}">
                    <a16:creationId xmlns:a16="http://schemas.microsoft.com/office/drawing/2014/main" id="{6BA15800-89E2-7648-A32C-E5F5D41CF539}"/>
                  </a:ext>
                </a:extLst>
              </p:cNvPr>
              <p:cNvSpPr/>
              <p:nvPr/>
            </p:nvSpPr>
            <p:spPr>
              <a:xfrm>
                <a:off x="1830333" y="6302911"/>
                <a:ext cx="37992" cy="86904"/>
              </a:xfrm>
              <a:custGeom>
                <a:avLst/>
                <a:gdLst>
                  <a:gd name="connsiteX0" fmla="*/ 85439 w 85820"/>
                  <a:gd name="connsiteY0" fmla="*/ 168592 h 196310"/>
                  <a:gd name="connsiteX1" fmla="*/ 83534 w 85820"/>
                  <a:gd name="connsiteY1" fmla="*/ 167830 h 196310"/>
                  <a:gd name="connsiteX2" fmla="*/ 64484 w 85820"/>
                  <a:gd name="connsiteY2" fmla="*/ 157067 h 196310"/>
                  <a:gd name="connsiteX3" fmla="*/ 64484 w 85820"/>
                  <a:gd name="connsiteY3" fmla="*/ 114586 h 196310"/>
                  <a:gd name="connsiteX4" fmla="*/ 64484 w 85820"/>
                  <a:gd name="connsiteY4" fmla="*/ 83248 h 196310"/>
                  <a:gd name="connsiteX5" fmla="*/ 64484 w 85820"/>
                  <a:gd name="connsiteY5" fmla="*/ 39243 h 196310"/>
                  <a:gd name="connsiteX6" fmla="*/ 83534 w 85820"/>
                  <a:gd name="connsiteY6" fmla="*/ 28480 h 196310"/>
                  <a:gd name="connsiteX7" fmla="*/ 85439 w 85820"/>
                  <a:gd name="connsiteY7" fmla="*/ 27718 h 196310"/>
                  <a:gd name="connsiteX8" fmla="*/ 85820 w 85820"/>
                  <a:gd name="connsiteY8" fmla="*/ 25813 h 196310"/>
                  <a:gd name="connsiteX9" fmla="*/ 85630 w 85820"/>
                  <a:gd name="connsiteY9" fmla="*/ 1810 h 196310"/>
                  <a:gd name="connsiteX10" fmla="*/ 83820 w 85820"/>
                  <a:gd name="connsiteY10" fmla="*/ 0 h 196310"/>
                  <a:gd name="connsiteX11" fmla="*/ 2000 w 85820"/>
                  <a:gd name="connsiteY11" fmla="*/ 0 h 196310"/>
                  <a:gd name="connsiteX12" fmla="*/ 190 w 85820"/>
                  <a:gd name="connsiteY12" fmla="*/ 1810 h 196310"/>
                  <a:gd name="connsiteX13" fmla="*/ 0 w 85820"/>
                  <a:gd name="connsiteY13" fmla="*/ 25813 h 196310"/>
                  <a:gd name="connsiteX14" fmla="*/ 381 w 85820"/>
                  <a:gd name="connsiteY14" fmla="*/ 27718 h 196310"/>
                  <a:gd name="connsiteX15" fmla="*/ 2286 w 85820"/>
                  <a:gd name="connsiteY15" fmla="*/ 28480 h 196310"/>
                  <a:gd name="connsiteX16" fmla="*/ 21336 w 85820"/>
                  <a:gd name="connsiteY16" fmla="*/ 39243 h 196310"/>
                  <a:gd name="connsiteX17" fmla="*/ 21336 w 85820"/>
                  <a:gd name="connsiteY17" fmla="*/ 83248 h 196310"/>
                  <a:gd name="connsiteX18" fmla="*/ 21336 w 85820"/>
                  <a:gd name="connsiteY18" fmla="*/ 114586 h 196310"/>
                  <a:gd name="connsiteX19" fmla="*/ 21336 w 85820"/>
                  <a:gd name="connsiteY19" fmla="*/ 157067 h 196310"/>
                  <a:gd name="connsiteX20" fmla="*/ 2286 w 85820"/>
                  <a:gd name="connsiteY20" fmla="*/ 167830 h 196310"/>
                  <a:gd name="connsiteX21" fmla="*/ 381 w 85820"/>
                  <a:gd name="connsiteY21" fmla="*/ 168592 h 196310"/>
                  <a:gd name="connsiteX22" fmla="*/ 0 w 85820"/>
                  <a:gd name="connsiteY22" fmla="*/ 170497 h 196310"/>
                  <a:gd name="connsiteX23" fmla="*/ 190 w 85820"/>
                  <a:gd name="connsiteY23" fmla="*/ 194500 h 196310"/>
                  <a:gd name="connsiteX24" fmla="*/ 2000 w 85820"/>
                  <a:gd name="connsiteY24" fmla="*/ 196310 h 196310"/>
                  <a:gd name="connsiteX25" fmla="*/ 83820 w 85820"/>
                  <a:gd name="connsiteY25" fmla="*/ 196310 h 196310"/>
                  <a:gd name="connsiteX26" fmla="*/ 85630 w 85820"/>
                  <a:gd name="connsiteY26" fmla="*/ 194500 h 196310"/>
                  <a:gd name="connsiteX27" fmla="*/ 85820 w 85820"/>
                  <a:gd name="connsiteY27" fmla="*/ 170497 h 196310"/>
                  <a:gd name="connsiteX28" fmla="*/ 85439 w 85820"/>
                  <a:gd name="connsiteY28" fmla="*/ 168592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820" h="196310">
                    <a:moveTo>
                      <a:pt x="85439" y="168592"/>
                    </a:moveTo>
                    <a:cubicBezTo>
                      <a:pt x="84868" y="167735"/>
                      <a:pt x="83534" y="167830"/>
                      <a:pt x="83534" y="167830"/>
                    </a:cubicBezTo>
                    <a:cubicBezTo>
                      <a:pt x="75247" y="166497"/>
                      <a:pt x="64484" y="161734"/>
                      <a:pt x="64484" y="157067"/>
                    </a:cubicBezTo>
                    <a:lnTo>
                      <a:pt x="64484" y="114586"/>
                    </a:lnTo>
                    <a:lnTo>
                      <a:pt x="64484" y="83248"/>
                    </a:lnTo>
                    <a:lnTo>
                      <a:pt x="64484" y="39243"/>
                    </a:lnTo>
                    <a:cubicBezTo>
                      <a:pt x="64484" y="34576"/>
                      <a:pt x="75343" y="29813"/>
                      <a:pt x="83534" y="28480"/>
                    </a:cubicBezTo>
                    <a:cubicBezTo>
                      <a:pt x="83534" y="28480"/>
                      <a:pt x="84868" y="28575"/>
                      <a:pt x="85439" y="27718"/>
                    </a:cubicBezTo>
                    <a:cubicBezTo>
                      <a:pt x="86011" y="26860"/>
                      <a:pt x="85725" y="25813"/>
                      <a:pt x="85820" y="25813"/>
                    </a:cubicBezTo>
                    <a:lnTo>
                      <a:pt x="85630" y="1810"/>
                    </a:lnTo>
                    <a:cubicBezTo>
                      <a:pt x="85630" y="762"/>
                      <a:pt x="84772" y="0"/>
                      <a:pt x="83820" y="0"/>
                    </a:cubicBezTo>
                    <a:lnTo>
                      <a:pt x="2000" y="0"/>
                    </a:lnTo>
                    <a:cubicBezTo>
                      <a:pt x="952" y="0"/>
                      <a:pt x="190" y="857"/>
                      <a:pt x="190" y="1810"/>
                    </a:cubicBezTo>
                    <a:lnTo>
                      <a:pt x="0" y="25813"/>
                    </a:lnTo>
                    <a:cubicBezTo>
                      <a:pt x="95" y="25813"/>
                      <a:pt x="-191" y="26860"/>
                      <a:pt x="381" y="27718"/>
                    </a:cubicBezTo>
                    <a:cubicBezTo>
                      <a:pt x="952" y="28575"/>
                      <a:pt x="2286" y="28480"/>
                      <a:pt x="2286" y="28480"/>
                    </a:cubicBezTo>
                    <a:cubicBezTo>
                      <a:pt x="10573" y="29813"/>
                      <a:pt x="21336" y="34576"/>
                      <a:pt x="21336" y="39243"/>
                    </a:cubicBezTo>
                    <a:lnTo>
                      <a:pt x="21336" y="83248"/>
                    </a:lnTo>
                    <a:lnTo>
                      <a:pt x="21336" y="114586"/>
                    </a:lnTo>
                    <a:lnTo>
                      <a:pt x="21336" y="157067"/>
                    </a:lnTo>
                    <a:cubicBezTo>
                      <a:pt x="21336" y="161734"/>
                      <a:pt x="10477" y="166497"/>
                      <a:pt x="2286" y="167830"/>
                    </a:cubicBezTo>
                    <a:cubicBezTo>
                      <a:pt x="2286" y="167830"/>
                      <a:pt x="952" y="167735"/>
                      <a:pt x="381" y="168592"/>
                    </a:cubicBezTo>
                    <a:cubicBezTo>
                      <a:pt x="-191" y="169450"/>
                      <a:pt x="95" y="170497"/>
                      <a:pt x="0" y="170497"/>
                    </a:cubicBezTo>
                    <a:lnTo>
                      <a:pt x="190" y="194500"/>
                    </a:lnTo>
                    <a:cubicBezTo>
                      <a:pt x="190" y="195548"/>
                      <a:pt x="1048" y="196310"/>
                      <a:pt x="2000" y="196310"/>
                    </a:cubicBezTo>
                    <a:lnTo>
                      <a:pt x="83820" y="196310"/>
                    </a:lnTo>
                    <a:cubicBezTo>
                      <a:pt x="84868" y="196310"/>
                      <a:pt x="85630" y="195453"/>
                      <a:pt x="85630" y="194500"/>
                    </a:cubicBezTo>
                    <a:lnTo>
                      <a:pt x="85820" y="170497"/>
                    </a:lnTo>
                    <a:cubicBezTo>
                      <a:pt x="85725" y="170497"/>
                      <a:pt x="86011" y="169450"/>
                      <a:pt x="85439" y="16859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59" name="Freeform 58">
                <a:extLst>
                  <a:ext uri="{FF2B5EF4-FFF2-40B4-BE49-F238E27FC236}">
                    <a16:creationId xmlns:a16="http://schemas.microsoft.com/office/drawing/2014/main" id="{C09D916F-7FA4-D34F-AB5D-88A9EC737802}"/>
                  </a:ext>
                </a:extLst>
              </p:cNvPr>
              <p:cNvSpPr/>
              <p:nvPr/>
            </p:nvSpPr>
            <p:spPr>
              <a:xfrm>
                <a:off x="1672784" y="6441216"/>
                <a:ext cx="29339" cy="66917"/>
              </a:xfrm>
              <a:custGeom>
                <a:avLst/>
                <a:gdLst>
                  <a:gd name="connsiteX0" fmla="*/ 65951 w 66274"/>
                  <a:gd name="connsiteY0" fmla="*/ 129826 h 151161"/>
                  <a:gd name="connsiteX1" fmla="*/ 64427 w 66274"/>
                  <a:gd name="connsiteY1" fmla="*/ 129254 h 151161"/>
                  <a:gd name="connsiteX2" fmla="*/ 49758 w 66274"/>
                  <a:gd name="connsiteY2" fmla="*/ 120967 h 151161"/>
                  <a:gd name="connsiteX3" fmla="*/ 49758 w 66274"/>
                  <a:gd name="connsiteY3" fmla="*/ 88201 h 151161"/>
                  <a:gd name="connsiteX4" fmla="*/ 49758 w 66274"/>
                  <a:gd name="connsiteY4" fmla="*/ 64103 h 151161"/>
                  <a:gd name="connsiteX5" fmla="*/ 49758 w 66274"/>
                  <a:gd name="connsiteY5" fmla="*/ 30194 h 151161"/>
                  <a:gd name="connsiteX6" fmla="*/ 64427 w 66274"/>
                  <a:gd name="connsiteY6" fmla="*/ 21907 h 151161"/>
                  <a:gd name="connsiteX7" fmla="*/ 65951 w 66274"/>
                  <a:gd name="connsiteY7" fmla="*/ 21336 h 151161"/>
                  <a:gd name="connsiteX8" fmla="*/ 66236 w 66274"/>
                  <a:gd name="connsiteY8" fmla="*/ 19907 h 151161"/>
                  <a:gd name="connsiteX9" fmla="*/ 66046 w 66274"/>
                  <a:gd name="connsiteY9" fmla="*/ 1429 h 151161"/>
                  <a:gd name="connsiteX10" fmla="*/ 64617 w 66274"/>
                  <a:gd name="connsiteY10" fmla="*/ 0 h 151161"/>
                  <a:gd name="connsiteX11" fmla="*/ 1657 w 66274"/>
                  <a:gd name="connsiteY11" fmla="*/ 0 h 151161"/>
                  <a:gd name="connsiteX12" fmla="*/ 228 w 66274"/>
                  <a:gd name="connsiteY12" fmla="*/ 1429 h 151161"/>
                  <a:gd name="connsiteX13" fmla="*/ 38 w 66274"/>
                  <a:gd name="connsiteY13" fmla="*/ 19907 h 151161"/>
                  <a:gd name="connsiteX14" fmla="*/ 323 w 66274"/>
                  <a:gd name="connsiteY14" fmla="*/ 21336 h 151161"/>
                  <a:gd name="connsiteX15" fmla="*/ 1752 w 66274"/>
                  <a:gd name="connsiteY15" fmla="*/ 21907 h 151161"/>
                  <a:gd name="connsiteX16" fmla="*/ 16421 w 66274"/>
                  <a:gd name="connsiteY16" fmla="*/ 30194 h 151161"/>
                  <a:gd name="connsiteX17" fmla="*/ 16421 w 66274"/>
                  <a:gd name="connsiteY17" fmla="*/ 64103 h 151161"/>
                  <a:gd name="connsiteX18" fmla="*/ 16421 w 66274"/>
                  <a:gd name="connsiteY18" fmla="*/ 88201 h 151161"/>
                  <a:gd name="connsiteX19" fmla="*/ 16421 w 66274"/>
                  <a:gd name="connsiteY19" fmla="*/ 120967 h 151161"/>
                  <a:gd name="connsiteX20" fmla="*/ 1752 w 66274"/>
                  <a:gd name="connsiteY20" fmla="*/ 129254 h 151161"/>
                  <a:gd name="connsiteX21" fmla="*/ 323 w 66274"/>
                  <a:gd name="connsiteY21" fmla="*/ 129826 h 151161"/>
                  <a:gd name="connsiteX22" fmla="*/ 38 w 66274"/>
                  <a:gd name="connsiteY22" fmla="*/ 131254 h 151161"/>
                  <a:gd name="connsiteX23" fmla="*/ 228 w 66274"/>
                  <a:gd name="connsiteY23" fmla="*/ 149733 h 151161"/>
                  <a:gd name="connsiteX24" fmla="*/ 1657 w 66274"/>
                  <a:gd name="connsiteY24" fmla="*/ 151162 h 151161"/>
                  <a:gd name="connsiteX25" fmla="*/ 64617 w 66274"/>
                  <a:gd name="connsiteY25" fmla="*/ 151162 h 151161"/>
                  <a:gd name="connsiteX26" fmla="*/ 66046 w 66274"/>
                  <a:gd name="connsiteY26" fmla="*/ 149733 h 151161"/>
                  <a:gd name="connsiteX27" fmla="*/ 66236 w 66274"/>
                  <a:gd name="connsiteY27" fmla="*/ 131254 h 151161"/>
                  <a:gd name="connsiteX28" fmla="*/ 65951 w 66274"/>
                  <a:gd name="connsiteY28" fmla="*/ 129826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274" h="151161">
                    <a:moveTo>
                      <a:pt x="65951" y="129826"/>
                    </a:moveTo>
                    <a:cubicBezTo>
                      <a:pt x="65474" y="129159"/>
                      <a:pt x="64427" y="129254"/>
                      <a:pt x="64427" y="129254"/>
                    </a:cubicBezTo>
                    <a:cubicBezTo>
                      <a:pt x="58045" y="128206"/>
                      <a:pt x="49758" y="124587"/>
                      <a:pt x="49758" y="120967"/>
                    </a:cubicBezTo>
                    <a:lnTo>
                      <a:pt x="49758" y="88201"/>
                    </a:lnTo>
                    <a:lnTo>
                      <a:pt x="49758" y="64103"/>
                    </a:lnTo>
                    <a:lnTo>
                      <a:pt x="49758" y="30194"/>
                    </a:lnTo>
                    <a:cubicBezTo>
                      <a:pt x="49758" y="26575"/>
                      <a:pt x="58045" y="22955"/>
                      <a:pt x="64427" y="21907"/>
                    </a:cubicBezTo>
                    <a:cubicBezTo>
                      <a:pt x="64427" y="21907"/>
                      <a:pt x="65474" y="21907"/>
                      <a:pt x="65951" y="21336"/>
                    </a:cubicBezTo>
                    <a:cubicBezTo>
                      <a:pt x="66427" y="20669"/>
                      <a:pt x="66236" y="19907"/>
                      <a:pt x="66236" y="19907"/>
                    </a:cubicBezTo>
                    <a:lnTo>
                      <a:pt x="66046" y="1429"/>
                    </a:lnTo>
                    <a:cubicBezTo>
                      <a:pt x="66046" y="667"/>
                      <a:pt x="65379" y="0"/>
                      <a:pt x="64617" y="0"/>
                    </a:cubicBezTo>
                    <a:lnTo>
                      <a:pt x="1657" y="0"/>
                    </a:lnTo>
                    <a:cubicBezTo>
                      <a:pt x="895" y="0"/>
                      <a:pt x="228" y="667"/>
                      <a:pt x="228" y="1429"/>
                    </a:cubicBezTo>
                    <a:lnTo>
                      <a:pt x="38" y="19907"/>
                    </a:lnTo>
                    <a:cubicBezTo>
                      <a:pt x="133" y="19907"/>
                      <a:pt x="-153" y="20764"/>
                      <a:pt x="323" y="21336"/>
                    </a:cubicBezTo>
                    <a:cubicBezTo>
                      <a:pt x="800" y="22003"/>
                      <a:pt x="1752" y="21907"/>
                      <a:pt x="1752" y="21907"/>
                    </a:cubicBezTo>
                    <a:cubicBezTo>
                      <a:pt x="8134" y="22955"/>
                      <a:pt x="16421" y="26575"/>
                      <a:pt x="16421" y="30194"/>
                    </a:cubicBezTo>
                    <a:lnTo>
                      <a:pt x="16421" y="64103"/>
                    </a:lnTo>
                    <a:lnTo>
                      <a:pt x="16421" y="88201"/>
                    </a:lnTo>
                    <a:lnTo>
                      <a:pt x="16421" y="120967"/>
                    </a:lnTo>
                    <a:cubicBezTo>
                      <a:pt x="16421" y="124587"/>
                      <a:pt x="8134" y="128206"/>
                      <a:pt x="1752" y="129254"/>
                    </a:cubicBezTo>
                    <a:cubicBezTo>
                      <a:pt x="1752" y="129254"/>
                      <a:pt x="704" y="129254"/>
                      <a:pt x="323" y="129826"/>
                    </a:cubicBezTo>
                    <a:cubicBezTo>
                      <a:pt x="-153" y="130492"/>
                      <a:pt x="38" y="131254"/>
                      <a:pt x="38" y="131254"/>
                    </a:cubicBezTo>
                    <a:lnTo>
                      <a:pt x="228" y="149733"/>
                    </a:lnTo>
                    <a:cubicBezTo>
                      <a:pt x="228" y="150495"/>
                      <a:pt x="895" y="151162"/>
                      <a:pt x="1657" y="151162"/>
                    </a:cubicBezTo>
                    <a:lnTo>
                      <a:pt x="64617" y="151162"/>
                    </a:lnTo>
                    <a:cubicBezTo>
                      <a:pt x="65379" y="151162"/>
                      <a:pt x="66046" y="150495"/>
                      <a:pt x="66046" y="149733"/>
                    </a:cubicBezTo>
                    <a:lnTo>
                      <a:pt x="66236" y="131254"/>
                    </a:lnTo>
                    <a:cubicBezTo>
                      <a:pt x="66236" y="131350"/>
                      <a:pt x="66427" y="130492"/>
                      <a:pt x="65951" y="1298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0" name="Freeform 59">
                <a:extLst>
                  <a:ext uri="{FF2B5EF4-FFF2-40B4-BE49-F238E27FC236}">
                    <a16:creationId xmlns:a16="http://schemas.microsoft.com/office/drawing/2014/main" id="{2B401434-51DB-C140-A498-58BC6CE76EAD}"/>
                  </a:ext>
                </a:extLst>
              </p:cNvPr>
              <p:cNvSpPr/>
              <p:nvPr/>
            </p:nvSpPr>
            <p:spPr>
              <a:xfrm>
                <a:off x="1874228" y="6302785"/>
                <a:ext cx="94795" cy="87073"/>
              </a:xfrm>
              <a:custGeom>
                <a:avLst/>
                <a:gdLst>
                  <a:gd name="connsiteX0" fmla="*/ 213741 w 214135"/>
                  <a:gd name="connsiteY0" fmla="*/ 168878 h 196691"/>
                  <a:gd name="connsiteX1" fmla="*/ 211836 w 214135"/>
                  <a:gd name="connsiteY1" fmla="*/ 168116 h 196691"/>
                  <a:gd name="connsiteX2" fmla="*/ 192786 w 214135"/>
                  <a:gd name="connsiteY2" fmla="*/ 157353 h 196691"/>
                  <a:gd name="connsiteX3" fmla="*/ 192691 w 214135"/>
                  <a:gd name="connsiteY3" fmla="*/ 130492 h 196691"/>
                  <a:gd name="connsiteX4" fmla="*/ 153352 w 214135"/>
                  <a:gd name="connsiteY4" fmla="*/ 92678 h 196691"/>
                  <a:gd name="connsiteX5" fmla="*/ 152209 w 214135"/>
                  <a:gd name="connsiteY5" fmla="*/ 92678 h 196691"/>
                  <a:gd name="connsiteX6" fmla="*/ 152209 w 214135"/>
                  <a:gd name="connsiteY6" fmla="*/ 92392 h 196691"/>
                  <a:gd name="connsiteX7" fmla="*/ 151924 w 214135"/>
                  <a:gd name="connsiteY7" fmla="*/ 92392 h 196691"/>
                  <a:gd name="connsiteX8" fmla="*/ 149638 w 214135"/>
                  <a:gd name="connsiteY8" fmla="*/ 90106 h 196691"/>
                  <a:gd name="connsiteX9" fmla="*/ 151924 w 214135"/>
                  <a:gd name="connsiteY9" fmla="*/ 87821 h 196691"/>
                  <a:gd name="connsiteX10" fmla="*/ 157543 w 214135"/>
                  <a:gd name="connsiteY10" fmla="*/ 87821 h 196691"/>
                  <a:gd name="connsiteX11" fmla="*/ 191071 w 214135"/>
                  <a:gd name="connsiteY11" fmla="*/ 48768 h 196691"/>
                  <a:gd name="connsiteX12" fmla="*/ 191071 w 214135"/>
                  <a:gd name="connsiteY12" fmla="*/ 37719 h 196691"/>
                  <a:gd name="connsiteX13" fmla="*/ 153257 w 214135"/>
                  <a:gd name="connsiteY13" fmla="*/ 0 h 196691"/>
                  <a:gd name="connsiteX14" fmla="*/ 71342 w 214135"/>
                  <a:gd name="connsiteY14" fmla="*/ 95 h 196691"/>
                  <a:gd name="connsiteX15" fmla="*/ 71342 w 214135"/>
                  <a:gd name="connsiteY15" fmla="*/ 286 h 196691"/>
                  <a:gd name="connsiteX16" fmla="*/ 2000 w 214135"/>
                  <a:gd name="connsiteY16" fmla="*/ 286 h 196691"/>
                  <a:gd name="connsiteX17" fmla="*/ 190 w 214135"/>
                  <a:gd name="connsiteY17" fmla="*/ 2096 h 196691"/>
                  <a:gd name="connsiteX18" fmla="*/ 0 w 214135"/>
                  <a:gd name="connsiteY18" fmla="*/ 26098 h 196691"/>
                  <a:gd name="connsiteX19" fmla="*/ 381 w 214135"/>
                  <a:gd name="connsiteY19" fmla="*/ 28004 h 196691"/>
                  <a:gd name="connsiteX20" fmla="*/ 2286 w 214135"/>
                  <a:gd name="connsiteY20" fmla="*/ 28765 h 196691"/>
                  <a:gd name="connsiteX21" fmla="*/ 21336 w 214135"/>
                  <a:gd name="connsiteY21" fmla="*/ 39529 h 196691"/>
                  <a:gd name="connsiteX22" fmla="*/ 21336 w 214135"/>
                  <a:gd name="connsiteY22" fmla="*/ 83534 h 196691"/>
                  <a:gd name="connsiteX23" fmla="*/ 21336 w 214135"/>
                  <a:gd name="connsiteY23" fmla="*/ 114871 h 196691"/>
                  <a:gd name="connsiteX24" fmla="*/ 21336 w 214135"/>
                  <a:gd name="connsiteY24" fmla="*/ 157353 h 196691"/>
                  <a:gd name="connsiteX25" fmla="*/ 2286 w 214135"/>
                  <a:gd name="connsiteY25" fmla="*/ 168116 h 196691"/>
                  <a:gd name="connsiteX26" fmla="*/ 381 w 214135"/>
                  <a:gd name="connsiteY26" fmla="*/ 168878 h 196691"/>
                  <a:gd name="connsiteX27" fmla="*/ 0 w 214135"/>
                  <a:gd name="connsiteY27" fmla="*/ 170783 h 196691"/>
                  <a:gd name="connsiteX28" fmla="*/ 190 w 214135"/>
                  <a:gd name="connsiteY28" fmla="*/ 194786 h 196691"/>
                  <a:gd name="connsiteX29" fmla="*/ 2000 w 214135"/>
                  <a:gd name="connsiteY29" fmla="*/ 196596 h 196691"/>
                  <a:gd name="connsiteX30" fmla="*/ 83820 w 214135"/>
                  <a:gd name="connsiteY30" fmla="*/ 196596 h 196691"/>
                  <a:gd name="connsiteX31" fmla="*/ 85630 w 214135"/>
                  <a:gd name="connsiteY31" fmla="*/ 194786 h 196691"/>
                  <a:gd name="connsiteX32" fmla="*/ 85820 w 214135"/>
                  <a:gd name="connsiteY32" fmla="*/ 170783 h 196691"/>
                  <a:gd name="connsiteX33" fmla="*/ 85439 w 214135"/>
                  <a:gd name="connsiteY33" fmla="*/ 168878 h 196691"/>
                  <a:gd name="connsiteX34" fmla="*/ 83534 w 214135"/>
                  <a:gd name="connsiteY34" fmla="*/ 168116 h 196691"/>
                  <a:gd name="connsiteX35" fmla="*/ 64484 w 214135"/>
                  <a:gd name="connsiteY35" fmla="*/ 157353 h 196691"/>
                  <a:gd name="connsiteX36" fmla="*/ 64484 w 214135"/>
                  <a:gd name="connsiteY36" fmla="*/ 114871 h 196691"/>
                  <a:gd name="connsiteX37" fmla="*/ 64484 w 214135"/>
                  <a:gd name="connsiteY37" fmla="*/ 83534 h 196691"/>
                  <a:gd name="connsiteX38" fmla="*/ 64484 w 214135"/>
                  <a:gd name="connsiteY38" fmla="*/ 39529 h 196691"/>
                  <a:gd name="connsiteX39" fmla="*/ 71818 w 214135"/>
                  <a:gd name="connsiteY39" fmla="*/ 32480 h 196691"/>
                  <a:gd name="connsiteX40" fmla="*/ 118967 w 214135"/>
                  <a:gd name="connsiteY40" fmla="*/ 32480 h 196691"/>
                  <a:gd name="connsiteX41" fmla="*/ 137826 w 214135"/>
                  <a:gd name="connsiteY41" fmla="*/ 49435 h 196691"/>
                  <a:gd name="connsiteX42" fmla="*/ 137826 w 214135"/>
                  <a:gd name="connsiteY42" fmla="*/ 58007 h 196691"/>
                  <a:gd name="connsiteX43" fmla="*/ 118586 w 214135"/>
                  <a:gd name="connsiteY43" fmla="*/ 78296 h 196691"/>
                  <a:gd name="connsiteX44" fmla="*/ 117824 w 214135"/>
                  <a:gd name="connsiteY44" fmla="*/ 78486 h 196691"/>
                  <a:gd name="connsiteX45" fmla="*/ 89535 w 214135"/>
                  <a:gd name="connsiteY45" fmla="*/ 78486 h 196691"/>
                  <a:gd name="connsiteX46" fmla="*/ 83439 w 214135"/>
                  <a:gd name="connsiteY46" fmla="*/ 84582 h 196691"/>
                  <a:gd name="connsiteX47" fmla="*/ 83439 w 214135"/>
                  <a:gd name="connsiteY47" fmla="*/ 106013 h 196691"/>
                  <a:gd name="connsiteX48" fmla="*/ 89535 w 214135"/>
                  <a:gd name="connsiteY48" fmla="*/ 112109 h 196691"/>
                  <a:gd name="connsiteX49" fmla="*/ 120872 w 214135"/>
                  <a:gd name="connsiteY49" fmla="*/ 112109 h 196691"/>
                  <a:gd name="connsiteX50" fmla="*/ 140970 w 214135"/>
                  <a:gd name="connsiteY50" fmla="*/ 130397 h 196691"/>
                  <a:gd name="connsiteX51" fmla="*/ 140494 w 214135"/>
                  <a:gd name="connsiteY51" fmla="*/ 185738 h 196691"/>
                  <a:gd name="connsiteX52" fmla="*/ 141256 w 214135"/>
                  <a:gd name="connsiteY52" fmla="*/ 192119 h 196691"/>
                  <a:gd name="connsiteX53" fmla="*/ 149923 w 214135"/>
                  <a:gd name="connsiteY53" fmla="*/ 196691 h 196691"/>
                  <a:gd name="connsiteX54" fmla="*/ 212026 w 214135"/>
                  <a:gd name="connsiteY54" fmla="*/ 196691 h 196691"/>
                  <a:gd name="connsiteX55" fmla="*/ 213836 w 214135"/>
                  <a:gd name="connsiteY55" fmla="*/ 194881 h 196691"/>
                  <a:gd name="connsiteX56" fmla="*/ 214026 w 214135"/>
                  <a:gd name="connsiteY56" fmla="*/ 170879 h 196691"/>
                  <a:gd name="connsiteX57" fmla="*/ 213741 w 214135"/>
                  <a:gd name="connsiteY57" fmla="*/ 168878 h 1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4135" h="196691">
                    <a:moveTo>
                      <a:pt x="213741" y="168878"/>
                    </a:moveTo>
                    <a:cubicBezTo>
                      <a:pt x="213169" y="168021"/>
                      <a:pt x="211836" y="168116"/>
                      <a:pt x="211836" y="168116"/>
                    </a:cubicBezTo>
                    <a:cubicBezTo>
                      <a:pt x="203549" y="166783"/>
                      <a:pt x="192786" y="162020"/>
                      <a:pt x="192786" y="157353"/>
                    </a:cubicBezTo>
                    <a:lnTo>
                      <a:pt x="192691" y="130492"/>
                    </a:lnTo>
                    <a:cubicBezTo>
                      <a:pt x="192691" y="109633"/>
                      <a:pt x="186976" y="92678"/>
                      <a:pt x="153352" y="92678"/>
                    </a:cubicBezTo>
                    <a:lnTo>
                      <a:pt x="152209" y="92678"/>
                    </a:lnTo>
                    <a:lnTo>
                      <a:pt x="152209" y="92392"/>
                    </a:lnTo>
                    <a:lnTo>
                      <a:pt x="151924" y="92392"/>
                    </a:lnTo>
                    <a:cubicBezTo>
                      <a:pt x="150685" y="92392"/>
                      <a:pt x="149638" y="91345"/>
                      <a:pt x="149638" y="90106"/>
                    </a:cubicBezTo>
                    <a:cubicBezTo>
                      <a:pt x="149638" y="88868"/>
                      <a:pt x="150685" y="87821"/>
                      <a:pt x="151924" y="87821"/>
                    </a:cubicBezTo>
                    <a:lnTo>
                      <a:pt x="157543" y="87821"/>
                    </a:lnTo>
                    <a:cubicBezTo>
                      <a:pt x="176403" y="85725"/>
                      <a:pt x="191071" y="68199"/>
                      <a:pt x="191071" y="48768"/>
                    </a:cubicBezTo>
                    <a:lnTo>
                      <a:pt x="191071" y="37719"/>
                    </a:lnTo>
                    <a:cubicBezTo>
                      <a:pt x="191071" y="16859"/>
                      <a:pt x="174117" y="0"/>
                      <a:pt x="153257" y="0"/>
                    </a:cubicBezTo>
                    <a:lnTo>
                      <a:pt x="71342" y="95"/>
                    </a:lnTo>
                    <a:lnTo>
                      <a:pt x="71342" y="286"/>
                    </a:lnTo>
                    <a:lnTo>
                      <a:pt x="2000" y="286"/>
                    </a:lnTo>
                    <a:cubicBezTo>
                      <a:pt x="952" y="286"/>
                      <a:pt x="190" y="1143"/>
                      <a:pt x="190" y="2096"/>
                    </a:cubicBezTo>
                    <a:lnTo>
                      <a:pt x="0" y="26098"/>
                    </a:lnTo>
                    <a:cubicBezTo>
                      <a:pt x="95" y="26098"/>
                      <a:pt x="-191" y="27146"/>
                      <a:pt x="381" y="28004"/>
                    </a:cubicBezTo>
                    <a:cubicBezTo>
                      <a:pt x="952" y="28861"/>
                      <a:pt x="2286" y="28765"/>
                      <a:pt x="2286" y="28765"/>
                    </a:cubicBezTo>
                    <a:cubicBezTo>
                      <a:pt x="10573" y="30099"/>
                      <a:pt x="21336" y="34861"/>
                      <a:pt x="21336" y="39529"/>
                    </a:cubicBezTo>
                    <a:lnTo>
                      <a:pt x="21336" y="83534"/>
                    </a:lnTo>
                    <a:lnTo>
                      <a:pt x="21336" y="114871"/>
                    </a:lnTo>
                    <a:lnTo>
                      <a:pt x="21336" y="157353"/>
                    </a:lnTo>
                    <a:cubicBezTo>
                      <a:pt x="21336" y="162020"/>
                      <a:pt x="10573" y="166783"/>
                      <a:pt x="2286" y="168116"/>
                    </a:cubicBezTo>
                    <a:cubicBezTo>
                      <a:pt x="2286" y="168116"/>
                      <a:pt x="952" y="168021"/>
                      <a:pt x="381" y="168878"/>
                    </a:cubicBezTo>
                    <a:cubicBezTo>
                      <a:pt x="-191" y="169735"/>
                      <a:pt x="95" y="170783"/>
                      <a:pt x="0" y="170783"/>
                    </a:cubicBezTo>
                    <a:lnTo>
                      <a:pt x="190" y="194786"/>
                    </a:lnTo>
                    <a:cubicBezTo>
                      <a:pt x="190" y="195834"/>
                      <a:pt x="1048" y="196596"/>
                      <a:pt x="2000" y="196596"/>
                    </a:cubicBezTo>
                    <a:lnTo>
                      <a:pt x="83820" y="196596"/>
                    </a:lnTo>
                    <a:cubicBezTo>
                      <a:pt x="84867" y="196596"/>
                      <a:pt x="85630" y="195739"/>
                      <a:pt x="85630" y="194786"/>
                    </a:cubicBezTo>
                    <a:lnTo>
                      <a:pt x="85820" y="170783"/>
                    </a:lnTo>
                    <a:cubicBezTo>
                      <a:pt x="85725" y="170783"/>
                      <a:pt x="86011" y="169735"/>
                      <a:pt x="85439" y="168878"/>
                    </a:cubicBezTo>
                    <a:cubicBezTo>
                      <a:pt x="84867" y="168021"/>
                      <a:pt x="83534" y="168116"/>
                      <a:pt x="83534" y="168116"/>
                    </a:cubicBezTo>
                    <a:cubicBezTo>
                      <a:pt x="75247" y="166783"/>
                      <a:pt x="64484" y="162020"/>
                      <a:pt x="64484" y="157353"/>
                    </a:cubicBezTo>
                    <a:lnTo>
                      <a:pt x="64484" y="114871"/>
                    </a:lnTo>
                    <a:lnTo>
                      <a:pt x="64484" y="83534"/>
                    </a:lnTo>
                    <a:lnTo>
                      <a:pt x="64484" y="39529"/>
                    </a:lnTo>
                    <a:cubicBezTo>
                      <a:pt x="64484" y="37052"/>
                      <a:pt x="67627" y="34480"/>
                      <a:pt x="71818" y="32480"/>
                    </a:cubicBezTo>
                    <a:lnTo>
                      <a:pt x="118967" y="32480"/>
                    </a:lnTo>
                    <a:cubicBezTo>
                      <a:pt x="128301" y="32480"/>
                      <a:pt x="137826" y="40100"/>
                      <a:pt x="137826" y="49435"/>
                    </a:cubicBezTo>
                    <a:lnTo>
                      <a:pt x="137826" y="58007"/>
                    </a:lnTo>
                    <a:cubicBezTo>
                      <a:pt x="138017" y="63341"/>
                      <a:pt x="129635" y="78962"/>
                      <a:pt x="118586" y="78296"/>
                    </a:cubicBezTo>
                    <a:lnTo>
                      <a:pt x="117824" y="78486"/>
                    </a:lnTo>
                    <a:lnTo>
                      <a:pt x="89535" y="78486"/>
                    </a:lnTo>
                    <a:cubicBezTo>
                      <a:pt x="86201" y="78486"/>
                      <a:pt x="83439" y="81248"/>
                      <a:pt x="83439" y="84582"/>
                    </a:cubicBezTo>
                    <a:lnTo>
                      <a:pt x="83439" y="106013"/>
                    </a:lnTo>
                    <a:cubicBezTo>
                      <a:pt x="83439" y="109347"/>
                      <a:pt x="86201" y="112109"/>
                      <a:pt x="89535" y="112109"/>
                    </a:cubicBezTo>
                    <a:lnTo>
                      <a:pt x="120872" y="112109"/>
                    </a:lnTo>
                    <a:cubicBezTo>
                      <a:pt x="141732" y="113347"/>
                      <a:pt x="140779" y="125254"/>
                      <a:pt x="140970" y="130397"/>
                    </a:cubicBezTo>
                    <a:lnTo>
                      <a:pt x="140494" y="185738"/>
                    </a:lnTo>
                    <a:cubicBezTo>
                      <a:pt x="140494" y="185738"/>
                      <a:pt x="140589" y="189833"/>
                      <a:pt x="141256" y="192119"/>
                    </a:cubicBezTo>
                    <a:cubicBezTo>
                      <a:pt x="142494" y="196215"/>
                      <a:pt x="149923" y="196691"/>
                      <a:pt x="149923" y="196691"/>
                    </a:cubicBezTo>
                    <a:lnTo>
                      <a:pt x="212026" y="196691"/>
                    </a:lnTo>
                    <a:cubicBezTo>
                      <a:pt x="213074" y="196691"/>
                      <a:pt x="213836" y="195834"/>
                      <a:pt x="213836" y="194881"/>
                    </a:cubicBezTo>
                    <a:lnTo>
                      <a:pt x="214026" y="170879"/>
                    </a:lnTo>
                    <a:cubicBezTo>
                      <a:pt x="214122" y="170783"/>
                      <a:pt x="214313" y="169735"/>
                      <a:pt x="213741" y="168878"/>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1" name="Freeform 60">
                <a:extLst>
                  <a:ext uri="{FF2B5EF4-FFF2-40B4-BE49-F238E27FC236}">
                    <a16:creationId xmlns:a16="http://schemas.microsoft.com/office/drawing/2014/main" id="{D813A6D6-ECFA-F24A-B6FB-60B000432FFA}"/>
                  </a:ext>
                </a:extLst>
              </p:cNvPr>
              <p:cNvSpPr/>
              <p:nvPr/>
            </p:nvSpPr>
            <p:spPr>
              <a:xfrm>
                <a:off x="1596084" y="6441174"/>
                <a:ext cx="73091" cy="67002"/>
              </a:xfrm>
              <a:custGeom>
                <a:avLst/>
                <a:gdLst>
                  <a:gd name="connsiteX0" fmla="*/ 164535 w 165106"/>
                  <a:gd name="connsiteY0" fmla="*/ 130016 h 151352"/>
                  <a:gd name="connsiteX1" fmla="*/ 163106 w 165106"/>
                  <a:gd name="connsiteY1" fmla="*/ 129445 h 151352"/>
                  <a:gd name="connsiteX2" fmla="*/ 148437 w 165106"/>
                  <a:gd name="connsiteY2" fmla="*/ 121158 h 151352"/>
                  <a:gd name="connsiteX3" fmla="*/ 148342 w 165106"/>
                  <a:gd name="connsiteY3" fmla="*/ 100489 h 151352"/>
                  <a:gd name="connsiteX4" fmla="*/ 118052 w 165106"/>
                  <a:gd name="connsiteY4" fmla="*/ 71438 h 151352"/>
                  <a:gd name="connsiteX5" fmla="*/ 117195 w 165106"/>
                  <a:gd name="connsiteY5" fmla="*/ 71438 h 151352"/>
                  <a:gd name="connsiteX6" fmla="*/ 117195 w 165106"/>
                  <a:gd name="connsiteY6" fmla="*/ 71152 h 151352"/>
                  <a:gd name="connsiteX7" fmla="*/ 117005 w 165106"/>
                  <a:gd name="connsiteY7" fmla="*/ 71152 h 151352"/>
                  <a:gd name="connsiteX8" fmla="*/ 115195 w 165106"/>
                  <a:gd name="connsiteY8" fmla="*/ 69342 h 151352"/>
                  <a:gd name="connsiteX9" fmla="*/ 117005 w 165106"/>
                  <a:gd name="connsiteY9" fmla="*/ 67628 h 151352"/>
                  <a:gd name="connsiteX10" fmla="*/ 121291 w 165106"/>
                  <a:gd name="connsiteY10" fmla="*/ 67628 h 151352"/>
                  <a:gd name="connsiteX11" fmla="*/ 147104 w 165106"/>
                  <a:gd name="connsiteY11" fmla="*/ 37529 h 151352"/>
                  <a:gd name="connsiteX12" fmla="*/ 147104 w 165106"/>
                  <a:gd name="connsiteY12" fmla="*/ 29051 h 151352"/>
                  <a:gd name="connsiteX13" fmla="*/ 118052 w 165106"/>
                  <a:gd name="connsiteY13" fmla="*/ 0 h 151352"/>
                  <a:gd name="connsiteX14" fmla="*/ 54997 w 165106"/>
                  <a:gd name="connsiteY14" fmla="*/ 0 h 151352"/>
                  <a:gd name="connsiteX15" fmla="*/ 54997 w 165106"/>
                  <a:gd name="connsiteY15" fmla="*/ 191 h 151352"/>
                  <a:gd name="connsiteX16" fmla="*/ 1657 w 165106"/>
                  <a:gd name="connsiteY16" fmla="*/ 191 h 151352"/>
                  <a:gd name="connsiteX17" fmla="*/ 228 w 165106"/>
                  <a:gd name="connsiteY17" fmla="*/ 1619 h 151352"/>
                  <a:gd name="connsiteX18" fmla="*/ 38 w 165106"/>
                  <a:gd name="connsiteY18" fmla="*/ 20098 h 151352"/>
                  <a:gd name="connsiteX19" fmla="*/ 323 w 165106"/>
                  <a:gd name="connsiteY19" fmla="*/ 21527 h 151352"/>
                  <a:gd name="connsiteX20" fmla="*/ 1752 w 165106"/>
                  <a:gd name="connsiteY20" fmla="*/ 22098 h 151352"/>
                  <a:gd name="connsiteX21" fmla="*/ 16421 w 165106"/>
                  <a:gd name="connsiteY21" fmla="*/ 30385 h 151352"/>
                  <a:gd name="connsiteX22" fmla="*/ 16421 w 165106"/>
                  <a:gd name="connsiteY22" fmla="*/ 64294 h 151352"/>
                  <a:gd name="connsiteX23" fmla="*/ 16421 w 165106"/>
                  <a:gd name="connsiteY23" fmla="*/ 88392 h 151352"/>
                  <a:gd name="connsiteX24" fmla="*/ 16421 w 165106"/>
                  <a:gd name="connsiteY24" fmla="*/ 121158 h 151352"/>
                  <a:gd name="connsiteX25" fmla="*/ 1752 w 165106"/>
                  <a:gd name="connsiteY25" fmla="*/ 129445 h 151352"/>
                  <a:gd name="connsiteX26" fmla="*/ 323 w 165106"/>
                  <a:gd name="connsiteY26" fmla="*/ 130016 h 151352"/>
                  <a:gd name="connsiteX27" fmla="*/ 38 w 165106"/>
                  <a:gd name="connsiteY27" fmla="*/ 131445 h 151352"/>
                  <a:gd name="connsiteX28" fmla="*/ 228 w 165106"/>
                  <a:gd name="connsiteY28" fmla="*/ 149924 h 151352"/>
                  <a:gd name="connsiteX29" fmla="*/ 1657 w 165106"/>
                  <a:gd name="connsiteY29" fmla="*/ 151352 h 151352"/>
                  <a:gd name="connsiteX30" fmla="*/ 64617 w 165106"/>
                  <a:gd name="connsiteY30" fmla="*/ 151352 h 151352"/>
                  <a:gd name="connsiteX31" fmla="*/ 66046 w 165106"/>
                  <a:gd name="connsiteY31" fmla="*/ 149924 h 151352"/>
                  <a:gd name="connsiteX32" fmla="*/ 66236 w 165106"/>
                  <a:gd name="connsiteY32" fmla="*/ 131445 h 151352"/>
                  <a:gd name="connsiteX33" fmla="*/ 65951 w 165106"/>
                  <a:gd name="connsiteY33" fmla="*/ 130016 h 151352"/>
                  <a:gd name="connsiteX34" fmla="*/ 64522 w 165106"/>
                  <a:gd name="connsiteY34" fmla="*/ 129445 h 151352"/>
                  <a:gd name="connsiteX35" fmla="*/ 49853 w 165106"/>
                  <a:gd name="connsiteY35" fmla="*/ 121158 h 151352"/>
                  <a:gd name="connsiteX36" fmla="*/ 49853 w 165106"/>
                  <a:gd name="connsiteY36" fmla="*/ 88392 h 151352"/>
                  <a:gd name="connsiteX37" fmla="*/ 49853 w 165106"/>
                  <a:gd name="connsiteY37" fmla="*/ 64294 h 151352"/>
                  <a:gd name="connsiteX38" fmla="*/ 49853 w 165106"/>
                  <a:gd name="connsiteY38" fmla="*/ 30385 h 151352"/>
                  <a:gd name="connsiteX39" fmla="*/ 55473 w 165106"/>
                  <a:gd name="connsiteY39" fmla="*/ 24956 h 151352"/>
                  <a:gd name="connsiteX40" fmla="*/ 91763 w 165106"/>
                  <a:gd name="connsiteY40" fmla="*/ 24956 h 151352"/>
                  <a:gd name="connsiteX41" fmla="*/ 106241 w 165106"/>
                  <a:gd name="connsiteY41" fmla="*/ 38005 h 151352"/>
                  <a:gd name="connsiteX42" fmla="*/ 106241 w 165106"/>
                  <a:gd name="connsiteY42" fmla="*/ 44577 h 151352"/>
                  <a:gd name="connsiteX43" fmla="*/ 91478 w 165106"/>
                  <a:gd name="connsiteY43" fmla="*/ 60198 h 151352"/>
                  <a:gd name="connsiteX44" fmla="*/ 90906 w 165106"/>
                  <a:gd name="connsiteY44" fmla="*/ 60388 h 151352"/>
                  <a:gd name="connsiteX45" fmla="*/ 69094 w 165106"/>
                  <a:gd name="connsiteY45" fmla="*/ 60388 h 151352"/>
                  <a:gd name="connsiteX46" fmla="*/ 64427 w 165106"/>
                  <a:gd name="connsiteY46" fmla="*/ 65056 h 151352"/>
                  <a:gd name="connsiteX47" fmla="*/ 64427 w 165106"/>
                  <a:gd name="connsiteY47" fmla="*/ 81534 h 151352"/>
                  <a:gd name="connsiteX48" fmla="*/ 69094 w 165106"/>
                  <a:gd name="connsiteY48" fmla="*/ 86201 h 151352"/>
                  <a:gd name="connsiteX49" fmla="*/ 93287 w 165106"/>
                  <a:gd name="connsiteY49" fmla="*/ 86201 h 151352"/>
                  <a:gd name="connsiteX50" fmla="*/ 108813 w 165106"/>
                  <a:gd name="connsiteY50" fmla="*/ 100298 h 151352"/>
                  <a:gd name="connsiteX51" fmla="*/ 108432 w 165106"/>
                  <a:gd name="connsiteY51" fmla="*/ 142875 h 151352"/>
                  <a:gd name="connsiteX52" fmla="*/ 109004 w 165106"/>
                  <a:gd name="connsiteY52" fmla="*/ 147828 h 151352"/>
                  <a:gd name="connsiteX53" fmla="*/ 115671 w 165106"/>
                  <a:gd name="connsiteY53" fmla="*/ 151352 h 151352"/>
                  <a:gd name="connsiteX54" fmla="*/ 163487 w 165106"/>
                  <a:gd name="connsiteY54" fmla="*/ 151352 h 151352"/>
                  <a:gd name="connsiteX55" fmla="*/ 164915 w 165106"/>
                  <a:gd name="connsiteY55" fmla="*/ 149924 h 151352"/>
                  <a:gd name="connsiteX56" fmla="*/ 165106 w 165106"/>
                  <a:gd name="connsiteY56" fmla="*/ 131445 h 151352"/>
                  <a:gd name="connsiteX57" fmla="*/ 164535 w 165106"/>
                  <a:gd name="connsiteY57" fmla="*/ 130016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5106" h="151352">
                    <a:moveTo>
                      <a:pt x="164535" y="130016"/>
                    </a:moveTo>
                    <a:cubicBezTo>
                      <a:pt x="164058" y="129350"/>
                      <a:pt x="163106" y="129445"/>
                      <a:pt x="163106" y="129445"/>
                    </a:cubicBezTo>
                    <a:cubicBezTo>
                      <a:pt x="156724" y="128397"/>
                      <a:pt x="148437" y="124778"/>
                      <a:pt x="148437" y="121158"/>
                    </a:cubicBezTo>
                    <a:lnTo>
                      <a:pt x="148342" y="100489"/>
                    </a:lnTo>
                    <a:cubicBezTo>
                      <a:pt x="148342" y="84392"/>
                      <a:pt x="143961" y="71438"/>
                      <a:pt x="118052" y="71438"/>
                    </a:cubicBezTo>
                    <a:lnTo>
                      <a:pt x="117195" y="71438"/>
                    </a:lnTo>
                    <a:lnTo>
                      <a:pt x="117195" y="71152"/>
                    </a:lnTo>
                    <a:lnTo>
                      <a:pt x="117005" y="71152"/>
                    </a:lnTo>
                    <a:cubicBezTo>
                      <a:pt x="116052" y="71152"/>
                      <a:pt x="115195" y="70390"/>
                      <a:pt x="115195" y="69342"/>
                    </a:cubicBezTo>
                    <a:cubicBezTo>
                      <a:pt x="115195" y="68390"/>
                      <a:pt x="115957" y="67628"/>
                      <a:pt x="117005" y="67628"/>
                    </a:cubicBezTo>
                    <a:lnTo>
                      <a:pt x="121291" y="67628"/>
                    </a:lnTo>
                    <a:cubicBezTo>
                      <a:pt x="135769" y="66008"/>
                      <a:pt x="147104" y="52483"/>
                      <a:pt x="147104" y="37529"/>
                    </a:cubicBezTo>
                    <a:lnTo>
                      <a:pt x="147104" y="29051"/>
                    </a:lnTo>
                    <a:cubicBezTo>
                      <a:pt x="147104" y="12954"/>
                      <a:pt x="134054" y="0"/>
                      <a:pt x="118052" y="0"/>
                    </a:cubicBezTo>
                    <a:lnTo>
                      <a:pt x="54997" y="0"/>
                    </a:lnTo>
                    <a:lnTo>
                      <a:pt x="54997" y="191"/>
                    </a:lnTo>
                    <a:lnTo>
                      <a:pt x="1657" y="191"/>
                    </a:lnTo>
                    <a:cubicBezTo>
                      <a:pt x="895" y="191"/>
                      <a:pt x="228" y="857"/>
                      <a:pt x="228" y="1619"/>
                    </a:cubicBezTo>
                    <a:lnTo>
                      <a:pt x="38" y="20098"/>
                    </a:lnTo>
                    <a:cubicBezTo>
                      <a:pt x="38" y="20098"/>
                      <a:pt x="-153" y="20955"/>
                      <a:pt x="323" y="21527"/>
                    </a:cubicBezTo>
                    <a:cubicBezTo>
                      <a:pt x="800" y="22193"/>
                      <a:pt x="1752" y="22098"/>
                      <a:pt x="1752" y="22098"/>
                    </a:cubicBezTo>
                    <a:cubicBezTo>
                      <a:pt x="8134" y="23146"/>
                      <a:pt x="16421" y="26765"/>
                      <a:pt x="16421" y="30385"/>
                    </a:cubicBezTo>
                    <a:lnTo>
                      <a:pt x="16421" y="64294"/>
                    </a:lnTo>
                    <a:lnTo>
                      <a:pt x="16421" y="88392"/>
                    </a:lnTo>
                    <a:lnTo>
                      <a:pt x="16421" y="121158"/>
                    </a:lnTo>
                    <a:cubicBezTo>
                      <a:pt x="16421" y="124778"/>
                      <a:pt x="8134" y="128397"/>
                      <a:pt x="1752" y="129445"/>
                    </a:cubicBezTo>
                    <a:cubicBezTo>
                      <a:pt x="1752" y="129445"/>
                      <a:pt x="704" y="129445"/>
                      <a:pt x="323" y="130016"/>
                    </a:cubicBezTo>
                    <a:cubicBezTo>
                      <a:pt x="-153" y="130683"/>
                      <a:pt x="38" y="131445"/>
                      <a:pt x="38" y="131445"/>
                    </a:cubicBezTo>
                    <a:lnTo>
                      <a:pt x="228" y="149924"/>
                    </a:lnTo>
                    <a:cubicBezTo>
                      <a:pt x="228" y="150686"/>
                      <a:pt x="895" y="151352"/>
                      <a:pt x="1657" y="151352"/>
                    </a:cubicBezTo>
                    <a:lnTo>
                      <a:pt x="64617" y="151352"/>
                    </a:lnTo>
                    <a:cubicBezTo>
                      <a:pt x="65379" y="151352"/>
                      <a:pt x="66046" y="150686"/>
                      <a:pt x="66046" y="149924"/>
                    </a:cubicBezTo>
                    <a:lnTo>
                      <a:pt x="66236" y="131445"/>
                    </a:lnTo>
                    <a:cubicBezTo>
                      <a:pt x="66236" y="131445"/>
                      <a:pt x="66427" y="130588"/>
                      <a:pt x="65951" y="130016"/>
                    </a:cubicBezTo>
                    <a:cubicBezTo>
                      <a:pt x="65474" y="129350"/>
                      <a:pt x="64522" y="129445"/>
                      <a:pt x="64522" y="129445"/>
                    </a:cubicBezTo>
                    <a:cubicBezTo>
                      <a:pt x="58140" y="128397"/>
                      <a:pt x="49853" y="124778"/>
                      <a:pt x="49853" y="121158"/>
                    </a:cubicBezTo>
                    <a:lnTo>
                      <a:pt x="49853" y="88392"/>
                    </a:lnTo>
                    <a:lnTo>
                      <a:pt x="49853" y="64294"/>
                    </a:lnTo>
                    <a:lnTo>
                      <a:pt x="49853" y="30385"/>
                    </a:lnTo>
                    <a:cubicBezTo>
                      <a:pt x="49853" y="28480"/>
                      <a:pt x="52235" y="26479"/>
                      <a:pt x="55473" y="24956"/>
                    </a:cubicBezTo>
                    <a:lnTo>
                      <a:pt x="91763" y="24956"/>
                    </a:lnTo>
                    <a:cubicBezTo>
                      <a:pt x="99002" y="24956"/>
                      <a:pt x="106241" y="30766"/>
                      <a:pt x="106241" y="38005"/>
                    </a:cubicBezTo>
                    <a:lnTo>
                      <a:pt x="106241" y="44577"/>
                    </a:lnTo>
                    <a:cubicBezTo>
                      <a:pt x="106432" y="48673"/>
                      <a:pt x="99955" y="60770"/>
                      <a:pt x="91478" y="60198"/>
                    </a:cubicBezTo>
                    <a:lnTo>
                      <a:pt x="90906" y="60388"/>
                    </a:lnTo>
                    <a:lnTo>
                      <a:pt x="69094" y="60388"/>
                    </a:lnTo>
                    <a:cubicBezTo>
                      <a:pt x="66522" y="60388"/>
                      <a:pt x="64427" y="62484"/>
                      <a:pt x="64427" y="65056"/>
                    </a:cubicBezTo>
                    <a:lnTo>
                      <a:pt x="64427" y="81534"/>
                    </a:lnTo>
                    <a:cubicBezTo>
                      <a:pt x="64427" y="84106"/>
                      <a:pt x="66522" y="86201"/>
                      <a:pt x="69094" y="86201"/>
                    </a:cubicBezTo>
                    <a:lnTo>
                      <a:pt x="93287" y="86201"/>
                    </a:lnTo>
                    <a:cubicBezTo>
                      <a:pt x="109385" y="87154"/>
                      <a:pt x="108623" y="96298"/>
                      <a:pt x="108813" y="100298"/>
                    </a:cubicBezTo>
                    <a:lnTo>
                      <a:pt x="108432" y="142875"/>
                    </a:lnTo>
                    <a:cubicBezTo>
                      <a:pt x="108432" y="142875"/>
                      <a:pt x="108432" y="146018"/>
                      <a:pt x="109004" y="147828"/>
                    </a:cubicBezTo>
                    <a:cubicBezTo>
                      <a:pt x="109956" y="150971"/>
                      <a:pt x="115671" y="151352"/>
                      <a:pt x="115671" y="151352"/>
                    </a:cubicBezTo>
                    <a:lnTo>
                      <a:pt x="163487" y="151352"/>
                    </a:lnTo>
                    <a:cubicBezTo>
                      <a:pt x="164249" y="151352"/>
                      <a:pt x="164915" y="150686"/>
                      <a:pt x="164915" y="149924"/>
                    </a:cubicBezTo>
                    <a:lnTo>
                      <a:pt x="165106" y="131445"/>
                    </a:lnTo>
                    <a:cubicBezTo>
                      <a:pt x="164820" y="131445"/>
                      <a:pt x="165011" y="130588"/>
                      <a:pt x="164535" y="1300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2" name="Freeform 61">
                <a:extLst>
                  <a:ext uri="{FF2B5EF4-FFF2-40B4-BE49-F238E27FC236}">
                    <a16:creationId xmlns:a16="http://schemas.microsoft.com/office/drawing/2014/main" id="{BC4FB328-B8A5-8849-B722-40C0E60E4D6A}"/>
                  </a:ext>
                </a:extLst>
              </p:cNvPr>
              <p:cNvSpPr/>
              <p:nvPr/>
            </p:nvSpPr>
            <p:spPr>
              <a:xfrm>
                <a:off x="1489022"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3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054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3" y="134971"/>
                      <a:pt x="2803"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438" y="77250"/>
                      <a:pt x="99197" y="73154"/>
                      <a:pt x="80147" y="70106"/>
                    </a:cubicBezTo>
                    <a:cubicBezTo>
                      <a:pt x="61097" y="67058"/>
                      <a:pt x="44999" y="64010"/>
                      <a:pt x="44999" y="47246"/>
                    </a:cubicBezTo>
                    <a:cubicBezTo>
                      <a:pt x="44999" y="30482"/>
                      <a:pt x="67097" y="27434"/>
                      <a:pt x="77194" y="27148"/>
                    </a:cubicBezTo>
                    <a:cubicBezTo>
                      <a:pt x="77194" y="27148"/>
                      <a:pt x="90148" y="26005"/>
                      <a:pt x="100054" y="29720"/>
                    </a:cubicBezTo>
                    <a:cubicBezTo>
                      <a:pt x="104150" y="31244"/>
                      <a:pt x="107959"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3" name="Freeform 62">
                <a:extLst>
                  <a:ext uri="{FF2B5EF4-FFF2-40B4-BE49-F238E27FC236}">
                    <a16:creationId xmlns:a16="http://schemas.microsoft.com/office/drawing/2014/main" id="{E6278F6A-7FE5-D94A-845E-43D3D04C4FBB}"/>
                  </a:ext>
                </a:extLst>
              </p:cNvPr>
              <p:cNvSpPr/>
              <p:nvPr/>
            </p:nvSpPr>
            <p:spPr>
              <a:xfrm>
                <a:off x="2048229"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4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149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4" y="134971"/>
                      <a:pt x="2804"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533" y="77250"/>
                      <a:pt x="99197" y="73154"/>
                      <a:pt x="80147" y="70106"/>
                    </a:cubicBezTo>
                    <a:cubicBezTo>
                      <a:pt x="61097" y="67058"/>
                      <a:pt x="44999" y="64010"/>
                      <a:pt x="44999" y="47246"/>
                    </a:cubicBezTo>
                    <a:cubicBezTo>
                      <a:pt x="44999" y="30482"/>
                      <a:pt x="67192" y="27434"/>
                      <a:pt x="77194" y="27148"/>
                    </a:cubicBezTo>
                    <a:cubicBezTo>
                      <a:pt x="77194" y="27148"/>
                      <a:pt x="90148"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4" name="Freeform 63">
                <a:extLst>
                  <a:ext uri="{FF2B5EF4-FFF2-40B4-BE49-F238E27FC236}">
                    <a16:creationId xmlns:a16="http://schemas.microsoft.com/office/drawing/2014/main" id="{98FEE026-ECB5-854D-89C1-D318CB321EA7}"/>
                  </a:ext>
                </a:extLst>
              </p:cNvPr>
              <p:cNvSpPr/>
              <p:nvPr/>
            </p:nvSpPr>
            <p:spPr>
              <a:xfrm>
                <a:off x="2511339" y="6302067"/>
                <a:ext cx="71672" cy="88472"/>
              </a:xfrm>
              <a:custGeom>
                <a:avLst/>
                <a:gdLst>
                  <a:gd name="connsiteX0" fmla="*/ 31379 w 161901"/>
                  <a:gd name="connsiteY0" fmla="*/ 103539 h 199852"/>
                  <a:gd name="connsiteX1" fmla="*/ 93957 w 161901"/>
                  <a:gd name="connsiteY1" fmla="*/ 119540 h 199852"/>
                  <a:gd name="connsiteX2" fmla="*/ 118437 w 161901"/>
                  <a:gd name="connsiteY2" fmla="*/ 148592 h 199852"/>
                  <a:gd name="connsiteX3" fmla="*/ 86242 w 161901"/>
                  <a:gd name="connsiteY3" fmla="*/ 168689 h 199852"/>
                  <a:gd name="connsiteX4" fmla="*/ 51857 w 161901"/>
                  <a:gd name="connsiteY4" fmla="*/ 166118 h 199852"/>
                  <a:gd name="connsiteX5" fmla="*/ 34331 w 161901"/>
                  <a:gd name="connsiteY5" fmla="*/ 148020 h 199852"/>
                  <a:gd name="connsiteX6" fmla="*/ 30330 w 161901"/>
                  <a:gd name="connsiteY6" fmla="*/ 138305 h 199852"/>
                  <a:gd name="connsiteX7" fmla="*/ 24806 w 161901"/>
                  <a:gd name="connsiteY7" fmla="*/ 135066 h 199852"/>
                  <a:gd name="connsiteX8" fmla="*/ 7375 w 161901"/>
                  <a:gd name="connsiteY8" fmla="*/ 135066 h 199852"/>
                  <a:gd name="connsiteX9" fmla="*/ 2898 w 161901"/>
                  <a:gd name="connsiteY9" fmla="*/ 138305 h 199852"/>
                  <a:gd name="connsiteX10" fmla="*/ 2994 w 161901"/>
                  <a:gd name="connsiteY10" fmla="*/ 176500 h 199852"/>
                  <a:gd name="connsiteX11" fmla="*/ 2994 w 161901"/>
                  <a:gd name="connsiteY11" fmla="*/ 193359 h 199852"/>
                  <a:gd name="connsiteX12" fmla="*/ 32807 w 161901"/>
                  <a:gd name="connsiteY12" fmla="*/ 199836 h 199852"/>
                  <a:gd name="connsiteX13" fmla="*/ 91100 w 161901"/>
                  <a:gd name="connsiteY13" fmla="*/ 199836 h 199852"/>
                  <a:gd name="connsiteX14" fmla="*/ 134344 w 161901"/>
                  <a:gd name="connsiteY14" fmla="*/ 189930 h 199852"/>
                  <a:gd name="connsiteX15" fmla="*/ 161871 w 161901"/>
                  <a:gd name="connsiteY15" fmla="*/ 139543 h 199852"/>
                  <a:gd name="connsiteX16" fmla="*/ 142821 w 161901"/>
                  <a:gd name="connsiteY16" fmla="*/ 86108 h 199852"/>
                  <a:gd name="connsiteX17" fmla="*/ 80241 w 161901"/>
                  <a:gd name="connsiteY17" fmla="*/ 70106 h 199852"/>
                  <a:gd name="connsiteX18" fmla="*/ 45094 w 161901"/>
                  <a:gd name="connsiteY18" fmla="*/ 47246 h 199852"/>
                  <a:gd name="connsiteX19" fmla="*/ 77289 w 161901"/>
                  <a:gd name="connsiteY19" fmla="*/ 27148 h 199852"/>
                  <a:gd name="connsiteX20" fmla="*/ 100149 w 161901"/>
                  <a:gd name="connsiteY20" fmla="*/ 29720 h 199852"/>
                  <a:gd name="connsiteX21" fmla="*/ 113770 w 161901"/>
                  <a:gd name="connsiteY21" fmla="*/ 39626 h 199852"/>
                  <a:gd name="connsiteX22" fmla="*/ 121009 w 161901"/>
                  <a:gd name="connsiteY22" fmla="*/ 54199 h 199852"/>
                  <a:gd name="connsiteX23" fmla="*/ 127105 w 161901"/>
                  <a:gd name="connsiteY23" fmla="*/ 60295 h 199852"/>
                  <a:gd name="connsiteX24" fmla="*/ 142916 w 161901"/>
                  <a:gd name="connsiteY24" fmla="*/ 60295 h 199852"/>
                  <a:gd name="connsiteX25" fmla="*/ 149012 w 161901"/>
                  <a:gd name="connsiteY25" fmla="*/ 54199 h 199852"/>
                  <a:gd name="connsiteX26" fmla="*/ 148917 w 161901"/>
                  <a:gd name="connsiteY26" fmla="*/ 3335 h 199852"/>
                  <a:gd name="connsiteX27" fmla="*/ 119103 w 161901"/>
                  <a:gd name="connsiteY27" fmla="*/ 2 h 199852"/>
                  <a:gd name="connsiteX28" fmla="*/ 54714 w 161901"/>
                  <a:gd name="connsiteY28" fmla="*/ 2 h 199852"/>
                  <a:gd name="connsiteX29" fmla="*/ 19091 w 161901"/>
                  <a:gd name="connsiteY29" fmla="*/ 12956 h 199852"/>
                  <a:gd name="connsiteX30" fmla="*/ 41 w 161901"/>
                  <a:gd name="connsiteY30" fmla="*/ 58009 h 199852"/>
                  <a:gd name="connsiteX31" fmla="*/ 31379 w 161901"/>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901" h="199852">
                    <a:moveTo>
                      <a:pt x="31379" y="103539"/>
                    </a:moveTo>
                    <a:cubicBezTo>
                      <a:pt x="47381" y="108396"/>
                      <a:pt x="74907" y="116493"/>
                      <a:pt x="93957" y="119540"/>
                    </a:cubicBezTo>
                    <a:cubicBezTo>
                      <a:pt x="113007" y="122589"/>
                      <a:pt x="121485" y="131732"/>
                      <a:pt x="118437" y="148592"/>
                    </a:cubicBezTo>
                    <a:cubicBezTo>
                      <a:pt x="115389" y="165165"/>
                      <a:pt x="96244" y="168404"/>
                      <a:pt x="86242" y="168689"/>
                    </a:cubicBezTo>
                    <a:cubicBezTo>
                      <a:pt x="86242" y="168689"/>
                      <a:pt x="61858" y="169832"/>
                      <a:pt x="51857" y="166118"/>
                    </a:cubicBezTo>
                    <a:cubicBezTo>
                      <a:pt x="47761" y="164594"/>
                      <a:pt x="36427" y="151640"/>
                      <a:pt x="34331" y="148020"/>
                    </a:cubicBezTo>
                    <a:lnTo>
                      <a:pt x="30330" y="138305"/>
                    </a:lnTo>
                    <a:cubicBezTo>
                      <a:pt x="30330" y="136685"/>
                      <a:pt x="28235" y="135066"/>
                      <a:pt x="24806" y="135066"/>
                    </a:cubicBezTo>
                    <a:lnTo>
                      <a:pt x="7375" y="135066"/>
                    </a:lnTo>
                    <a:cubicBezTo>
                      <a:pt x="4041" y="135066"/>
                      <a:pt x="2898" y="134971"/>
                      <a:pt x="2898" y="138305"/>
                    </a:cubicBezTo>
                    <a:lnTo>
                      <a:pt x="2994" y="176500"/>
                    </a:lnTo>
                    <a:lnTo>
                      <a:pt x="2994" y="193359"/>
                    </a:lnTo>
                    <a:cubicBezTo>
                      <a:pt x="2994" y="198598"/>
                      <a:pt x="10900" y="199836"/>
                      <a:pt x="32807" y="199836"/>
                    </a:cubicBezTo>
                    <a:lnTo>
                      <a:pt x="91100" y="199836"/>
                    </a:lnTo>
                    <a:cubicBezTo>
                      <a:pt x="91100" y="199836"/>
                      <a:pt x="115960" y="200693"/>
                      <a:pt x="134344" y="189930"/>
                    </a:cubicBezTo>
                    <a:cubicBezTo>
                      <a:pt x="149393" y="181072"/>
                      <a:pt x="162633" y="157069"/>
                      <a:pt x="161871" y="139543"/>
                    </a:cubicBezTo>
                    <a:cubicBezTo>
                      <a:pt x="160632" y="111254"/>
                      <a:pt x="158823" y="96014"/>
                      <a:pt x="142821" y="86108"/>
                    </a:cubicBezTo>
                    <a:cubicBezTo>
                      <a:pt x="128533" y="77250"/>
                      <a:pt x="99291" y="73154"/>
                      <a:pt x="80241" y="70106"/>
                    </a:cubicBezTo>
                    <a:cubicBezTo>
                      <a:pt x="61191" y="67058"/>
                      <a:pt x="45094" y="64010"/>
                      <a:pt x="45094" y="47246"/>
                    </a:cubicBezTo>
                    <a:cubicBezTo>
                      <a:pt x="45094" y="30482"/>
                      <a:pt x="67192" y="27434"/>
                      <a:pt x="77289" y="27148"/>
                    </a:cubicBezTo>
                    <a:cubicBezTo>
                      <a:pt x="77289" y="27148"/>
                      <a:pt x="90243"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3" y="2"/>
                    </a:cubicBezTo>
                    <a:lnTo>
                      <a:pt x="54714" y="2"/>
                    </a:lnTo>
                    <a:cubicBezTo>
                      <a:pt x="54714" y="2"/>
                      <a:pt x="32522" y="192"/>
                      <a:pt x="19091" y="12956"/>
                    </a:cubicBezTo>
                    <a:cubicBezTo>
                      <a:pt x="9281" y="22290"/>
                      <a:pt x="-721" y="40483"/>
                      <a:pt x="41" y="58009"/>
                    </a:cubicBezTo>
                    <a:cubicBezTo>
                      <a:pt x="803" y="75249"/>
                      <a:pt x="3851" y="95156"/>
                      <a:pt x="31379"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5" name="Freeform 64">
                <a:extLst>
                  <a:ext uri="{FF2B5EF4-FFF2-40B4-BE49-F238E27FC236}">
                    <a16:creationId xmlns:a16="http://schemas.microsoft.com/office/drawing/2014/main" id="{61688A73-1CA1-3F44-94DF-2ED81508C836}"/>
                  </a:ext>
                </a:extLst>
              </p:cNvPr>
              <p:cNvSpPr/>
              <p:nvPr/>
            </p:nvSpPr>
            <p:spPr>
              <a:xfrm>
                <a:off x="1597661" y="6300582"/>
                <a:ext cx="107687" cy="93355"/>
              </a:xfrm>
              <a:custGeom>
                <a:avLst/>
                <a:gdLst>
                  <a:gd name="connsiteX0" fmla="*/ 242507 w 243257"/>
                  <a:gd name="connsiteY0" fmla="*/ 186523 h 210883"/>
                  <a:gd name="connsiteX1" fmla="*/ 234125 w 243257"/>
                  <a:gd name="connsiteY1" fmla="*/ 184237 h 210883"/>
                  <a:gd name="connsiteX2" fmla="*/ 226504 w 243257"/>
                  <a:gd name="connsiteY2" fmla="*/ 181189 h 210883"/>
                  <a:gd name="connsiteX3" fmla="*/ 202597 w 243257"/>
                  <a:gd name="connsiteY3" fmla="*/ 164234 h 210883"/>
                  <a:gd name="connsiteX4" fmla="*/ 210503 w 243257"/>
                  <a:gd name="connsiteY4" fmla="*/ 147470 h 210883"/>
                  <a:gd name="connsiteX5" fmla="*/ 215075 w 243257"/>
                  <a:gd name="connsiteY5" fmla="*/ 110799 h 210883"/>
                  <a:gd name="connsiteX6" fmla="*/ 214122 w 243257"/>
                  <a:gd name="connsiteY6" fmla="*/ 87558 h 210883"/>
                  <a:gd name="connsiteX7" fmla="*/ 210312 w 243257"/>
                  <a:gd name="connsiteY7" fmla="*/ 86415 h 210883"/>
                  <a:gd name="connsiteX8" fmla="*/ 177641 w 243257"/>
                  <a:gd name="connsiteY8" fmla="*/ 86415 h 210883"/>
                  <a:gd name="connsiteX9" fmla="*/ 174593 w 243257"/>
                  <a:gd name="connsiteY9" fmla="*/ 87939 h 210883"/>
                  <a:gd name="connsiteX10" fmla="*/ 173831 w 243257"/>
                  <a:gd name="connsiteY10" fmla="*/ 93273 h 210883"/>
                  <a:gd name="connsiteX11" fmla="*/ 173831 w 243257"/>
                  <a:gd name="connsiteY11" fmla="*/ 109275 h 210883"/>
                  <a:gd name="connsiteX12" fmla="*/ 168593 w 243257"/>
                  <a:gd name="connsiteY12" fmla="*/ 136040 h 210883"/>
                  <a:gd name="connsiteX13" fmla="*/ 120301 w 243257"/>
                  <a:gd name="connsiteY13" fmla="*/ 95940 h 210883"/>
                  <a:gd name="connsiteX14" fmla="*/ 163830 w 243257"/>
                  <a:gd name="connsiteY14" fmla="*/ 46600 h 210883"/>
                  <a:gd name="connsiteX15" fmla="*/ 92012 w 243257"/>
                  <a:gd name="connsiteY15" fmla="*/ 23 h 210883"/>
                  <a:gd name="connsiteX16" fmla="*/ 14097 w 243257"/>
                  <a:gd name="connsiteY16" fmla="*/ 46600 h 210883"/>
                  <a:gd name="connsiteX17" fmla="*/ 20384 w 243257"/>
                  <a:gd name="connsiteY17" fmla="*/ 69270 h 210883"/>
                  <a:gd name="connsiteX18" fmla="*/ 20193 w 243257"/>
                  <a:gd name="connsiteY18" fmla="*/ 70222 h 210883"/>
                  <a:gd name="connsiteX19" fmla="*/ 21908 w 243257"/>
                  <a:gd name="connsiteY19" fmla="*/ 71651 h 210883"/>
                  <a:gd name="connsiteX20" fmla="*/ 33242 w 243257"/>
                  <a:gd name="connsiteY20" fmla="*/ 83462 h 210883"/>
                  <a:gd name="connsiteX21" fmla="*/ 0 w 243257"/>
                  <a:gd name="connsiteY21" fmla="*/ 139755 h 210883"/>
                  <a:gd name="connsiteX22" fmla="*/ 97346 w 243257"/>
                  <a:gd name="connsiteY22" fmla="*/ 210811 h 210883"/>
                  <a:gd name="connsiteX23" fmla="*/ 172688 w 243257"/>
                  <a:gd name="connsiteY23" fmla="*/ 193000 h 210883"/>
                  <a:gd name="connsiteX24" fmla="*/ 180594 w 243257"/>
                  <a:gd name="connsiteY24" fmla="*/ 196524 h 210883"/>
                  <a:gd name="connsiteX25" fmla="*/ 192977 w 243257"/>
                  <a:gd name="connsiteY25" fmla="*/ 202620 h 210883"/>
                  <a:gd name="connsiteX26" fmla="*/ 237839 w 243257"/>
                  <a:gd name="connsiteY26" fmla="*/ 202429 h 210883"/>
                  <a:gd name="connsiteX27" fmla="*/ 242983 w 243257"/>
                  <a:gd name="connsiteY27" fmla="*/ 198048 h 210883"/>
                  <a:gd name="connsiteX28" fmla="*/ 243078 w 243257"/>
                  <a:gd name="connsiteY28" fmla="*/ 195571 h 210883"/>
                  <a:gd name="connsiteX29" fmla="*/ 242507 w 243257"/>
                  <a:gd name="connsiteY29" fmla="*/ 186523 h 210883"/>
                  <a:gd name="connsiteX30" fmla="*/ 92107 w 243257"/>
                  <a:gd name="connsiteY30" fmla="*/ 28217 h 210883"/>
                  <a:gd name="connsiteX31" fmla="*/ 120396 w 243257"/>
                  <a:gd name="connsiteY31" fmla="*/ 46505 h 210883"/>
                  <a:gd name="connsiteX32" fmla="*/ 89821 w 243257"/>
                  <a:gd name="connsiteY32" fmla="*/ 67079 h 210883"/>
                  <a:gd name="connsiteX33" fmla="*/ 85916 w 243257"/>
                  <a:gd name="connsiteY33" fmla="*/ 66317 h 210883"/>
                  <a:gd name="connsiteX34" fmla="*/ 77534 w 243257"/>
                  <a:gd name="connsiteY34" fmla="*/ 62983 h 210883"/>
                  <a:gd name="connsiteX35" fmla="*/ 61817 w 243257"/>
                  <a:gd name="connsiteY35" fmla="*/ 46505 h 210883"/>
                  <a:gd name="connsiteX36" fmla="*/ 92107 w 243257"/>
                  <a:gd name="connsiteY36" fmla="*/ 28217 h 210883"/>
                  <a:gd name="connsiteX37" fmla="*/ 102013 w 243257"/>
                  <a:gd name="connsiteY37" fmla="*/ 176426 h 210883"/>
                  <a:gd name="connsiteX38" fmla="*/ 51721 w 243257"/>
                  <a:gd name="connsiteY38" fmla="*/ 136135 h 210883"/>
                  <a:gd name="connsiteX39" fmla="*/ 65913 w 243257"/>
                  <a:gd name="connsiteY39" fmla="*/ 106989 h 210883"/>
                  <a:gd name="connsiteX40" fmla="*/ 142875 w 243257"/>
                  <a:gd name="connsiteY40" fmla="*/ 168901 h 210883"/>
                  <a:gd name="connsiteX41" fmla="*/ 102013 w 243257"/>
                  <a:gd name="connsiteY41" fmla="*/ 176426 h 2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3257" h="210883">
                    <a:moveTo>
                      <a:pt x="242507" y="186523"/>
                    </a:moveTo>
                    <a:cubicBezTo>
                      <a:pt x="240983" y="184237"/>
                      <a:pt x="238696" y="184999"/>
                      <a:pt x="234125" y="184237"/>
                    </a:cubicBezTo>
                    <a:cubicBezTo>
                      <a:pt x="229553" y="183475"/>
                      <a:pt x="226504" y="181189"/>
                      <a:pt x="226504" y="181189"/>
                    </a:cubicBezTo>
                    <a:lnTo>
                      <a:pt x="202597" y="164234"/>
                    </a:lnTo>
                    <a:cubicBezTo>
                      <a:pt x="205931" y="158233"/>
                      <a:pt x="208502" y="151947"/>
                      <a:pt x="210503" y="147470"/>
                    </a:cubicBezTo>
                    <a:cubicBezTo>
                      <a:pt x="213551" y="140612"/>
                      <a:pt x="215075" y="118419"/>
                      <a:pt x="215075" y="110799"/>
                    </a:cubicBezTo>
                    <a:cubicBezTo>
                      <a:pt x="215075" y="103179"/>
                      <a:pt x="216789" y="89844"/>
                      <a:pt x="214122" y="87558"/>
                    </a:cubicBezTo>
                    <a:cubicBezTo>
                      <a:pt x="213360" y="86891"/>
                      <a:pt x="210312" y="86415"/>
                      <a:pt x="210312" y="86415"/>
                    </a:cubicBezTo>
                    <a:lnTo>
                      <a:pt x="177641" y="86415"/>
                    </a:lnTo>
                    <a:cubicBezTo>
                      <a:pt x="177641" y="86415"/>
                      <a:pt x="175736" y="86796"/>
                      <a:pt x="174593" y="87939"/>
                    </a:cubicBezTo>
                    <a:cubicBezTo>
                      <a:pt x="173641" y="88891"/>
                      <a:pt x="173831" y="93273"/>
                      <a:pt x="173831" y="93273"/>
                    </a:cubicBezTo>
                    <a:cubicBezTo>
                      <a:pt x="173831" y="93273"/>
                      <a:pt x="173450" y="103941"/>
                      <a:pt x="173831" y="109275"/>
                    </a:cubicBezTo>
                    <a:cubicBezTo>
                      <a:pt x="174498" y="119276"/>
                      <a:pt x="172021" y="128420"/>
                      <a:pt x="168593" y="136040"/>
                    </a:cubicBezTo>
                    <a:lnTo>
                      <a:pt x="120301" y="95940"/>
                    </a:lnTo>
                    <a:cubicBezTo>
                      <a:pt x="146876" y="85939"/>
                      <a:pt x="164211" y="63364"/>
                      <a:pt x="163830" y="46600"/>
                    </a:cubicBezTo>
                    <a:cubicBezTo>
                      <a:pt x="163068" y="13739"/>
                      <a:pt x="133826" y="690"/>
                      <a:pt x="92012" y="23"/>
                    </a:cubicBezTo>
                    <a:cubicBezTo>
                      <a:pt x="45434" y="-739"/>
                      <a:pt x="14097" y="17359"/>
                      <a:pt x="14097" y="46600"/>
                    </a:cubicBezTo>
                    <a:cubicBezTo>
                      <a:pt x="14097" y="54982"/>
                      <a:pt x="16383" y="62602"/>
                      <a:pt x="20384" y="69270"/>
                    </a:cubicBezTo>
                    <a:cubicBezTo>
                      <a:pt x="20288" y="69556"/>
                      <a:pt x="20193" y="69937"/>
                      <a:pt x="20193" y="70222"/>
                    </a:cubicBezTo>
                    <a:lnTo>
                      <a:pt x="21908" y="71651"/>
                    </a:lnTo>
                    <a:cubicBezTo>
                      <a:pt x="24956" y="76033"/>
                      <a:pt x="28766" y="79938"/>
                      <a:pt x="33242" y="83462"/>
                    </a:cubicBezTo>
                    <a:cubicBezTo>
                      <a:pt x="12573" y="97845"/>
                      <a:pt x="0" y="118228"/>
                      <a:pt x="0" y="139755"/>
                    </a:cubicBezTo>
                    <a:cubicBezTo>
                      <a:pt x="0" y="180331"/>
                      <a:pt x="18669" y="208430"/>
                      <a:pt x="97346" y="210811"/>
                    </a:cubicBezTo>
                    <a:cubicBezTo>
                      <a:pt x="125730" y="211669"/>
                      <a:pt x="152400" y="204811"/>
                      <a:pt x="172688" y="193000"/>
                    </a:cubicBezTo>
                    <a:lnTo>
                      <a:pt x="180594" y="196524"/>
                    </a:lnTo>
                    <a:cubicBezTo>
                      <a:pt x="183833" y="199191"/>
                      <a:pt x="186500" y="202429"/>
                      <a:pt x="192977" y="202620"/>
                    </a:cubicBezTo>
                    <a:lnTo>
                      <a:pt x="237839" y="202429"/>
                    </a:lnTo>
                    <a:cubicBezTo>
                      <a:pt x="241268" y="202429"/>
                      <a:pt x="242983" y="201382"/>
                      <a:pt x="242983" y="198048"/>
                    </a:cubicBezTo>
                    <a:lnTo>
                      <a:pt x="243078" y="195571"/>
                    </a:lnTo>
                    <a:cubicBezTo>
                      <a:pt x="243173" y="195476"/>
                      <a:pt x="243650" y="188142"/>
                      <a:pt x="242507" y="186523"/>
                    </a:cubicBezTo>
                    <a:close/>
                    <a:moveTo>
                      <a:pt x="92107" y="28217"/>
                    </a:moveTo>
                    <a:cubicBezTo>
                      <a:pt x="110490" y="28979"/>
                      <a:pt x="120396" y="37361"/>
                      <a:pt x="120396" y="46505"/>
                    </a:cubicBezTo>
                    <a:cubicBezTo>
                      <a:pt x="120396" y="57173"/>
                      <a:pt x="95917" y="67079"/>
                      <a:pt x="89821" y="67079"/>
                    </a:cubicBezTo>
                    <a:cubicBezTo>
                      <a:pt x="88868" y="67079"/>
                      <a:pt x="87535" y="66793"/>
                      <a:pt x="85916" y="66317"/>
                    </a:cubicBezTo>
                    <a:cubicBezTo>
                      <a:pt x="83439" y="64888"/>
                      <a:pt x="80105" y="63555"/>
                      <a:pt x="77534" y="62983"/>
                    </a:cubicBezTo>
                    <a:cubicBezTo>
                      <a:pt x="69818" y="59078"/>
                      <a:pt x="61817" y="52887"/>
                      <a:pt x="61817" y="46505"/>
                    </a:cubicBezTo>
                    <a:cubicBezTo>
                      <a:pt x="61722" y="37361"/>
                      <a:pt x="73724" y="27455"/>
                      <a:pt x="92107" y="28217"/>
                    </a:cubicBezTo>
                    <a:close/>
                    <a:moveTo>
                      <a:pt x="102013" y="176426"/>
                    </a:moveTo>
                    <a:cubicBezTo>
                      <a:pt x="58484" y="175664"/>
                      <a:pt x="51721" y="160519"/>
                      <a:pt x="51721" y="136135"/>
                    </a:cubicBezTo>
                    <a:cubicBezTo>
                      <a:pt x="51721" y="125372"/>
                      <a:pt x="56960" y="115085"/>
                      <a:pt x="65913" y="106989"/>
                    </a:cubicBezTo>
                    <a:lnTo>
                      <a:pt x="142875" y="168901"/>
                    </a:lnTo>
                    <a:cubicBezTo>
                      <a:pt x="134779" y="173950"/>
                      <a:pt x="118205" y="176712"/>
                      <a:pt x="102013" y="1764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6" name="Freeform 65">
                <a:extLst>
                  <a:ext uri="{FF2B5EF4-FFF2-40B4-BE49-F238E27FC236}">
                    <a16:creationId xmlns:a16="http://schemas.microsoft.com/office/drawing/2014/main" id="{70500C20-3A1A-1246-904B-BEA0B0DDEF09}"/>
                  </a:ext>
                </a:extLst>
              </p:cNvPr>
              <p:cNvSpPr/>
              <p:nvPr/>
            </p:nvSpPr>
            <p:spPr>
              <a:xfrm>
                <a:off x="1530769" y="6441174"/>
                <a:ext cx="62802" cy="67002"/>
              </a:xfrm>
              <a:custGeom>
                <a:avLst/>
                <a:gdLst>
                  <a:gd name="connsiteX0" fmla="*/ 141198 w 141864"/>
                  <a:gd name="connsiteY0" fmla="*/ 108680 h 151352"/>
                  <a:gd name="connsiteX1" fmla="*/ 136531 w 141864"/>
                  <a:gd name="connsiteY1" fmla="*/ 104013 h 151352"/>
                  <a:gd name="connsiteX2" fmla="*/ 124339 w 141864"/>
                  <a:gd name="connsiteY2" fmla="*/ 104013 h 151352"/>
                  <a:gd name="connsiteX3" fmla="*/ 119672 w 141864"/>
                  <a:gd name="connsiteY3" fmla="*/ 108680 h 151352"/>
                  <a:gd name="connsiteX4" fmla="*/ 116814 w 141864"/>
                  <a:gd name="connsiteY4" fmla="*/ 116205 h 151352"/>
                  <a:gd name="connsiteX5" fmla="*/ 112337 w 141864"/>
                  <a:gd name="connsiteY5" fmla="*/ 122777 h 151352"/>
                  <a:gd name="connsiteX6" fmla="*/ 52711 w 141864"/>
                  <a:gd name="connsiteY6" fmla="*/ 125063 h 151352"/>
                  <a:gd name="connsiteX7" fmla="*/ 49663 w 141864"/>
                  <a:gd name="connsiteY7" fmla="*/ 121063 h 151352"/>
                  <a:gd name="connsiteX8" fmla="*/ 49663 w 141864"/>
                  <a:gd name="connsiteY8" fmla="*/ 82010 h 151352"/>
                  <a:gd name="connsiteX9" fmla="*/ 96145 w 141864"/>
                  <a:gd name="connsiteY9" fmla="*/ 82010 h 151352"/>
                  <a:gd name="connsiteX10" fmla="*/ 102717 w 141864"/>
                  <a:gd name="connsiteY10" fmla="*/ 90583 h 151352"/>
                  <a:gd name="connsiteX11" fmla="*/ 103193 w 141864"/>
                  <a:gd name="connsiteY11" fmla="*/ 91726 h 151352"/>
                  <a:gd name="connsiteX12" fmla="*/ 104336 w 141864"/>
                  <a:gd name="connsiteY12" fmla="*/ 91916 h 151352"/>
                  <a:gd name="connsiteX13" fmla="*/ 119005 w 141864"/>
                  <a:gd name="connsiteY13" fmla="*/ 91821 h 151352"/>
                  <a:gd name="connsiteX14" fmla="*/ 120148 w 141864"/>
                  <a:gd name="connsiteY14" fmla="*/ 90678 h 151352"/>
                  <a:gd name="connsiteX15" fmla="*/ 120148 w 141864"/>
                  <a:gd name="connsiteY15" fmla="*/ 57341 h 151352"/>
                  <a:gd name="connsiteX16" fmla="*/ 120148 w 141864"/>
                  <a:gd name="connsiteY16" fmla="*/ 45815 h 151352"/>
                  <a:gd name="connsiteX17" fmla="*/ 119005 w 141864"/>
                  <a:gd name="connsiteY17" fmla="*/ 44672 h 151352"/>
                  <a:gd name="connsiteX18" fmla="*/ 104336 w 141864"/>
                  <a:gd name="connsiteY18" fmla="*/ 44577 h 151352"/>
                  <a:gd name="connsiteX19" fmla="*/ 103193 w 141864"/>
                  <a:gd name="connsiteY19" fmla="*/ 44863 h 151352"/>
                  <a:gd name="connsiteX20" fmla="*/ 102717 w 141864"/>
                  <a:gd name="connsiteY20" fmla="*/ 46006 h 151352"/>
                  <a:gd name="connsiteX21" fmla="*/ 96145 w 141864"/>
                  <a:gd name="connsiteY21" fmla="*/ 54578 h 151352"/>
                  <a:gd name="connsiteX22" fmla="*/ 49663 w 141864"/>
                  <a:gd name="connsiteY22" fmla="*/ 54578 h 151352"/>
                  <a:gd name="connsiteX23" fmla="*/ 49663 w 141864"/>
                  <a:gd name="connsiteY23" fmla="*/ 30194 h 151352"/>
                  <a:gd name="connsiteX24" fmla="*/ 49949 w 141864"/>
                  <a:gd name="connsiteY24" fmla="*/ 25527 h 151352"/>
                  <a:gd name="connsiteX25" fmla="*/ 54235 w 141864"/>
                  <a:gd name="connsiteY25" fmla="*/ 24289 h 151352"/>
                  <a:gd name="connsiteX26" fmla="*/ 97574 w 141864"/>
                  <a:gd name="connsiteY26" fmla="*/ 24765 h 151352"/>
                  <a:gd name="connsiteX27" fmla="*/ 111671 w 141864"/>
                  <a:gd name="connsiteY27" fmla="*/ 27527 h 151352"/>
                  <a:gd name="connsiteX28" fmla="*/ 113671 w 141864"/>
                  <a:gd name="connsiteY28" fmla="*/ 32385 h 151352"/>
                  <a:gd name="connsiteX29" fmla="*/ 118338 w 141864"/>
                  <a:gd name="connsiteY29" fmla="*/ 37052 h 151352"/>
                  <a:gd name="connsiteX30" fmla="*/ 130530 w 141864"/>
                  <a:gd name="connsiteY30" fmla="*/ 37052 h 151352"/>
                  <a:gd name="connsiteX31" fmla="*/ 135197 w 141864"/>
                  <a:gd name="connsiteY31" fmla="*/ 32385 h 151352"/>
                  <a:gd name="connsiteX32" fmla="*/ 135674 w 141864"/>
                  <a:gd name="connsiteY32" fmla="*/ 4667 h 151352"/>
                  <a:gd name="connsiteX33" fmla="*/ 131006 w 141864"/>
                  <a:gd name="connsiteY33" fmla="*/ 0 h 151352"/>
                  <a:gd name="connsiteX34" fmla="*/ 64617 w 141864"/>
                  <a:gd name="connsiteY34" fmla="*/ 0 h 151352"/>
                  <a:gd name="connsiteX35" fmla="*/ 1657 w 141864"/>
                  <a:gd name="connsiteY35" fmla="*/ 0 h 151352"/>
                  <a:gd name="connsiteX36" fmla="*/ 228 w 141864"/>
                  <a:gd name="connsiteY36" fmla="*/ 1429 h 151352"/>
                  <a:gd name="connsiteX37" fmla="*/ 38 w 141864"/>
                  <a:gd name="connsiteY37" fmla="*/ 19907 h 151352"/>
                  <a:gd name="connsiteX38" fmla="*/ 323 w 141864"/>
                  <a:gd name="connsiteY38" fmla="*/ 21431 h 151352"/>
                  <a:gd name="connsiteX39" fmla="*/ 1752 w 141864"/>
                  <a:gd name="connsiteY39" fmla="*/ 22003 h 151352"/>
                  <a:gd name="connsiteX40" fmla="*/ 16421 w 141864"/>
                  <a:gd name="connsiteY40" fmla="*/ 30290 h 151352"/>
                  <a:gd name="connsiteX41" fmla="*/ 16421 w 141864"/>
                  <a:gd name="connsiteY41" fmla="*/ 121158 h 151352"/>
                  <a:gd name="connsiteX42" fmla="*/ 1752 w 141864"/>
                  <a:gd name="connsiteY42" fmla="*/ 129445 h 151352"/>
                  <a:gd name="connsiteX43" fmla="*/ 323 w 141864"/>
                  <a:gd name="connsiteY43" fmla="*/ 130016 h 151352"/>
                  <a:gd name="connsiteX44" fmla="*/ 38 w 141864"/>
                  <a:gd name="connsiteY44" fmla="*/ 131445 h 151352"/>
                  <a:gd name="connsiteX45" fmla="*/ 228 w 141864"/>
                  <a:gd name="connsiteY45" fmla="*/ 149924 h 151352"/>
                  <a:gd name="connsiteX46" fmla="*/ 1657 w 141864"/>
                  <a:gd name="connsiteY46" fmla="*/ 151352 h 151352"/>
                  <a:gd name="connsiteX47" fmla="*/ 52044 w 141864"/>
                  <a:gd name="connsiteY47" fmla="*/ 151352 h 151352"/>
                  <a:gd name="connsiteX48" fmla="*/ 52139 w 141864"/>
                  <a:gd name="connsiteY48" fmla="*/ 151352 h 151352"/>
                  <a:gd name="connsiteX49" fmla="*/ 137198 w 141864"/>
                  <a:gd name="connsiteY49" fmla="*/ 151352 h 151352"/>
                  <a:gd name="connsiteX50" fmla="*/ 141865 w 141864"/>
                  <a:gd name="connsiteY50" fmla="*/ 146685 h 151352"/>
                  <a:gd name="connsiteX51" fmla="*/ 141198 w 141864"/>
                  <a:gd name="connsiteY51" fmla="*/ 10868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1864" h="151352">
                    <a:moveTo>
                      <a:pt x="141198" y="108680"/>
                    </a:moveTo>
                    <a:cubicBezTo>
                      <a:pt x="141198" y="106108"/>
                      <a:pt x="139103" y="104013"/>
                      <a:pt x="136531" y="104013"/>
                    </a:cubicBezTo>
                    <a:lnTo>
                      <a:pt x="124339" y="104013"/>
                    </a:lnTo>
                    <a:cubicBezTo>
                      <a:pt x="121767" y="104013"/>
                      <a:pt x="119672" y="106108"/>
                      <a:pt x="119672" y="108680"/>
                    </a:cubicBezTo>
                    <a:lnTo>
                      <a:pt x="116814" y="116205"/>
                    </a:lnTo>
                    <a:cubicBezTo>
                      <a:pt x="116624" y="118967"/>
                      <a:pt x="113385" y="120587"/>
                      <a:pt x="112337" y="122777"/>
                    </a:cubicBezTo>
                    <a:cubicBezTo>
                      <a:pt x="109194" y="129064"/>
                      <a:pt x="52711" y="125063"/>
                      <a:pt x="52711" y="125063"/>
                    </a:cubicBezTo>
                    <a:cubicBezTo>
                      <a:pt x="50901" y="123825"/>
                      <a:pt x="49663" y="122492"/>
                      <a:pt x="49663" y="121063"/>
                    </a:cubicBezTo>
                    <a:lnTo>
                      <a:pt x="49663" y="82010"/>
                    </a:lnTo>
                    <a:lnTo>
                      <a:pt x="96145" y="82010"/>
                    </a:lnTo>
                    <a:cubicBezTo>
                      <a:pt x="99002" y="82010"/>
                      <a:pt x="101860" y="85534"/>
                      <a:pt x="102717" y="90583"/>
                    </a:cubicBezTo>
                    <a:cubicBezTo>
                      <a:pt x="102717" y="90583"/>
                      <a:pt x="102717" y="91440"/>
                      <a:pt x="103193" y="91726"/>
                    </a:cubicBezTo>
                    <a:cubicBezTo>
                      <a:pt x="103670" y="92107"/>
                      <a:pt x="104336" y="91916"/>
                      <a:pt x="104336" y="91916"/>
                    </a:cubicBezTo>
                    <a:lnTo>
                      <a:pt x="119005" y="91821"/>
                    </a:lnTo>
                    <a:cubicBezTo>
                      <a:pt x="119672" y="91821"/>
                      <a:pt x="120148" y="91345"/>
                      <a:pt x="120148" y="90678"/>
                    </a:cubicBezTo>
                    <a:lnTo>
                      <a:pt x="120148" y="57341"/>
                    </a:lnTo>
                    <a:lnTo>
                      <a:pt x="120148" y="45815"/>
                    </a:lnTo>
                    <a:cubicBezTo>
                      <a:pt x="120148" y="45149"/>
                      <a:pt x="119672" y="44672"/>
                      <a:pt x="119005" y="44672"/>
                    </a:cubicBezTo>
                    <a:lnTo>
                      <a:pt x="104336" y="44577"/>
                    </a:lnTo>
                    <a:cubicBezTo>
                      <a:pt x="104336" y="44577"/>
                      <a:pt x="103670" y="44482"/>
                      <a:pt x="103193" y="44863"/>
                    </a:cubicBezTo>
                    <a:cubicBezTo>
                      <a:pt x="102717" y="45244"/>
                      <a:pt x="102717" y="46006"/>
                      <a:pt x="102717" y="46006"/>
                    </a:cubicBezTo>
                    <a:cubicBezTo>
                      <a:pt x="101860" y="51054"/>
                      <a:pt x="99002" y="54578"/>
                      <a:pt x="96145" y="54578"/>
                    </a:cubicBezTo>
                    <a:lnTo>
                      <a:pt x="49663" y="54578"/>
                    </a:lnTo>
                    <a:lnTo>
                      <a:pt x="49663" y="30194"/>
                    </a:lnTo>
                    <a:lnTo>
                      <a:pt x="49949" y="25527"/>
                    </a:lnTo>
                    <a:cubicBezTo>
                      <a:pt x="51187" y="23527"/>
                      <a:pt x="54235" y="24289"/>
                      <a:pt x="54235" y="24289"/>
                    </a:cubicBezTo>
                    <a:cubicBezTo>
                      <a:pt x="54235" y="24289"/>
                      <a:pt x="89382" y="24289"/>
                      <a:pt x="97574" y="24765"/>
                    </a:cubicBezTo>
                    <a:cubicBezTo>
                      <a:pt x="101574" y="25051"/>
                      <a:pt x="109765" y="24479"/>
                      <a:pt x="111671" y="27527"/>
                    </a:cubicBezTo>
                    <a:cubicBezTo>
                      <a:pt x="113004" y="29623"/>
                      <a:pt x="113671" y="32385"/>
                      <a:pt x="113671" y="32385"/>
                    </a:cubicBezTo>
                    <a:cubicBezTo>
                      <a:pt x="113671" y="34957"/>
                      <a:pt x="115766" y="37052"/>
                      <a:pt x="118338" y="37052"/>
                    </a:cubicBezTo>
                    <a:lnTo>
                      <a:pt x="130530" y="37052"/>
                    </a:lnTo>
                    <a:cubicBezTo>
                      <a:pt x="133102" y="37052"/>
                      <a:pt x="135197" y="34957"/>
                      <a:pt x="135197" y="32385"/>
                    </a:cubicBezTo>
                    <a:lnTo>
                      <a:pt x="135674" y="4667"/>
                    </a:lnTo>
                    <a:cubicBezTo>
                      <a:pt x="135674" y="2096"/>
                      <a:pt x="133578" y="0"/>
                      <a:pt x="131006" y="0"/>
                    </a:cubicBezTo>
                    <a:lnTo>
                      <a:pt x="64617" y="0"/>
                    </a:lnTo>
                    <a:lnTo>
                      <a:pt x="1657" y="0"/>
                    </a:lnTo>
                    <a:cubicBezTo>
                      <a:pt x="895" y="0"/>
                      <a:pt x="228" y="667"/>
                      <a:pt x="228" y="1429"/>
                    </a:cubicBezTo>
                    <a:lnTo>
                      <a:pt x="38" y="19907"/>
                    </a:lnTo>
                    <a:cubicBezTo>
                      <a:pt x="38" y="19907"/>
                      <a:pt x="-153" y="20765"/>
                      <a:pt x="323" y="21431"/>
                    </a:cubicBezTo>
                    <a:cubicBezTo>
                      <a:pt x="799"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228" y="149924"/>
                    </a:lnTo>
                    <a:cubicBezTo>
                      <a:pt x="228" y="150686"/>
                      <a:pt x="895" y="151352"/>
                      <a:pt x="1657" y="151352"/>
                    </a:cubicBezTo>
                    <a:lnTo>
                      <a:pt x="52044" y="151352"/>
                    </a:lnTo>
                    <a:cubicBezTo>
                      <a:pt x="52044" y="151352"/>
                      <a:pt x="52139" y="151352"/>
                      <a:pt x="52139" y="151352"/>
                    </a:cubicBezTo>
                    <a:lnTo>
                      <a:pt x="137198" y="151352"/>
                    </a:lnTo>
                    <a:cubicBezTo>
                      <a:pt x="139769" y="151352"/>
                      <a:pt x="141865" y="149257"/>
                      <a:pt x="141865" y="146685"/>
                    </a:cubicBezTo>
                    <a:lnTo>
                      <a:pt x="141198" y="108680"/>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7" name="Freeform 66">
                <a:extLst>
                  <a:ext uri="{FF2B5EF4-FFF2-40B4-BE49-F238E27FC236}">
                    <a16:creationId xmlns:a16="http://schemas.microsoft.com/office/drawing/2014/main" id="{15674728-42F0-FF4D-8A5E-3B018B2417F6}"/>
                  </a:ext>
                </a:extLst>
              </p:cNvPr>
              <p:cNvSpPr/>
              <p:nvPr/>
            </p:nvSpPr>
            <p:spPr>
              <a:xfrm>
                <a:off x="1293289" y="6441174"/>
                <a:ext cx="57404" cy="67002"/>
              </a:xfrm>
              <a:custGeom>
                <a:avLst/>
                <a:gdLst>
                  <a:gd name="connsiteX0" fmla="*/ 124815 w 129672"/>
                  <a:gd name="connsiteY0" fmla="*/ 0 h 151352"/>
                  <a:gd name="connsiteX1" fmla="*/ 64522 w 129672"/>
                  <a:gd name="connsiteY1" fmla="*/ 0 h 151352"/>
                  <a:gd name="connsiteX2" fmla="*/ 1562 w 129672"/>
                  <a:gd name="connsiteY2" fmla="*/ 0 h 151352"/>
                  <a:gd name="connsiteX3" fmla="*/ 133 w 129672"/>
                  <a:gd name="connsiteY3" fmla="*/ 1429 h 151352"/>
                  <a:gd name="connsiteX4" fmla="*/ 38 w 129672"/>
                  <a:gd name="connsiteY4" fmla="*/ 19907 h 151352"/>
                  <a:gd name="connsiteX5" fmla="*/ 323 w 129672"/>
                  <a:gd name="connsiteY5" fmla="*/ 21431 h 151352"/>
                  <a:gd name="connsiteX6" fmla="*/ 1752 w 129672"/>
                  <a:gd name="connsiteY6" fmla="*/ 22003 h 151352"/>
                  <a:gd name="connsiteX7" fmla="*/ 16421 w 129672"/>
                  <a:gd name="connsiteY7" fmla="*/ 30290 h 151352"/>
                  <a:gd name="connsiteX8" fmla="*/ 16421 w 129672"/>
                  <a:gd name="connsiteY8" fmla="*/ 121158 h 151352"/>
                  <a:gd name="connsiteX9" fmla="*/ 1752 w 129672"/>
                  <a:gd name="connsiteY9" fmla="*/ 129445 h 151352"/>
                  <a:gd name="connsiteX10" fmla="*/ 323 w 129672"/>
                  <a:gd name="connsiteY10" fmla="*/ 130016 h 151352"/>
                  <a:gd name="connsiteX11" fmla="*/ 38 w 129672"/>
                  <a:gd name="connsiteY11" fmla="*/ 131445 h 151352"/>
                  <a:gd name="connsiteX12" fmla="*/ 133 w 129672"/>
                  <a:gd name="connsiteY12" fmla="*/ 149924 h 151352"/>
                  <a:gd name="connsiteX13" fmla="*/ 1562 w 129672"/>
                  <a:gd name="connsiteY13" fmla="*/ 151352 h 151352"/>
                  <a:gd name="connsiteX14" fmla="*/ 51949 w 129672"/>
                  <a:gd name="connsiteY14" fmla="*/ 151352 h 151352"/>
                  <a:gd name="connsiteX15" fmla="*/ 52044 w 129672"/>
                  <a:gd name="connsiteY15" fmla="*/ 151352 h 151352"/>
                  <a:gd name="connsiteX16" fmla="*/ 52044 w 129672"/>
                  <a:gd name="connsiteY16" fmla="*/ 151352 h 151352"/>
                  <a:gd name="connsiteX17" fmla="*/ 64522 w 129672"/>
                  <a:gd name="connsiteY17" fmla="*/ 151352 h 151352"/>
                  <a:gd name="connsiteX18" fmla="*/ 65951 w 129672"/>
                  <a:gd name="connsiteY18" fmla="*/ 149924 h 151352"/>
                  <a:gd name="connsiteX19" fmla="*/ 66141 w 129672"/>
                  <a:gd name="connsiteY19" fmla="*/ 131445 h 151352"/>
                  <a:gd name="connsiteX20" fmla="*/ 65855 w 129672"/>
                  <a:gd name="connsiteY20" fmla="*/ 130016 h 151352"/>
                  <a:gd name="connsiteX21" fmla="*/ 64427 w 129672"/>
                  <a:gd name="connsiteY21" fmla="*/ 129445 h 151352"/>
                  <a:gd name="connsiteX22" fmla="*/ 52616 w 129672"/>
                  <a:gd name="connsiteY22" fmla="*/ 124968 h 151352"/>
                  <a:gd name="connsiteX23" fmla="*/ 51758 w 129672"/>
                  <a:gd name="connsiteY23" fmla="*/ 124301 h 151352"/>
                  <a:gd name="connsiteX24" fmla="*/ 51377 w 129672"/>
                  <a:gd name="connsiteY24" fmla="*/ 124016 h 151352"/>
                  <a:gd name="connsiteX25" fmla="*/ 50711 w 129672"/>
                  <a:gd name="connsiteY25" fmla="*/ 123254 h 151352"/>
                  <a:gd name="connsiteX26" fmla="*/ 50615 w 129672"/>
                  <a:gd name="connsiteY26" fmla="*/ 123158 h 151352"/>
                  <a:gd name="connsiteX27" fmla="*/ 50044 w 129672"/>
                  <a:gd name="connsiteY27" fmla="*/ 122206 h 151352"/>
                  <a:gd name="connsiteX28" fmla="*/ 49949 w 129672"/>
                  <a:gd name="connsiteY28" fmla="*/ 122015 h 151352"/>
                  <a:gd name="connsiteX29" fmla="*/ 49758 w 129672"/>
                  <a:gd name="connsiteY29" fmla="*/ 121063 h 151352"/>
                  <a:gd name="connsiteX30" fmla="*/ 49758 w 129672"/>
                  <a:gd name="connsiteY30" fmla="*/ 82010 h 151352"/>
                  <a:gd name="connsiteX31" fmla="*/ 91478 w 129672"/>
                  <a:gd name="connsiteY31" fmla="*/ 82010 h 151352"/>
                  <a:gd name="connsiteX32" fmla="*/ 98050 w 129672"/>
                  <a:gd name="connsiteY32" fmla="*/ 90583 h 151352"/>
                  <a:gd name="connsiteX33" fmla="*/ 98526 w 129672"/>
                  <a:gd name="connsiteY33" fmla="*/ 91726 h 151352"/>
                  <a:gd name="connsiteX34" fmla="*/ 99669 w 129672"/>
                  <a:gd name="connsiteY34" fmla="*/ 91916 h 151352"/>
                  <a:gd name="connsiteX35" fmla="*/ 114338 w 129672"/>
                  <a:gd name="connsiteY35" fmla="*/ 91821 h 151352"/>
                  <a:gd name="connsiteX36" fmla="*/ 115481 w 129672"/>
                  <a:gd name="connsiteY36" fmla="*/ 90678 h 151352"/>
                  <a:gd name="connsiteX37" fmla="*/ 115481 w 129672"/>
                  <a:gd name="connsiteY37" fmla="*/ 60388 h 151352"/>
                  <a:gd name="connsiteX38" fmla="*/ 115481 w 129672"/>
                  <a:gd name="connsiteY38" fmla="*/ 48863 h 151352"/>
                  <a:gd name="connsiteX39" fmla="*/ 114338 w 129672"/>
                  <a:gd name="connsiteY39" fmla="*/ 47720 h 151352"/>
                  <a:gd name="connsiteX40" fmla="*/ 99669 w 129672"/>
                  <a:gd name="connsiteY40" fmla="*/ 47625 h 151352"/>
                  <a:gd name="connsiteX41" fmla="*/ 98526 w 129672"/>
                  <a:gd name="connsiteY41" fmla="*/ 47816 h 151352"/>
                  <a:gd name="connsiteX42" fmla="*/ 98050 w 129672"/>
                  <a:gd name="connsiteY42" fmla="*/ 48958 h 151352"/>
                  <a:gd name="connsiteX43" fmla="*/ 91478 w 129672"/>
                  <a:gd name="connsiteY43" fmla="*/ 57531 h 151352"/>
                  <a:gd name="connsiteX44" fmla="*/ 49758 w 129672"/>
                  <a:gd name="connsiteY44" fmla="*/ 57531 h 151352"/>
                  <a:gd name="connsiteX45" fmla="*/ 49758 w 129672"/>
                  <a:gd name="connsiteY45" fmla="*/ 30099 h 151352"/>
                  <a:gd name="connsiteX46" fmla="*/ 50044 w 129672"/>
                  <a:gd name="connsiteY46" fmla="*/ 25432 h 151352"/>
                  <a:gd name="connsiteX47" fmla="*/ 54330 w 129672"/>
                  <a:gd name="connsiteY47" fmla="*/ 24194 h 151352"/>
                  <a:gd name="connsiteX48" fmla="*/ 91573 w 129672"/>
                  <a:gd name="connsiteY48" fmla="*/ 24670 h 151352"/>
                  <a:gd name="connsiteX49" fmla="*/ 105670 w 129672"/>
                  <a:gd name="connsiteY49" fmla="*/ 27432 h 151352"/>
                  <a:gd name="connsiteX50" fmla="*/ 107670 w 129672"/>
                  <a:gd name="connsiteY50" fmla="*/ 32290 h 151352"/>
                  <a:gd name="connsiteX51" fmla="*/ 112337 w 129672"/>
                  <a:gd name="connsiteY51" fmla="*/ 36957 h 151352"/>
                  <a:gd name="connsiteX52" fmla="*/ 124529 w 129672"/>
                  <a:gd name="connsiteY52" fmla="*/ 36957 h 151352"/>
                  <a:gd name="connsiteX53" fmla="*/ 129197 w 129672"/>
                  <a:gd name="connsiteY53" fmla="*/ 32290 h 151352"/>
                  <a:gd name="connsiteX54" fmla="*/ 129673 w 129672"/>
                  <a:gd name="connsiteY54" fmla="*/ 4572 h 151352"/>
                  <a:gd name="connsiteX55" fmla="*/ 124815 w 129672"/>
                  <a:gd name="connsiteY55" fmla="*/ 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672" h="151352">
                    <a:moveTo>
                      <a:pt x="124815" y="0"/>
                    </a:moveTo>
                    <a:lnTo>
                      <a:pt x="64522" y="0"/>
                    </a:lnTo>
                    <a:lnTo>
                      <a:pt x="1562" y="0"/>
                    </a:lnTo>
                    <a:cubicBezTo>
                      <a:pt x="800" y="0"/>
                      <a:pt x="133" y="667"/>
                      <a:pt x="133" y="1429"/>
                    </a:cubicBezTo>
                    <a:lnTo>
                      <a:pt x="38" y="19907"/>
                    </a:lnTo>
                    <a:cubicBezTo>
                      <a:pt x="38" y="19907"/>
                      <a:pt x="-153" y="20765"/>
                      <a:pt x="323" y="21431"/>
                    </a:cubicBezTo>
                    <a:cubicBezTo>
                      <a:pt x="800"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133" y="149924"/>
                    </a:lnTo>
                    <a:cubicBezTo>
                      <a:pt x="133" y="150686"/>
                      <a:pt x="800" y="151352"/>
                      <a:pt x="1562" y="151352"/>
                    </a:cubicBezTo>
                    <a:lnTo>
                      <a:pt x="51949" y="151352"/>
                    </a:lnTo>
                    <a:cubicBezTo>
                      <a:pt x="51949" y="151352"/>
                      <a:pt x="52044" y="151352"/>
                      <a:pt x="52044" y="151352"/>
                    </a:cubicBezTo>
                    <a:lnTo>
                      <a:pt x="52044" y="151352"/>
                    </a:lnTo>
                    <a:lnTo>
                      <a:pt x="64522" y="151352"/>
                    </a:lnTo>
                    <a:cubicBezTo>
                      <a:pt x="65284" y="151352"/>
                      <a:pt x="65951" y="150686"/>
                      <a:pt x="65951" y="149924"/>
                    </a:cubicBezTo>
                    <a:lnTo>
                      <a:pt x="66141" y="131445"/>
                    </a:lnTo>
                    <a:cubicBezTo>
                      <a:pt x="66046" y="131445"/>
                      <a:pt x="66332" y="130588"/>
                      <a:pt x="65855" y="130016"/>
                    </a:cubicBezTo>
                    <a:cubicBezTo>
                      <a:pt x="65379" y="129350"/>
                      <a:pt x="64427" y="129445"/>
                      <a:pt x="64427" y="129445"/>
                    </a:cubicBezTo>
                    <a:cubicBezTo>
                      <a:pt x="60426" y="128778"/>
                      <a:pt x="55569" y="127063"/>
                      <a:pt x="52616" y="124968"/>
                    </a:cubicBezTo>
                    <a:cubicBezTo>
                      <a:pt x="52330" y="124778"/>
                      <a:pt x="52044" y="124492"/>
                      <a:pt x="51758" y="124301"/>
                    </a:cubicBezTo>
                    <a:cubicBezTo>
                      <a:pt x="51663" y="124206"/>
                      <a:pt x="51568" y="124111"/>
                      <a:pt x="51377" y="124016"/>
                    </a:cubicBezTo>
                    <a:cubicBezTo>
                      <a:pt x="51092" y="123730"/>
                      <a:pt x="50901" y="123539"/>
                      <a:pt x="50711" y="123254"/>
                    </a:cubicBezTo>
                    <a:cubicBezTo>
                      <a:pt x="50711" y="123254"/>
                      <a:pt x="50615" y="123158"/>
                      <a:pt x="50615" y="123158"/>
                    </a:cubicBezTo>
                    <a:cubicBezTo>
                      <a:pt x="50330" y="122873"/>
                      <a:pt x="50235" y="122587"/>
                      <a:pt x="50044" y="122206"/>
                    </a:cubicBezTo>
                    <a:cubicBezTo>
                      <a:pt x="50044" y="122111"/>
                      <a:pt x="50044" y="122111"/>
                      <a:pt x="49949" y="122015"/>
                    </a:cubicBezTo>
                    <a:cubicBezTo>
                      <a:pt x="49853" y="121729"/>
                      <a:pt x="49758" y="121349"/>
                      <a:pt x="49758" y="121063"/>
                    </a:cubicBezTo>
                    <a:lnTo>
                      <a:pt x="49758" y="82010"/>
                    </a:lnTo>
                    <a:lnTo>
                      <a:pt x="91478" y="82010"/>
                    </a:lnTo>
                    <a:cubicBezTo>
                      <a:pt x="94335" y="82010"/>
                      <a:pt x="97193" y="85534"/>
                      <a:pt x="98050" y="90583"/>
                    </a:cubicBezTo>
                    <a:cubicBezTo>
                      <a:pt x="98050" y="90583"/>
                      <a:pt x="98050" y="91440"/>
                      <a:pt x="98526" y="91726"/>
                    </a:cubicBezTo>
                    <a:cubicBezTo>
                      <a:pt x="99002" y="92107"/>
                      <a:pt x="99669" y="91916"/>
                      <a:pt x="99669" y="91916"/>
                    </a:cubicBezTo>
                    <a:lnTo>
                      <a:pt x="114338" y="91821"/>
                    </a:lnTo>
                    <a:cubicBezTo>
                      <a:pt x="114909" y="91821"/>
                      <a:pt x="115481" y="91345"/>
                      <a:pt x="115481" y="90678"/>
                    </a:cubicBezTo>
                    <a:lnTo>
                      <a:pt x="115481" y="60388"/>
                    </a:lnTo>
                    <a:lnTo>
                      <a:pt x="115481" y="48863"/>
                    </a:lnTo>
                    <a:cubicBezTo>
                      <a:pt x="115481" y="48292"/>
                      <a:pt x="115004" y="47720"/>
                      <a:pt x="114338" y="47720"/>
                    </a:cubicBezTo>
                    <a:lnTo>
                      <a:pt x="99669" y="47625"/>
                    </a:lnTo>
                    <a:cubicBezTo>
                      <a:pt x="99669" y="47625"/>
                      <a:pt x="99002" y="47530"/>
                      <a:pt x="98526" y="47816"/>
                    </a:cubicBezTo>
                    <a:cubicBezTo>
                      <a:pt x="98050" y="48196"/>
                      <a:pt x="98050" y="48958"/>
                      <a:pt x="98050" y="48958"/>
                    </a:cubicBezTo>
                    <a:cubicBezTo>
                      <a:pt x="97193" y="54007"/>
                      <a:pt x="94335" y="57531"/>
                      <a:pt x="91478" y="57531"/>
                    </a:cubicBezTo>
                    <a:lnTo>
                      <a:pt x="49758" y="57531"/>
                    </a:lnTo>
                    <a:lnTo>
                      <a:pt x="49758" y="30099"/>
                    </a:lnTo>
                    <a:lnTo>
                      <a:pt x="50044" y="25432"/>
                    </a:lnTo>
                    <a:cubicBezTo>
                      <a:pt x="51282" y="23432"/>
                      <a:pt x="54330" y="24194"/>
                      <a:pt x="54330" y="24194"/>
                    </a:cubicBezTo>
                    <a:cubicBezTo>
                      <a:pt x="54330" y="24194"/>
                      <a:pt x="83381" y="24194"/>
                      <a:pt x="91573" y="24670"/>
                    </a:cubicBezTo>
                    <a:cubicBezTo>
                      <a:pt x="95573" y="24956"/>
                      <a:pt x="103765" y="24384"/>
                      <a:pt x="105670" y="27432"/>
                    </a:cubicBezTo>
                    <a:cubicBezTo>
                      <a:pt x="107003" y="29528"/>
                      <a:pt x="107670" y="32290"/>
                      <a:pt x="107670" y="32290"/>
                    </a:cubicBezTo>
                    <a:cubicBezTo>
                      <a:pt x="107670" y="34862"/>
                      <a:pt x="109766" y="36957"/>
                      <a:pt x="112337" y="36957"/>
                    </a:cubicBezTo>
                    <a:lnTo>
                      <a:pt x="124529" y="36957"/>
                    </a:lnTo>
                    <a:cubicBezTo>
                      <a:pt x="127101" y="36957"/>
                      <a:pt x="129197" y="34862"/>
                      <a:pt x="129197" y="32290"/>
                    </a:cubicBezTo>
                    <a:lnTo>
                      <a:pt x="129673" y="4572"/>
                    </a:lnTo>
                    <a:cubicBezTo>
                      <a:pt x="129482" y="2096"/>
                      <a:pt x="127387" y="0"/>
                      <a:pt x="124815" y="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8" name="Freeform 67">
                <a:extLst>
                  <a:ext uri="{FF2B5EF4-FFF2-40B4-BE49-F238E27FC236}">
                    <a16:creationId xmlns:a16="http://schemas.microsoft.com/office/drawing/2014/main" id="{8BAEA12B-1217-6E47-B1BF-E66ACC60D1C3}"/>
                  </a:ext>
                </a:extLst>
              </p:cNvPr>
              <p:cNvSpPr/>
              <p:nvPr/>
            </p:nvSpPr>
            <p:spPr>
              <a:xfrm>
                <a:off x="1398215" y="6441301"/>
                <a:ext cx="1771" cy="1602"/>
              </a:xfrm>
              <a:custGeom>
                <a:avLst/>
                <a:gdLst>
                  <a:gd name="connsiteX0" fmla="*/ 4001 w 4000"/>
                  <a:gd name="connsiteY0" fmla="*/ 0 h 3619"/>
                  <a:gd name="connsiteX1" fmla="*/ 1524 w 4000"/>
                  <a:gd name="connsiteY1" fmla="*/ 762 h 3619"/>
                  <a:gd name="connsiteX2" fmla="*/ 0 w 4000"/>
                  <a:gd name="connsiteY2" fmla="*/ 3620 h 3619"/>
                </a:gdLst>
                <a:ahLst/>
                <a:cxnLst>
                  <a:cxn ang="0">
                    <a:pos x="connsiteX0" y="connsiteY0"/>
                  </a:cxn>
                  <a:cxn ang="0">
                    <a:pos x="connsiteX1" y="connsiteY1"/>
                  </a:cxn>
                  <a:cxn ang="0">
                    <a:pos x="connsiteX2" y="connsiteY2"/>
                  </a:cxn>
                </a:cxnLst>
                <a:rect l="l" t="t" r="r" b="b"/>
                <a:pathLst>
                  <a:path w="4000" h="3619">
                    <a:moveTo>
                      <a:pt x="4001" y="0"/>
                    </a:moveTo>
                    <a:cubicBezTo>
                      <a:pt x="4001" y="0"/>
                      <a:pt x="2286" y="0"/>
                      <a:pt x="1524" y="762"/>
                    </a:cubicBezTo>
                    <a:cubicBezTo>
                      <a:pt x="762" y="1524"/>
                      <a:pt x="0" y="3620"/>
                      <a:pt x="0" y="3620"/>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69" name="Freeform 68">
                <a:extLst>
                  <a:ext uri="{FF2B5EF4-FFF2-40B4-BE49-F238E27FC236}">
                    <a16:creationId xmlns:a16="http://schemas.microsoft.com/office/drawing/2014/main" id="{E7483779-4331-304F-9D81-3B7315593C67}"/>
                  </a:ext>
                </a:extLst>
              </p:cNvPr>
              <p:cNvSpPr/>
              <p:nvPr/>
            </p:nvSpPr>
            <p:spPr>
              <a:xfrm>
                <a:off x="1370411" y="6441185"/>
                <a:ext cx="156916" cy="66991"/>
              </a:xfrm>
              <a:custGeom>
                <a:avLst/>
                <a:gdLst>
                  <a:gd name="connsiteX0" fmla="*/ 353510 w 354462"/>
                  <a:gd name="connsiteY0" fmla="*/ 131420 h 151327"/>
                  <a:gd name="connsiteX1" fmla="*/ 353224 w 354462"/>
                  <a:gd name="connsiteY1" fmla="*/ 129991 h 151327"/>
                  <a:gd name="connsiteX2" fmla="*/ 351796 w 354462"/>
                  <a:gd name="connsiteY2" fmla="*/ 129420 h 151327"/>
                  <a:gd name="connsiteX3" fmla="*/ 337127 w 354462"/>
                  <a:gd name="connsiteY3" fmla="*/ 121133 h 151327"/>
                  <a:gd name="connsiteX4" fmla="*/ 318363 w 354462"/>
                  <a:gd name="connsiteY4" fmla="*/ 30360 h 151327"/>
                  <a:gd name="connsiteX5" fmla="*/ 328269 w 354462"/>
                  <a:gd name="connsiteY5" fmla="*/ 22073 h 151327"/>
                  <a:gd name="connsiteX6" fmla="*/ 329698 w 354462"/>
                  <a:gd name="connsiteY6" fmla="*/ 21502 h 151327"/>
                  <a:gd name="connsiteX7" fmla="*/ 329983 w 354462"/>
                  <a:gd name="connsiteY7" fmla="*/ 20073 h 151327"/>
                  <a:gd name="connsiteX8" fmla="*/ 329793 w 354462"/>
                  <a:gd name="connsiteY8" fmla="*/ 1594 h 151327"/>
                  <a:gd name="connsiteX9" fmla="*/ 328364 w 354462"/>
                  <a:gd name="connsiteY9" fmla="*/ 166 h 151327"/>
                  <a:gd name="connsiteX10" fmla="*/ 281501 w 354462"/>
                  <a:gd name="connsiteY10" fmla="*/ 166 h 151327"/>
                  <a:gd name="connsiteX11" fmla="*/ 274929 w 354462"/>
                  <a:gd name="connsiteY11" fmla="*/ 642 h 151327"/>
                  <a:gd name="connsiteX12" fmla="*/ 271881 w 354462"/>
                  <a:gd name="connsiteY12" fmla="*/ 5690 h 151327"/>
                  <a:gd name="connsiteX13" fmla="*/ 261689 w 354462"/>
                  <a:gd name="connsiteY13" fmla="*/ 37218 h 151327"/>
                  <a:gd name="connsiteX14" fmla="*/ 254069 w 354462"/>
                  <a:gd name="connsiteY14" fmla="*/ 57601 h 151327"/>
                  <a:gd name="connsiteX15" fmla="*/ 247402 w 354462"/>
                  <a:gd name="connsiteY15" fmla="*/ 38266 h 151327"/>
                  <a:gd name="connsiteX16" fmla="*/ 237210 w 354462"/>
                  <a:gd name="connsiteY16" fmla="*/ 8262 h 151327"/>
                  <a:gd name="connsiteX17" fmla="*/ 233114 w 354462"/>
                  <a:gd name="connsiteY17" fmla="*/ 1118 h 151327"/>
                  <a:gd name="connsiteX18" fmla="*/ 225494 w 354462"/>
                  <a:gd name="connsiteY18" fmla="*/ 70 h 151327"/>
                  <a:gd name="connsiteX19" fmla="*/ 178727 w 354462"/>
                  <a:gd name="connsiteY19" fmla="*/ 70 h 151327"/>
                  <a:gd name="connsiteX20" fmla="*/ 177298 w 354462"/>
                  <a:gd name="connsiteY20" fmla="*/ 1499 h 151327"/>
                  <a:gd name="connsiteX21" fmla="*/ 177107 w 354462"/>
                  <a:gd name="connsiteY21" fmla="*/ 19978 h 151327"/>
                  <a:gd name="connsiteX22" fmla="*/ 177393 w 354462"/>
                  <a:gd name="connsiteY22" fmla="*/ 21406 h 151327"/>
                  <a:gd name="connsiteX23" fmla="*/ 178917 w 354462"/>
                  <a:gd name="connsiteY23" fmla="*/ 21978 h 151327"/>
                  <a:gd name="connsiteX24" fmla="*/ 188823 w 354462"/>
                  <a:gd name="connsiteY24" fmla="*/ 30265 h 151327"/>
                  <a:gd name="connsiteX25" fmla="*/ 170059 w 354462"/>
                  <a:gd name="connsiteY25" fmla="*/ 121038 h 151327"/>
                  <a:gd name="connsiteX26" fmla="*/ 164439 w 354462"/>
                  <a:gd name="connsiteY26" fmla="*/ 126467 h 151327"/>
                  <a:gd name="connsiteX27" fmla="*/ 158819 w 354462"/>
                  <a:gd name="connsiteY27" fmla="*/ 121038 h 151327"/>
                  <a:gd name="connsiteX28" fmla="*/ 112432 w 354462"/>
                  <a:gd name="connsiteY28" fmla="*/ 3880 h 151327"/>
                  <a:gd name="connsiteX29" fmla="*/ 110908 w 354462"/>
                  <a:gd name="connsiteY29" fmla="*/ 1023 h 151327"/>
                  <a:gd name="connsiteX30" fmla="*/ 108623 w 354462"/>
                  <a:gd name="connsiteY30" fmla="*/ 261 h 151327"/>
                  <a:gd name="connsiteX31" fmla="*/ 66808 w 354462"/>
                  <a:gd name="connsiteY31" fmla="*/ 261 h 151327"/>
                  <a:gd name="connsiteX32" fmla="*/ 64331 w 354462"/>
                  <a:gd name="connsiteY32" fmla="*/ 1023 h 151327"/>
                  <a:gd name="connsiteX33" fmla="*/ 62807 w 354462"/>
                  <a:gd name="connsiteY33" fmla="*/ 3880 h 151327"/>
                  <a:gd name="connsiteX34" fmla="*/ 16421 w 354462"/>
                  <a:gd name="connsiteY34" fmla="*/ 121038 h 151327"/>
                  <a:gd name="connsiteX35" fmla="*/ 1752 w 354462"/>
                  <a:gd name="connsiteY35" fmla="*/ 129325 h 151327"/>
                  <a:gd name="connsiteX36" fmla="*/ 323 w 354462"/>
                  <a:gd name="connsiteY36" fmla="*/ 129896 h 151327"/>
                  <a:gd name="connsiteX37" fmla="*/ 38 w 354462"/>
                  <a:gd name="connsiteY37" fmla="*/ 131325 h 151327"/>
                  <a:gd name="connsiteX38" fmla="*/ 228 w 354462"/>
                  <a:gd name="connsiteY38" fmla="*/ 149803 h 151327"/>
                  <a:gd name="connsiteX39" fmla="*/ 1657 w 354462"/>
                  <a:gd name="connsiteY39" fmla="*/ 151232 h 151327"/>
                  <a:gd name="connsiteX40" fmla="*/ 61569 w 354462"/>
                  <a:gd name="connsiteY40" fmla="*/ 151232 h 151327"/>
                  <a:gd name="connsiteX41" fmla="*/ 62998 w 354462"/>
                  <a:gd name="connsiteY41" fmla="*/ 149803 h 151327"/>
                  <a:gd name="connsiteX42" fmla="*/ 63188 w 354462"/>
                  <a:gd name="connsiteY42" fmla="*/ 131325 h 151327"/>
                  <a:gd name="connsiteX43" fmla="*/ 62903 w 354462"/>
                  <a:gd name="connsiteY43" fmla="*/ 129896 h 151327"/>
                  <a:gd name="connsiteX44" fmla="*/ 61474 w 354462"/>
                  <a:gd name="connsiteY44" fmla="*/ 129325 h 151327"/>
                  <a:gd name="connsiteX45" fmla="*/ 49853 w 354462"/>
                  <a:gd name="connsiteY45" fmla="*/ 121038 h 151327"/>
                  <a:gd name="connsiteX46" fmla="*/ 59283 w 354462"/>
                  <a:gd name="connsiteY46" fmla="*/ 97321 h 151327"/>
                  <a:gd name="connsiteX47" fmla="*/ 107575 w 354462"/>
                  <a:gd name="connsiteY47" fmla="*/ 97321 h 151327"/>
                  <a:gd name="connsiteX48" fmla="*/ 116814 w 354462"/>
                  <a:gd name="connsiteY48" fmla="*/ 121038 h 151327"/>
                  <a:gd name="connsiteX49" fmla="*/ 108241 w 354462"/>
                  <a:gd name="connsiteY49" fmla="*/ 129325 h 151327"/>
                  <a:gd name="connsiteX50" fmla="*/ 106813 w 354462"/>
                  <a:gd name="connsiteY50" fmla="*/ 129896 h 151327"/>
                  <a:gd name="connsiteX51" fmla="*/ 106527 w 354462"/>
                  <a:gd name="connsiteY51" fmla="*/ 131325 h 151327"/>
                  <a:gd name="connsiteX52" fmla="*/ 106432 w 354462"/>
                  <a:gd name="connsiteY52" fmla="*/ 149803 h 151327"/>
                  <a:gd name="connsiteX53" fmla="*/ 107861 w 354462"/>
                  <a:gd name="connsiteY53" fmla="*/ 151232 h 151327"/>
                  <a:gd name="connsiteX54" fmla="*/ 211874 w 354462"/>
                  <a:gd name="connsiteY54" fmla="*/ 151232 h 151327"/>
                  <a:gd name="connsiteX55" fmla="*/ 213302 w 354462"/>
                  <a:gd name="connsiteY55" fmla="*/ 149803 h 151327"/>
                  <a:gd name="connsiteX56" fmla="*/ 213302 w 354462"/>
                  <a:gd name="connsiteY56" fmla="*/ 131325 h 151327"/>
                  <a:gd name="connsiteX57" fmla="*/ 213016 w 354462"/>
                  <a:gd name="connsiteY57" fmla="*/ 129896 h 151327"/>
                  <a:gd name="connsiteX58" fmla="*/ 211588 w 354462"/>
                  <a:gd name="connsiteY58" fmla="*/ 129325 h 151327"/>
                  <a:gd name="connsiteX59" fmla="*/ 203777 w 354462"/>
                  <a:gd name="connsiteY59" fmla="*/ 121038 h 151327"/>
                  <a:gd name="connsiteX60" fmla="*/ 212350 w 354462"/>
                  <a:gd name="connsiteY60" fmla="*/ 57125 h 151327"/>
                  <a:gd name="connsiteX61" fmla="*/ 213874 w 354462"/>
                  <a:gd name="connsiteY61" fmla="*/ 51029 h 151327"/>
                  <a:gd name="connsiteX62" fmla="*/ 217970 w 354462"/>
                  <a:gd name="connsiteY62" fmla="*/ 60745 h 151327"/>
                  <a:gd name="connsiteX63" fmla="*/ 230733 w 354462"/>
                  <a:gd name="connsiteY63" fmla="*/ 106084 h 151327"/>
                  <a:gd name="connsiteX64" fmla="*/ 234257 w 354462"/>
                  <a:gd name="connsiteY64" fmla="*/ 112180 h 151327"/>
                  <a:gd name="connsiteX65" fmla="*/ 241401 w 354462"/>
                  <a:gd name="connsiteY65" fmla="*/ 115704 h 151327"/>
                  <a:gd name="connsiteX66" fmla="*/ 252069 w 354462"/>
                  <a:gd name="connsiteY66" fmla="*/ 115704 h 151327"/>
                  <a:gd name="connsiteX67" fmla="*/ 260737 w 354462"/>
                  <a:gd name="connsiteY67" fmla="*/ 115704 h 151327"/>
                  <a:gd name="connsiteX68" fmla="*/ 265309 w 354462"/>
                  <a:gd name="connsiteY68" fmla="*/ 113704 h 151327"/>
                  <a:gd name="connsiteX69" fmla="*/ 270357 w 354462"/>
                  <a:gd name="connsiteY69" fmla="*/ 104560 h 151327"/>
                  <a:gd name="connsiteX70" fmla="*/ 284645 w 354462"/>
                  <a:gd name="connsiteY70" fmla="*/ 55220 h 151327"/>
                  <a:gd name="connsiteX71" fmla="*/ 287216 w 354462"/>
                  <a:gd name="connsiteY71" fmla="*/ 50648 h 151327"/>
                  <a:gd name="connsiteX72" fmla="*/ 289693 w 354462"/>
                  <a:gd name="connsiteY72" fmla="*/ 57220 h 151327"/>
                  <a:gd name="connsiteX73" fmla="*/ 298265 w 354462"/>
                  <a:gd name="connsiteY73" fmla="*/ 121133 h 151327"/>
                  <a:gd name="connsiteX74" fmla="*/ 290455 w 354462"/>
                  <a:gd name="connsiteY74" fmla="*/ 129420 h 151327"/>
                  <a:gd name="connsiteX75" fmla="*/ 289026 w 354462"/>
                  <a:gd name="connsiteY75" fmla="*/ 129991 h 151327"/>
                  <a:gd name="connsiteX76" fmla="*/ 288740 w 354462"/>
                  <a:gd name="connsiteY76" fmla="*/ 131420 h 151327"/>
                  <a:gd name="connsiteX77" fmla="*/ 288359 w 354462"/>
                  <a:gd name="connsiteY77" fmla="*/ 149899 h 151327"/>
                  <a:gd name="connsiteX78" fmla="*/ 289788 w 354462"/>
                  <a:gd name="connsiteY78" fmla="*/ 151327 h 151327"/>
                  <a:gd name="connsiteX79" fmla="*/ 353034 w 354462"/>
                  <a:gd name="connsiteY79" fmla="*/ 151327 h 151327"/>
                  <a:gd name="connsiteX80" fmla="*/ 354463 w 354462"/>
                  <a:gd name="connsiteY80" fmla="*/ 149899 h 151327"/>
                  <a:gd name="connsiteX81" fmla="*/ 353510 w 354462"/>
                  <a:gd name="connsiteY81" fmla="*/ 131420 h 151327"/>
                  <a:gd name="connsiteX82" fmla="*/ 96621 w 354462"/>
                  <a:gd name="connsiteY82" fmla="*/ 71317 h 151327"/>
                  <a:gd name="connsiteX83" fmla="*/ 94145 w 354462"/>
                  <a:gd name="connsiteY83" fmla="*/ 71889 h 151327"/>
                  <a:gd name="connsiteX84" fmla="*/ 72047 w 354462"/>
                  <a:gd name="connsiteY84" fmla="*/ 71889 h 151327"/>
                  <a:gd name="connsiteX85" fmla="*/ 69761 w 354462"/>
                  <a:gd name="connsiteY85" fmla="*/ 71508 h 151327"/>
                  <a:gd name="connsiteX86" fmla="*/ 70332 w 354462"/>
                  <a:gd name="connsiteY86" fmla="*/ 69031 h 151327"/>
                  <a:gd name="connsiteX87" fmla="*/ 83286 w 354462"/>
                  <a:gd name="connsiteY87" fmla="*/ 35027 h 151327"/>
                  <a:gd name="connsiteX88" fmla="*/ 95859 w 354462"/>
                  <a:gd name="connsiteY88" fmla="*/ 68079 h 151327"/>
                  <a:gd name="connsiteX89" fmla="*/ 96621 w 354462"/>
                  <a:gd name="connsiteY89" fmla="*/ 71317 h 1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4462" h="151327">
                    <a:moveTo>
                      <a:pt x="353510" y="131420"/>
                    </a:moveTo>
                    <a:cubicBezTo>
                      <a:pt x="353415" y="131420"/>
                      <a:pt x="353606" y="130563"/>
                      <a:pt x="353224" y="129991"/>
                    </a:cubicBezTo>
                    <a:cubicBezTo>
                      <a:pt x="352748" y="129325"/>
                      <a:pt x="351796" y="129420"/>
                      <a:pt x="351796" y="129420"/>
                    </a:cubicBezTo>
                    <a:cubicBezTo>
                      <a:pt x="345414" y="128372"/>
                      <a:pt x="337127" y="124753"/>
                      <a:pt x="337127" y="121133"/>
                    </a:cubicBezTo>
                    <a:lnTo>
                      <a:pt x="318363" y="30360"/>
                    </a:lnTo>
                    <a:cubicBezTo>
                      <a:pt x="318363" y="26740"/>
                      <a:pt x="321887" y="23121"/>
                      <a:pt x="328269" y="22073"/>
                    </a:cubicBezTo>
                    <a:cubicBezTo>
                      <a:pt x="328269" y="22073"/>
                      <a:pt x="329317" y="22073"/>
                      <a:pt x="329698" y="21502"/>
                    </a:cubicBezTo>
                    <a:cubicBezTo>
                      <a:pt x="330174" y="20835"/>
                      <a:pt x="329983" y="20073"/>
                      <a:pt x="329983" y="20073"/>
                    </a:cubicBezTo>
                    <a:lnTo>
                      <a:pt x="329793" y="1594"/>
                    </a:lnTo>
                    <a:cubicBezTo>
                      <a:pt x="329793" y="832"/>
                      <a:pt x="329126" y="166"/>
                      <a:pt x="328364" y="166"/>
                    </a:cubicBezTo>
                    <a:lnTo>
                      <a:pt x="281501" y="166"/>
                    </a:lnTo>
                    <a:cubicBezTo>
                      <a:pt x="281501" y="166"/>
                      <a:pt x="276453" y="-311"/>
                      <a:pt x="274929" y="642"/>
                    </a:cubicBezTo>
                    <a:cubicBezTo>
                      <a:pt x="273405" y="1690"/>
                      <a:pt x="271881" y="5690"/>
                      <a:pt x="271881" y="5690"/>
                    </a:cubicBezTo>
                    <a:lnTo>
                      <a:pt x="261689" y="37218"/>
                    </a:lnTo>
                    <a:cubicBezTo>
                      <a:pt x="261689" y="37218"/>
                      <a:pt x="255593" y="57601"/>
                      <a:pt x="254069" y="57601"/>
                    </a:cubicBezTo>
                    <a:cubicBezTo>
                      <a:pt x="252545" y="57601"/>
                      <a:pt x="247402" y="38266"/>
                      <a:pt x="247402" y="38266"/>
                    </a:cubicBezTo>
                    <a:lnTo>
                      <a:pt x="237210" y="8262"/>
                    </a:lnTo>
                    <a:cubicBezTo>
                      <a:pt x="237210" y="8262"/>
                      <a:pt x="235210" y="2642"/>
                      <a:pt x="233114" y="1118"/>
                    </a:cubicBezTo>
                    <a:cubicBezTo>
                      <a:pt x="231114" y="-406"/>
                      <a:pt x="225494" y="70"/>
                      <a:pt x="225494" y="70"/>
                    </a:cubicBezTo>
                    <a:lnTo>
                      <a:pt x="178727" y="70"/>
                    </a:lnTo>
                    <a:cubicBezTo>
                      <a:pt x="177965" y="70"/>
                      <a:pt x="177298" y="737"/>
                      <a:pt x="177298" y="1499"/>
                    </a:cubicBezTo>
                    <a:lnTo>
                      <a:pt x="177107" y="19978"/>
                    </a:lnTo>
                    <a:cubicBezTo>
                      <a:pt x="177107" y="19978"/>
                      <a:pt x="176917" y="20835"/>
                      <a:pt x="177393" y="21406"/>
                    </a:cubicBezTo>
                    <a:cubicBezTo>
                      <a:pt x="177869" y="22073"/>
                      <a:pt x="178917" y="21978"/>
                      <a:pt x="178917" y="21978"/>
                    </a:cubicBezTo>
                    <a:cubicBezTo>
                      <a:pt x="185299" y="23026"/>
                      <a:pt x="188823" y="26645"/>
                      <a:pt x="188823" y="30265"/>
                    </a:cubicBezTo>
                    <a:lnTo>
                      <a:pt x="170059" y="121038"/>
                    </a:lnTo>
                    <a:cubicBezTo>
                      <a:pt x="169297" y="124753"/>
                      <a:pt x="167773" y="126467"/>
                      <a:pt x="164439" y="126467"/>
                    </a:cubicBezTo>
                    <a:cubicBezTo>
                      <a:pt x="161677" y="126467"/>
                      <a:pt x="160724" y="124943"/>
                      <a:pt x="158819" y="121038"/>
                    </a:cubicBezTo>
                    <a:lnTo>
                      <a:pt x="112432" y="3880"/>
                    </a:lnTo>
                    <a:cubicBezTo>
                      <a:pt x="112432" y="3880"/>
                      <a:pt x="111671" y="1785"/>
                      <a:pt x="110908" y="1023"/>
                    </a:cubicBezTo>
                    <a:cubicBezTo>
                      <a:pt x="110147" y="261"/>
                      <a:pt x="108623" y="261"/>
                      <a:pt x="108623" y="261"/>
                    </a:cubicBezTo>
                    <a:lnTo>
                      <a:pt x="66808" y="261"/>
                    </a:lnTo>
                    <a:cubicBezTo>
                      <a:pt x="66808" y="261"/>
                      <a:pt x="65093" y="261"/>
                      <a:pt x="64331" y="1023"/>
                    </a:cubicBezTo>
                    <a:cubicBezTo>
                      <a:pt x="63569" y="1785"/>
                      <a:pt x="62807" y="3880"/>
                      <a:pt x="62807" y="3880"/>
                    </a:cubicBezTo>
                    <a:lnTo>
                      <a:pt x="16421" y="121038"/>
                    </a:lnTo>
                    <a:cubicBezTo>
                      <a:pt x="16421" y="124657"/>
                      <a:pt x="8134" y="128277"/>
                      <a:pt x="1752" y="129325"/>
                    </a:cubicBezTo>
                    <a:cubicBezTo>
                      <a:pt x="1752" y="129325"/>
                      <a:pt x="704" y="129325"/>
                      <a:pt x="323" y="129896"/>
                    </a:cubicBezTo>
                    <a:cubicBezTo>
                      <a:pt x="-153" y="130563"/>
                      <a:pt x="38" y="131325"/>
                      <a:pt x="38" y="131325"/>
                    </a:cubicBezTo>
                    <a:lnTo>
                      <a:pt x="228" y="149803"/>
                    </a:lnTo>
                    <a:cubicBezTo>
                      <a:pt x="228" y="150565"/>
                      <a:pt x="895" y="151232"/>
                      <a:pt x="1657" y="151232"/>
                    </a:cubicBezTo>
                    <a:lnTo>
                      <a:pt x="61569" y="151232"/>
                    </a:lnTo>
                    <a:cubicBezTo>
                      <a:pt x="62331" y="151232"/>
                      <a:pt x="62998" y="150565"/>
                      <a:pt x="62998" y="149803"/>
                    </a:cubicBezTo>
                    <a:lnTo>
                      <a:pt x="63188" y="131325"/>
                    </a:lnTo>
                    <a:cubicBezTo>
                      <a:pt x="63188" y="131325"/>
                      <a:pt x="63379" y="130468"/>
                      <a:pt x="62903" y="129896"/>
                    </a:cubicBezTo>
                    <a:cubicBezTo>
                      <a:pt x="62426" y="129229"/>
                      <a:pt x="61474" y="129325"/>
                      <a:pt x="61474" y="129325"/>
                    </a:cubicBezTo>
                    <a:cubicBezTo>
                      <a:pt x="55092" y="128277"/>
                      <a:pt x="48710" y="126277"/>
                      <a:pt x="49853" y="121038"/>
                    </a:cubicBezTo>
                    <a:lnTo>
                      <a:pt x="59283" y="97321"/>
                    </a:lnTo>
                    <a:lnTo>
                      <a:pt x="107575" y="97321"/>
                    </a:lnTo>
                    <a:lnTo>
                      <a:pt x="116814" y="121038"/>
                    </a:lnTo>
                    <a:cubicBezTo>
                      <a:pt x="119100" y="125134"/>
                      <a:pt x="114623" y="128277"/>
                      <a:pt x="108241" y="129325"/>
                    </a:cubicBezTo>
                    <a:cubicBezTo>
                      <a:pt x="108241" y="129325"/>
                      <a:pt x="107194" y="129325"/>
                      <a:pt x="106813" y="129896"/>
                    </a:cubicBezTo>
                    <a:cubicBezTo>
                      <a:pt x="106337" y="130563"/>
                      <a:pt x="106527" y="131325"/>
                      <a:pt x="106527" y="131325"/>
                    </a:cubicBezTo>
                    <a:lnTo>
                      <a:pt x="106432" y="149803"/>
                    </a:lnTo>
                    <a:cubicBezTo>
                      <a:pt x="106432" y="150565"/>
                      <a:pt x="107099" y="151232"/>
                      <a:pt x="107861" y="151232"/>
                    </a:cubicBezTo>
                    <a:lnTo>
                      <a:pt x="211874" y="151232"/>
                    </a:lnTo>
                    <a:cubicBezTo>
                      <a:pt x="212636" y="151232"/>
                      <a:pt x="213302" y="150565"/>
                      <a:pt x="213302" y="149803"/>
                    </a:cubicBezTo>
                    <a:lnTo>
                      <a:pt x="213302" y="131325"/>
                    </a:lnTo>
                    <a:cubicBezTo>
                      <a:pt x="213302" y="131325"/>
                      <a:pt x="213493" y="130468"/>
                      <a:pt x="213016" y="129896"/>
                    </a:cubicBezTo>
                    <a:cubicBezTo>
                      <a:pt x="212540" y="129229"/>
                      <a:pt x="211588" y="129325"/>
                      <a:pt x="211588" y="129325"/>
                    </a:cubicBezTo>
                    <a:cubicBezTo>
                      <a:pt x="205206" y="128277"/>
                      <a:pt x="203777" y="124657"/>
                      <a:pt x="203777" y="121038"/>
                    </a:cubicBezTo>
                    <a:lnTo>
                      <a:pt x="212350" y="57125"/>
                    </a:lnTo>
                    <a:cubicBezTo>
                      <a:pt x="212350" y="57125"/>
                      <a:pt x="212350" y="51029"/>
                      <a:pt x="213874" y="51029"/>
                    </a:cubicBezTo>
                    <a:cubicBezTo>
                      <a:pt x="215398" y="51029"/>
                      <a:pt x="217970" y="60745"/>
                      <a:pt x="217970" y="60745"/>
                    </a:cubicBezTo>
                    <a:lnTo>
                      <a:pt x="230733" y="106084"/>
                    </a:lnTo>
                    <a:cubicBezTo>
                      <a:pt x="230733" y="106084"/>
                      <a:pt x="232733" y="110656"/>
                      <a:pt x="234257" y="112180"/>
                    </a:cubicBezTo>
                    <a:cubicBezTo>
                      <a:pt x="235781" y="113704"/>
                      <a:pt x="241401" y="115704"/>
                      <a:pt x="241401" y="115704"/>
                    </a:cubicBezTo>
                    <a:lnTo>
                      <a:pt x="252069" y="115704"/>
                    </a:lnTo>
                    <a:lnTo>
                      <a:pt x="260737" y="115704"/>
                    </a:lnTo>
                    <a:cubicBezTo>
                      <a:pt x="260737" y="115704"/>
                      <a:pt x="262737" y="115704"/>
                      <a:pt x="265309" y="113704"/>
                    </a:cubicBezTo>
                    <a:cubicBezTo>
                      <a:pt x="267881" y="111703"/>
                      <a:pt x="270357" y="104560"/>
                      <a:pt x="270357" y="104560"/>
                    </a:cubicBezTo>
                    <a:lnTo>
                      <a:pt x="284645" y="55220"/>
                    </a:lnTo>
                    <a:cubicBezTo>
                      <a:pt x="284645" y="55220"/>
                      <a:pt x="285692" y="50648"/>
                      <a:pt x="287216" y="50648"/>
                    </a:cubicBezTo>
                    <a:cubicBezTo>
                      <a:pt x="289216" y="50648"/>
                      <a:pt x="289693" y="57220"/>
                      <a:pt x="289693" y="57220"/>
                    </a:cubicBezTo>
                    <a:lnTo>
                      <a:pt x="298265" y="121133"/>
                    </a:lnTo>
                    <a:cubicBezTo>
                      <a:pt x="298265" y="124753"/>
                      <a:pt x="296837" y="128372"/>
                      <a:pt x="290455" y="129420"/>
                    </a:cubicBezTo>
                    <a:cubicBezTo>
                      <a:pt x="290455" y="129420"/>
                      <a:pt x="289407" y="129420"/>
                      <a:pt x="289026" y="129991"/>
                    </a:cubicBezTo>
                    <a:cubicBezTo>
                      <a:pt x="288550" y="130658"/>
                      <a:pt x="288740" y="131420"/>
                      <a:pt x="288740" y="131420"/>
                    </a:cubicBezTo>
                    <a:lnTo>
                      <a:pt x="288359" y="149899"/>
                    </a:lnTo>
                    <a:cubicBezTo>
                      <a:pt x="288359" y="150661"/>
                      <a:pt x="289026" y="151327"/>
                      <a:pt x="289788" y="151327"/>
                    </a:cubicBezTo>
                    <a:lnTo>
                      <a:pt x="353034" y="151327"/>
                    </a:lnTo>
                    <a:cubicBezTo>
                      <a:pt x="353796" y="151327"/>
                      <a:pt x="354463" y="150661"/>
                      <a:pt x="354463" y="149899"/>
                    </a:cubicBezTo>
                    <a:lnTo>
                      <a:pt x="353510" y="131420"/>
                    </a:lnTo>
                    <a:close/>
                    <a:moveTo>
                      <a:pt x="96621" y="71317"/>
                    </a:moveTo>
                    <a:cubicBezTo>
                      <a:pt x="96240" y="72270"/>
                      <a:pt x="94145" y="71889"/>
                      <a:pt x="94145" y="71889"/>
                    </a:cubicBezTo>
                    <a:lnTo>
                      <a:pt x="72047" y="71889"/>
                    </a:lnTo>
                    <a:cubicBezTo>
                      <a:pt x="72047" y="71889"/>
                      <a:pt x="70523" y="72079"/>
                      <a:pt x="69761" y="71508"/>
                    </a:cubicBezTo>
                    <a:cubicBezTo>
                      <a:pt x="69189" y="71127"/>
                      <a:pt x="70332" y="69031"/>
                      <a:pt x="70332" y="69031"/>
                    </a:cubicBezTo>
                    <a:lnTo>
                      <a:pt x="83286" y="35027"/>
                    </a:lnTo>
                    <a:lnTo>
                      <a:pt x="95859" y="68079"/>
                    </a:lnTo>
                    <a:cubicBezTo>
                      <a:pt x="95859" y="67984"/>
                      <a:pt x="96907" y="70460"/>
                      <a:pt x="96621" y="7131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70" name="Freeform 69">
                <a:extLst>
                  <a:ext uri="{FF2B5EF4-FFF2-40B4-BE49-F238E27FC236}">
                    <a16:creationId xmlns:a16="http://schemas.microsoft.com/office/drawing/2014/main" id="{9FBFAB66-E00A-544C-A319-0DCFD1E37254}"/>
                  </a:ext>
                </a:extLst>
              </p:cNvPr>
              <p:cNvSpPr/>
              <p:nvPr/>
            </p:nvSpPr>
            <p:spPr>
              <a:xfrm>
                <a:off x="1701895" y="6439479"/>
                <a:ext cx="125275" cy="68918"/>
              </a:xfrm>
              <a:custGeom>
                <a:avLst/>
                <a:gdLst>
                  <a:gd name="connsiteX0" fmla="*/ 282321 w 282987"/>
                  <a:gd name="connsiteY0" fmla="*/ 133750 h 155681"/>
                  <a:gd name="connsiteX1" fmla="*/ 280892 w 282987"/>
                  <a:gd name="connsiteY1" fmla="*/ 133179 h 155681"/>
                  <a:gd name="connsiteX2" fmla="*/ 266224 w 282987"/>
                  <a:gd name="connsiteY2" fmla="*/ 124892 h 155681"/>
                  <a:gd name="connsiteX3" fmla="*/ 219837 w 282987"/>
                  <a:gd name="connsiteY3" fmla="*/ 7735 h 155681"/>
                  <a:gd name="connsiteX4" fmla="*/ 218313 w 282987"/>
                  <a:gd name="connsiteY4" fmla="*/ 4877 h 155681"/>
                  <a:gd name="connsiteX5" fmla="*/ 216027 w 282987"/>
                  <a:gd name="connsiteY5" fmla="*/ 4115 h 155681"/>
                  <a:gd name="connsiteX6" fmla="*/ 174212 w 282987"/>
                  <a:gd name="connsiteY6" fmla="*/ 4115 h 155681"/>
                  <a:gd name="connsiteX7" fmla="*/ 171736 w 282987"/>
                  <a:gd name="connsiteY7" fmla="*/ 4877 h 155681"/>
                  <a:gd name="connsiteX8" fmla="*/ 170212 w 282987"/>
                  <a:gd name="connsiteY8" fmla="*/ 7735 h 155681"/>
                  <a:gd name="connsiteX9" fmla="*/ 130493 w 282987"/>
                  <a:gd name="connsiteY9" fmla="*/ 107938 h 155681"/>
                  <a:gd name="connsiteX10" fmla="*/ 110681 w 282987"/>
                  <a:gd name="connsiteY10" fmla="*/ 130703 h 155681"/>
                  <a:gd name="connsiteX11" fmla="*/ 84487 w 282987"/>
                  <a:gd name="connsiteY11" fmla="*/ 134227 h 155681"/>
                  <a:gd name="connsiteX12" fmla="*/ 84011 w 282987"/>
                  <a:gd name="connsiteY12" fmla="*/ 134227 h 155681"/>
                  <a:gd name="connsiteX13" fmla="*/ 84011 w 282987"/>
                  <a:gd name="connsiteY13" fmla="*/ 134227 h 155681"/>
                  <a:gd name="connsiteX14" fmla="*/ 62484 w 282987"/>
                  <a:gd name="connsiteY14" fmla="*/ 130703 h 155681"/>
                  <a:gd name="connsiteX15" fmla="*/ 46768 w 282987"/>
                  <a:gd name="connsiteY15" fmla="*/ 112986 h 155681"/>
                  <a:gd name="connsiteX16" fmla="*/ 42386 w 282987"/>
                  <a:gd name="connsiteY16" fmla="*/ 78029 h 155681"/>
                  <a:gd name="connsiteX17" fmla="*/ 46768 w 282987"/>
                  <a:gd name="connsiteY17" fmla="*/ 40405 h 155681"/>
                  <a:gd name="connsiteX18" fmla="*/ 78200 w 282987"/>
                  <a:gd name="connsiteY18" fmla="*/ 24213 h 155681"/>
                  <a:gd name="connsiteX19" fmla="*/ 106775 w 282987"/>
                  <a:gd name="connsiteY19" fmla="*/ 35357 h 155681"/>
                  <a:gd name="connsiteX20" fmla="*/ 112109 w 282987"/>
                  <a:gd name="connsiteY20" fmla="*/ 45168 h 155681"/>
                  <a:gd name="connsiteX21" fmla="*/ 112109 w 282987"/>
                  <a:gd name="connsiteY21" fmla="*/ 46787 h 155681"/>
                  <a:gd name="connsiteX22" fmla="*/ 116777 w 282987"/>
                  <a:gd name="connsiteY22" fmla="*/ 51454 h 155681"/>
                  <a:gd name="connsiteX23" fmla="*/ 128969 w 282987"/>
                  <a:gd name="connsiteY23" fmla="*/ 51454 h 155681"/>
                  <a:gd name="connsiteX24" fmla="*/ 133636 w 282987"/>
                  <a:gd name="connsiteY24" fmla="*/ 46787 h 155681"/>
                  <a:gd name="connsiteX25" fmla="*/ 134017 w 282987"/>
                  <a:gd name="connsiteY25" fmla="*/ 10307 h 155681"/>
                  <a:gd name="connsiteX26" fmla="*/ 131445 w 282987"/>
                  <a:gd name="connsiteY26" fmla="*/ 4973 h 155681"/>
                  <a:gd name="connsiteX27" fmla="*/ 84392 w 282987"/>
                  <a:gd name="connsiteY27" fmla="*/ 19 h 155681"/>
                  <a:gd name="connsiteX28" fmla="*/ 29718 w 282987"/>
                  <a:gd name="connsiteY28" fmla="*/ 11735 h 155681"/>
                  <a:gd name="connsiteX29" fmla="*/ 0 w 282987"/>
                  <a:gd name="connsiteY29" fmla="*/ 75553 h 155681"/>
                  <a:gd name="connsiteX30" fmla="*/ 18860 w 282987"/>
                  <a:gd name="connsiteY30" fmla="*/ 137846 h 155681"/>
                  <a:gd name="connsiteX31" fmla="*/ 59341 w 282987"/>
                  <a:gd name="connsiteY31" fmla="*/ 154515 h 155681"/>
                  <a:gd name="connsiteX32" fmla="*/ 78772 w 282987"/>
                  <a:gd name="connsiteY32" fmla="*/ 155467 h 155681"/>
                  <a:gd name="connsiteX33" fmla="*/ 84106 w 282987"/>
                  <a:gd name="connsiteY33" fmla="*/ 155658 h 155681"/>
                  <a:gd name="connsiteX34" fmla="*/ 98203 w 282987"/>
                  <a:gd name="connsiteY34" fmla="*/ 155086 h 155681"/>
                  <a:gd name="connsiteX35" fmla="*/ 131445 w 282987"/>
                  <a:gd name="connsiteY35" fmla="*/ 154991 h 155681"/>
                  <a:gd name="connsiteX36" fmla="*/ 168878 w 282987"/>
                  <a:gd name="connsiteY36" fmla="*/ 154991 h 155681"/>
                  <a:gd name="connsiteX37" fmla="*/ 170307 w 282987"/>
                  <a:gd name="connsiteY37" fmla="*/ 153562 h 155681"/>
                  <a:gd name="connsiteX38" fmla="*/ 170498 w 282987"/>
                  <a:gd name="connsiteY38" fmla="*/ 135084 h 155681"/>
                  <a:gd name="connsiteX39" fmla="*/ 170212 w 282987"/>
                  <a:gd name="connsiteY39" fmla="*/ 133655 h 155681"/>
                  <a:gd name="connsiteX40" fmla="*/ 168783 w 282987"/>
                  <a:gd name="connsiteY40" fmla="*/ 133084 h 155681"/>
                  <a:gd name="connsiteX41" fmla="*/ 157163 w 282987"/>
                  <a:gd name="connsiteY41" fmla="*/ 124797 h 155681"/>
                  <a:gd name="connsiteX42" fmla="*/ 166592 w 282987"/>
                  <a:gd name="connsiteY42" fmla="*/ 101080 h 155681"/>
                  <a:gd name="connsiteX43" fmla="*/ 214884 w 282987"/>
                  <a:gd name="connsiteY43" fmla="*/ 101080 h 155681"/>
                  <a:gd name="connsiteX44" fmla="*/ 224123 w 282987"/>
                  <a:gd name="connsiteY44" fmla="*/ 124797 h 155681"/>
                  <a:gd name="connsiteX45" fmla="*/ 215551 w 282987"/>
                  <a:gd name="connsiteY45" fmla="*/ 133084 h 155681"/>
                  <a:gd name="connsiteX46" fmla="*/ 214122 w 282987"/>
                  <a:gd name="connsiteY46" fmla="*/ 133655 h 155681"/>
                  <a:gd name="connsiteX47" fmla="*/ 213836 w 282987"/>
                  <a:gd name="connsiteY47" fmla="*/ 135084 h 155681"/>
                  <a:gd name="connsiteX48" fmla="*/ 213932 w 282987"/>
                  <a:gd name="connsiteY48" fmla="*/ 153562 h 155681"/>
                  <a:gd name="connsiteX49" fmla="*/ 215360 w 282987"/>
                  <a:gd name="connsiteY49" fmla="*/ 154991 h 155681"/>
                  <a:gd name="connsiteX50" fmla="*/ 281369 w 282987"/>
                  <a:gd name="connsiteY50" fmla="*/ 154991 h 155681"/>
                  <a:gd name="connsiteX51" fmla="*/ 282797 w 282987"/>
                  <a:gd name="connsiteY51" fmla="*/ 153562 h 155681"/>
                  <a:gd name="connsiteX52" fmla="*/ 282988 w 282987"/>
                  <a:gd name="connsiteY52" fmla="*/ 135084 h 155681"/>
                  <a:gd name="connsiteX53" fmla="*/ 282321 w 282987"/>
                  <a:gd name="connsiteY53" fmla="*/ 133750 h 155681"/>
                  <a:gd name="connsiteX54" fmla="*/ 203930 w 282987"/>
                  <a:gd name="connsiteY54" fmla="*/ 75172 h 155681"/>
                  <a:gd name="connsiteX55" fmla="*/ 201454 w 282987"/>
                  <a:gd name="connsiteY55" fmla="*/ 75743 h 155681"/>
                  <a:gd name="connsiteX56" fmla="*/ 179356 w 282987"/>
                  <a:gd name="connsiteY56" fmla="*/ 75743 h 155681"/>
                  <a:gd name="connsiteX57" fmla="*/ 177070 w 282987"/>
                  <a:gd name="connsiteY57" fmla="*/ 75362 h 155681"/>
                  <a:gd name="connsiteX58" fmla="*/ 177641 w 282987"/>
                  <a:gd name="connsiteY58" fmla="*/ 72886 h 155681"/>
                  <a:gd name="connsiteX59" fmla="*/ 190595 w 282987"/>
                  <a:gd name="connsiteY59" fmla="*/ 38882 h 155681"/>
                  <a:gd name="connsiteX60" fmla="*/ 203168 w 282987"/>
                  <a:gd name="connsiteY60" fmla="*/ 71933 h 155681"/>
                  <a:gd name="connsiteX61" fmla="*/ 203930 w 282987"/>
                  <a:gd name="connsiteY61" fmla="*/ 75172 h 15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987" h="155681">
                    <a:moveTo>
                      <a:pt x="282321" y="133750"/>
                    </a:moveTo>
                    <a:cubicBezTo>
                      <a:pt x="281845" y="133084"/>
                      <a:pt x="280892" y="133179"/>
                      <a:pt x="280892" y="133179"/>
                    </a:cubicBezTo>
                    <a:cubicBezTo>
                      <a:pt x="274511" y="132131"/>
                      <a:pt x="266224" y="128512"/>
                      <a:pt x="266224" y="124892"/>
                    </a:cubicBezTo>
                    <a:lnTo>
                      <a:pt x="219837" y="7735"/>
                    </a:lnTo>
                    <a:cubicBezTo>
                      <a:pt x="219837" y="7735"/>
                      <a:pt x="219075" y="5639"/>
                      <a:pt x="218313" y="4877"/>
                    </a:cubicBezTo>
                    <a:cubicBezTo>
                      <a:pt x="217551" y="4115"/>
                      <a:pt x="216027" y="4115"/>
                      <a:pt x="216027" y="4115"/>
                    </a:cubicBezTo>
                    <a:lnTo>
                      <a:pt x="174212" y="4115"/>
                    </a:lnTo>
                    <a:cubicBezTo>
                      <a:pt x="174212" y="4115"/>
                      <a:pt x="172498" y="4115"/>
                      <a:pt x="171736" y="4877"/>
                    </a:cubicBezTo>
                    <a:cubicBezTo>
                      <a:pt x="170974" y="5639"/>
                      <a:pt x="170212" y="7735"/>
                      <a:pt x="170212" y="7735"/>
                    </a:cubicBezTo>
                    <a:lnTo>
                      <a:pt x="130493" y="107938"/>
                    </a:lnTo>
                    <a:cubicBezTo>
                      <a:pt x="130493" y="107938"/>
                      <a:pt x="122777" y="127273"/>
                      <a:pt x="110681" y="130703"/>
                    </a:cubicBezTo>
                    <a:cubicBezTo>
                      <a:pt x="101537" y="133274"/>
                      <a:pt x="95441" y="133846"/>
                      <a:pt x="84487" y="134227"/>
                    </a:cubicBezTo>
                    <a:cubicBezTo>
                      <a:pt x="84296" y="134227"/>
                      <a:pt x="84201" y="134227"/>
                      <a:pt x="84011" y="134227"/>
                    </a:cubicBezTo>
                    <a:lnTo>
                      <a:pt x="84011" y="134227"/>
                    </a:lnTo>
                    <a:cubicBezTo>
                      <a:pt x="73057" y="133846"/>
                      <a:pt x="70295" y="133846"/>
                      <a:pt x="62484" y="130703"/>
                    </a:cubicBezTo>
                    <a:cubicBezTo>
                      <a:pt x="58103" y="128988"/>
                      <a:pt x="49435" y="120034"/>
                      <a:pt x="46768" y="112986"/>
                    </a:cubicBezTo>
                    <a:cubicBezTo>
                      <a:pt x="44863" y="107557"/>
                      <a:pt x="42386" y="100603"/>
                      <a:pt x="42386" y="78029"/>
                    </a:cubicBezTo>
                    <a:cubicBezTo>
                      <a:pt x="42386" y="55360"/>
                      <a:pt x="44006" y="44882"/>
                      <a:pt x="46768" y="40405"/>
                    </a:cubicBezTo>
                    <a:cubicBezTo>
                      <a:pt x="51816" y="32500"/>
                      <a:pt x="59722" y="24213"/>
                      <a:pt x="78200" y="24213"/>
                    </a:cubicBezTo>
                    <a:cubicBezTo>
                      <a:pt x="96679" y="24213"/>
                      <a:pt x="103537" y="30976"/>
                      <a:pt x="106775" y="35357"/>
                    </a:cubicBezTo>
                    <a:cubicBezTo>
                      <a:pt x="106775" y="35357"/>
                      <a:pt x="111728" y="39453"/>
                      <a:pt x="112109" y="45168"/>
                    </a:cubicBezTo>
                    <a:lnTo>
                      <a:pt x="112109" y="46787"/>
                    </a:lnTo>
                    <a:cubicBezTo>
                      <a:pt x="112109" y="49359"/>
                      <a:pt x="114205" y="51454"/>
                      <a:pt x="116777" y="51454"/>
                    </a:cubicBezTo>
                    <a:lnTo>
                      <a:pt x="128969" y="51454"/>
                    </a:lnTo>
                    <a:cubicBezTo>
                      <a:pt x="131540" y="51454"/>
                      <a:pt x="133636" y="49359"/>
                      <a:pt x="133636" y="46787"/>
                    </a:cubicBezTo>
                    <a:lnTo>
                      <a:pt x="134017" y="10307"/>
                    </a:lnTo>
                    <a:cubicBezTo>
                      <a:pt x="134017" y="10307"/>
                      <a:pt x="134684" y="7640"/>
                      <a:pt x="131445" y="4973"/>
                    </a:cubicBezTo>
                    <a:cubicBezTo>
                      <a:pt x="131445" y="4973"/>
                      <a:pt x="113824" y="-362"/>
                      <a:pt x="84392" y="19"/>
                    </a:cubicBezTo>
                    <a:cubicBezTo>
                      <a:pt x="60008" y="305"/>
                      <a:pt x="40005" y="5353"/>
                      <a:pt x="29718" y="11735"/>
                    </a:cubicBezTo>
                    <a:cubicBezTo>
                      <a:pt x="19431" y="18212"/>
                      <a:pt x="0" y="36976"/>
                      <a:pt x="0" y="75553"/>
                    </a:cubicBezTo>
                    <a:cubicBezTo>
                      <a:pt x="0" y="114034"/>
                      <a:pt x="8573" y="128131"/>
                      <a:pt x="18860" y="137846"/>
                    </a:cubicBezTo>
                    <a:cubicBezTo>
                      <a:pt x="27337" y="145847"/>
                      <a:pt x="36957" y="151467"/>
                      <a:pt x="59341" y="154515"/>
                    </a:cubicBezTo>
                    <a:cubicBezTo>
                      <a:pt x="60198" y="155182"/>
                      <a:pt x="73343" y="155467"/>
                      <a:pt x="78772" y="155467"/>
                    </a:cubicBezTo>
                    <a:cubicBezTo>
                      <a:pt x="80486" y="155563"/>
                      <a:pt x="82296" y="155658"/>
                      <a:pt x="84106" y="155658"/>
                    </a:cubicBezTo>
                    <a:cubicBezTo>
                      <a:pt x="89535" y="155753"/>
                      <a:pt x="94107" y="155563"/>
                      <a:pt x="98203" y="155086"/>
                    </a:cubicBezTo>
                    <a:cubicBezTo>
                      <a:pt x="116396" y="154420"/>
                      <a:pt x="126302" y="156039"/>
                      <a:pt x="131445" y="154991"/>
                    </a:cubicBezTo>
                    <a:lnTo>
                      <a:pt x="168878" y="154991"/>
                    </a:lnTo>
                    <a:cubicBezTo>
                      <a:pt x="169640" y="154991"/>
                      <a:pt x="170307" y="154324"/>
                      <a:pt x="170307" y="153562"/>
                    </a:cubicBezTo>
                    <a:lnTo>
                      <a:pt x="170498" y="135084"/>
                    </a:lnTo>
                    <a:cubicBezTo>
                      <a:pt x="170402" y="135084"/>
                      <a:pt x="170688" y="134227"/>
                      <a:pt x="170212" y="133655"/>
                    </a:cubicBezTo>
                    <a:cubicBezTo>
                      <a:pt x="169736" y="132988"/>
                      <a:pt x="168783" y="133084"/>
                      <a:pt x="168783" y="133084"/>
                    </a:cubicBezTo>
                    <a:cubicBezTo>
                      <a:pt x="162401" y="132036"/>
                      <a:pt x="156020" y="130036"/>
                      <a:pt x="157163" y="124797"/>
                    </a:cubicBezTo>
                    <a:lnTo>
                      <a:pt x="166592" y="101080"/>
                    </a:lnTo>
                    <a:lnTo>
                      <a:pt x="214884" y="101080"/>
                    </a:lnTo>
                    <a:lnTo>
                      <a:pt x="224123" y="124797"/>
                    </a:lnTo>
                    <a:cubicBezTo>
                      <a:pt x="226409" y="128893"/>
                      <a:pt x="221933" y="132036"/>
                      <a:pt x="215551" y="133084"/>
                    </a:cubicBezTo>
                    <a:cubicBezTo>
                      <a:pt x="215551" y="133084"/>
                      <a:pt x="214503" y="133084"/>
                      <a:pt x="214122" y="133655"/>
                    </a:cubicBezTo>
                    <a:cubicBezTo>
                      <a:pt x="213646" y="134322"/>
                      <a:pt x="213836" y="135084"/>
                      <a:pt x="213836" y="135084"/>
                    </a:cubicBezTo>
                    <a:lnTo>
                      <a:pt x="213932" y="153562"/>
                    </a:lnTo>
                    <a:cubicBezTo>
                      <a:pt x="213932" y="154324"/>
                      <a:pt x="214598" y="154991"/>
                      <a:pt x="215360" y="154991"/>
                    </a:cubicBezTo>
                    <a:lnTo>
                      <a:pt x="281369" y="154991"/>
                    </a:lnTo>
                    <a:cubicBezTo>
                      <a:pt x="282131" y="154991"/>
                      <a:pt x="282797" y="154324"/>
                      <a:pt x="282797" y="153562"/>
                    </a:cubicBezTo>
                    <a:lnTo>
                      <a:pt x="282988" y="135084"/>
                    </a:lnTo>
                    <a:cubicBezTo>
                      <a:pt x="282512" y="135274"/>
                      <a:pt x="282702" y="134417"/>
                      <a:pt x="282321" y="133750"/>
                    </a:cubicBezTo>
                    <a:close/>
                    <a:moveTo>
                      <a:pt x="203930" y="75172"/>
                    </a:moveTo>
                    <a:cubicBezTo>
                      <a:pt x="203550" y="76124"/>
                      <a:pt x="201454" y="75743"/>
                      <a:pt x="201454" y="75743"/>
                    </a:cubicBezTo>
                    <a:lnTo>
                      <a:pt x="179356" y="75743"/>
                    </a:lnTo>
                    <a:cubicBezTo>
                      <a:pt x="179356" y="75743"/>
                      <a:pt x="177832" y="75934"/>
                      <a:pt x="177070" y="75362"/>
                    </a:cubicBezTo>
                    <a:cubicBezTo>
                      <a:pt x="176498" y="74981"/>
                      <a:pt x="177641" y="72886"/>
                      <a:pt x="177641" y="72886"/>
                    </a:cubicBezTo>
                    <a:lnTo>
                      <a:pt x="190595" y="38882"/>
                    </a:lnTo>
                    <a:lnTo>
                      <a:pt x="203168" y="71933"/>
                    </a:lnTo>
                    <a:cubicBezTo>
                      <a:pt x="203168" y="71838"/>
                      <a:pt x="204216" y="74315"/>
                      <a:pt x="203930" y="7517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grpSp>
      </p:grpSp>
      <p:sp>
        <p:nvSpPr>
          <p:cNvPr id="136" name="Content Placeholder 2">
            <a:extLst>
              <a:ext uri="{FF2B5EF4-FFF2-40B4-BE49-F238E27FC236}">
                <a16:creationId xmlns:a16="http://schemas.microsoft.com/office/drawing/2014/main" id="{B08229BE-722D-B547-A6AB-B0F487D61893}"/>
              </a:ext>
            </a:extLst>
          </p:cNvPr>
          <p:cNvSpPr>
            <a:spLocks noGrp="1"/>
          </p:cNvSpPr>
          <p:nvPr>
            <p:ph sz="half" idx="1"/>
          </p:nvPr>
        </p:nvSpPr>
        <p:spPr>
          <a:xfrm>
            <a:off x="381000" y="1866900"/>
            <a:ext cx="11430324" cy="407670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Rectangle 72">
            <a:extLst>
              <a:ext uri="{FF2B5EF4-FFF2-40B4-BE49-F238E27FC236}">
                <a16:creationId xmlns:a16="http://schemas.microsoft.com/office/drawing/2014/main" id="{815ACBAD-E2DF-4E4A-9C22-5D7B51E15E82}"/>
              </a:ext>
            </a:extLst>
          </p:cNvPr>
          <p:cNvSpPr/>
          <p:nvPr userDrawn="1"/>
        </p:nvSpPr>
        <p:spPr>
          <a:xfrm>
            <a:off x="0" y="6720840"/>
            <a:ext cx="12188952"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0469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y</p:attrName>
                                        </p:attrNameLst>
                                      </p:cBhvr>
                                      <p:tavLst>
                                        <p:tav tm="0">
                                          <p:val>
                                            <p:strVal val="#ppt_y-#ppt_h*1.125000"/>
                                          </p:val>
                                        </p:tav>
                                        <p:tav tm="100000">
                                          <p:val>
                                            <p:strVal val="#ppt_y"/>
                                          </p:val>
                                        </p:tav>
                                      </p:tavLst>
                                    </p:anim>
                                    <p:animEffect transition="in" filter="wipe(down)">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guide id="4" orient="horz" pos="117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op Title 2 Colum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0D68692-E746-4C4F-B18C-EFB6D95979F3}"/>
              </a:ext>
            </a:extLst>
          </p:cNvPr>
          <p:cNvSpPr/>
          <p:nvPr userDrawn="1"/>
        </p:nvSpPr>
        <p:spPr>
          <a:xfrm>
            <a:off x="0" y="2"/>
            <a:ext cx="12192000" cy="14652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51A8AD5A-086B-DD4E-9530-80D652D369EA}"/>
              </a:ext>
            </a:extLst>
          </p:cNvPr>
          <p:cNvSpPr>
            <a:spLocks noGrp="1"/>
          </p:cNvSpPr>
          <p:nvPr>
            <p:ph type="title"/>
          </p:nvPr>
        </p:nvSpPr>
        <p:spPr>
          <a:xfrm>
            <a:off x="381000" y="381000"/>
            <a:ext cx="11429999" cy="1084243"/>
          </a:xfrm>
        </p:spPr>
        <p:txBody>
          <a:bodyPr lIns="182880" tIns="0"/>
          <a:lstStyle>
            <a:lvl1pPr>
              <a:defRPr>
                <a:solidFill>
                  <a:schemeClr val="bg1"/>
                </a:solidFill>
              </a:defRPr>
            </a:lvl1pPr>
          </a:lstStyle>
          <a:p>
            <a:r>
              <a:rPr lang="en-US"/>
              <a:t>Click to edit Master title style</a:t>
            </a:r>
          </a:p>
        </p:txBody>
      </p:sp>
      <p:sp>
        <p:nvSpPr>
          <p:cNvPr id="136" name="Content Placeholder 2">
            <a:extLst>
              <a:ext uri="{FF2B5EF4-FFF2-40B4-BE49-F238E27FC236}">
                <a16:creationId xmlns:a16="http://schemas.microsoft.com/office/drawing/2014/main" id="{B08229BE-722D-B547-A6AB-B0F487D61893}"/>
              </a:ext>
            </a:extLst>
          </p:cNvPr>
          <p:cNvSpPr>
            <a:spLocks noGrp="1"/>
          </p:cNvSpPr>
          <p:nvPr>
            <p:ph sz="half" idx="1"/>
          </p:nvPr>
        </p:nvSpPr>
        <p:spPr>
          <a:xfrm>
            <a:off x="381000" y="1866900"/>
            <a:ext cx="5491907" cy="407670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8" name="Content Placeholder 2">
            <a:extLst>
              <a:ext uri="{FF2B5EF4-FFF2-40B4-BE49-F238E27FC236}">
                <a16:creationId xmlns:a16="http://schemas.microsoft.com/office/drawing/2014/main" id="{C94AE7B7-1F76-FE4A-8E5A-439EB8F5F383}"/>
              </a:ext>
            </a:extLst>
          </p:cNvPr>
          <p:cNvSpPr>
            <a:spLocks noGrp="1"/>
          </p:cNvSpPr>
          <p:nvPr>
            <p:ph sz="half" idx="10"/>
          </p:nvPr>
        </p:nvSpPr>
        <p:spPr>
          <a:xfrm>
            <a:off x="6312037" y="1866900"/>
            <a:ext cx="5498963" cy="4076700"/>
          </a:xfrm>
        </p:spPr>
        <p:txBody>
          <a:bodyPr anchor="t"/>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39" name="Group 138">
            <a:extLst>
              <a:ext uri="{FF2B5EF4-FFF2-40B4-BE49-F238E27FC236}">
                <a16:creationId xmlns:a16="http://schemas.microsoft.com/office/drawing/2014/main" id="{CDC5D0B9-07C2-764F-B6D6-A4736D6D61B1}"/>
              </a:ext>
            </a:extLst>
          </p:cNvPr>
          <p:cNvGrpSpPr/>
          <p:nvPr userDrawn="1"/>
        </p:nvGrpSpPr>
        <p:grpSpPr>
          <a:xfrm>
            <a:off x="9667588" y="6167077"/>
            <a:ext cx="2143412" cy="350125"/>
            <a:chOff x="7941600" y="7740369"/>
            <a:chExt cx="6440917" cy="1052121"/>
          </a:xfrm>
        </p:grpSpPr>
        <p:grpSp>
          <p:nvGrpSpPr>
            <p:cNvPr id="140" name="Group 139">
              <a:extLst>
                <a:ext uri="{FF2B5EF4-FFF2-40B4-BE49-F238E27FC236}">
                  <a16:creationId xmlns:a16="http://schemas.microsoft.com/office/drawing/2014/main" id="{1364AE20-CBCE-FC4A-AF8B-17624834513A}"/>
                </a:ext>
              </a:extLst>
            </p:cNvPr>
            <p:cNvGrpSpPr/>
            <p:nvPr userDrawn="1"/>
          </p:nvGrpSpPr>
          <p:grpSpPr>
            <a:xfrm>
              <a:off x="7941600" y="7740369"/>
              <a:ext cx="6440917" cy="452295"/>
              <a:chOff x="7941600" y="7740364"/>
              <a:chExt cx="6440917" cy="452295"/>
            </a:xfrm>
            <a:solidFill>
              <a:schemeClr val="bg2"/>
            </a:solidFill>
          </p:grpSpPr>
          <p:sp>
            <p:nvSpPr>
              <p:cNvPr id="160" name="Freeform 159">
                <a:extLst>
                  <a:ext uri="{FF2B5EF4-FFF2-40B4-BE49-F238E27FC236}">
                    <a16:creationId xmlns:a16="http://schemas.microsoft.com/office/drawing/2014/main" id="{72CBB4FD-12BF-924B-B031-F03F1C15F46E}"/>
                  </a:ext>
                </a:extLst>
              </p:cNvPr>
              <p:cNvSpPr/>
              <p:nvPr/>
            </p:nvSpPr>
            <p:spPr>
              <a:xfrm>
                <a:off x="7941600" y="7740364"/>
                <a:ext cx="601211" cy="443649"/>
              </a:xfrm>
              <a:custGeom>
                <a:avLst/>
                <a:gdLst>
                  <a:gd name="connsiteX0" fmla="*/ 120623 w 601211"/>
                  <a:gd name="connsiteY0" fmla="*/ 443650 h 443649"/>
                  <a:gd name="connsiteX1" fmla="*/ 0 w 601211"/>
                  <a:gd name="connsiteY1" fmla="*/ 0 h 443649"/>
                  <a:gd name="connsiteX2" fmla="*/ 135951 w 601211"/>
                  <a:gd name="connsiteY2" fmla="*/ 0 h 443649"/>
                  <a:gd name="connsiteX3" fmla="*/ 178602 w 601211"/>
                  <a:gd name="connsiteY3" fmla="*/ 207480 h 443649"/>
                  <a:gd name="connsiteX4" fmla="*/ 188599 w 601211"/>
                  <a:gd name="connsiteY4" fmla="*/ 271985 h 443649"/>
                  <a:gd name="connsiteX5" fmla="*/ 198595 w 601211"/>
                  <a:gd name="connsiteY5" fmla="*/ 207480 h 443649"/>
                  <a:gd name="connsiteX6" fmla="*/ 241246 w 601211"/>
                  <a:gd name="connsiteY6" fmla="*/ 0 h 443649"/>
                  <a:gd name="connsiteX7" fmla="*/ 361203 w 601211"/>
                  <a:gd name="connsiteY7" fmla="*/ 0 h 443649"/>
                  <a:gd name="connsiteX8" fmla="*/ 404521 w 601211"/>
                  <a:gd name="connsiteY8" fmla="*/ 205485 h 443649"/>
                  <a:gd name="connsiteX9" fmla="*/ 407853 w 601211"/>
                  <a:gd name="connsiteY9" fmla="*/ 224105 h 443649"/>
                  <a:gd name="connsiteX10" fmla="*/ 410519 w 601211"/>
                  <a:gd name="connsiteY10" fmla="*/ 240065 h 443649"/>
                  <a:gd name="connsiteX11" fmla="*/ 414517 w 601211"/>
                  <a:gd name="connsiteY11" fmla="*/ 271985 h 443649"/>
                  <a:gd name="connsiteX12" fmla="*/ 419182 w 601211"/>
                  <a:gd name="connsiteY12" fmla="*/ 240065 h 443649"/>
                  <a:gd name="connsiteX13" fmla="*/ 421848 w 601211"/>
                  <a:gd name="connsiteY13" fmla="*/ 224105 h 443649"/>
                  <a:gd name="connsiteX14" fmla="*/ 425180 w 601211"/>
                  <a:gd name="connsiteY14" fmla="*/ 205485 h 443649"/>
                  <a:gd name="connsiteX15" fmla="*/ 466499 w 601211"/>
                  <a:gd name="connsiteY15" fmla="*/ 0 h 443649"/>
                  <a:gd name="connsiteX16" fmla="*/ 601212 w 601211"/>
                  <a:gd name="connsiteY16" fmla="*/ 0 h 443649"/>
                  <a:gd name="connsiteX17" fmla="*/ 486587 w 601211"/>
                  <a:gd name="connsiteY17" fmla="*/ 443650 h 443649"/>
                  <a:gd name="connsiteX18" fmla="*/ 351873 w 601211"/>
                  <a:gd name="connsiteY18" fmla="*/ 443650 h 443649"/>
                  <a:gd name="connsiteX19" fmla="*/ 314553 w 601211"/>
                  <a:gd name="connsiteY19" fmla="*/ 252130 h 443649"/>
                  <a:gd name="connsiteX20" fmla="*/ 302558 w 601211"/>
                  <a:gd name="connsiteY20" fmla="*/ 167010 h 443649"/>
                  <a:gd name="connsiteX21" fmla="*/ 289229 w 601211"/>
                  <a:gd name="connsiteY21" fmla="*/ 252130 h 443649"/>
                  <a:gd name="connsiteX22" fmla="*/ 251909 w 601211"/>
                  <a:gd name="connsiteY22" fmla="*/ 443650 h 443649"/>
                  <a:gd name="connsiteX23" fmla="*/ 120623 w 601211"/>
                  <a:gd name="connsiteY23"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1211" h="443649">
                    <a:moveTo>
                      <a:pt x="120623" y="443650"/>
                    </a:moveTo>
                    <a:lnTo>
                      <a:pt x="0" y="0"/>
                    </a:lnTo>
                    <a:lnTo>
                      <a:pt x="135951" y="0"/>
                    </a:lnTo>
                    <a:lnTo>
                      <a:pt x="178602" y="207480"/>
                    </a:lnTo>
                    <a:cubicBezTo>
                      <a:pt x="181934" y="221445"/>
                      <a:pt x="186599" y="252700"/>
                      <a:pt x="188599" y="271985"/>
                    </a:cubicBezTo>
                    <a:cubicBezTo>
                      <a:pt x="189932" y="254030"/>
                      <a:pt x="194597" y="226100"/>
                      <a:pt x="198595" y="207480"/>
                    </a:cubicBezTo>
                    <a:lnTo>
                      <a:pt x="241246" y="0"/>
                    </a:lnTo>
                    <a:lnTo>
                      <a:pt x="361203" y="0"/>
                    </a:lnTo>
                    <a:lnTo>
                      <a:pt x="404521" y="205485"/>
                    </a:lnTo>
                    <a:cubicBezTo>
                      <a:pt x="404521" y="205485"/>
                      <a:pt x="405854" y="215460"/>
                      <a:pt x="407853" y="224105"/>
                    </a:cubicBezTo>
                    <a:cubicBezTo>
                      <a:pt x="408519" y="228760"/>
                      <a:pt x="409186" y="234080"/>
                      <a:pt x="410519" y="240065"/>
                    </a:cubicBezTo>
                    <a:cubicBezTo>
                      <a:pt x="413184" y="256025"/>
                      <a:pt x="413184" y="257355"/>
                      <a:pt x="414517" y="271985"/>
                    </a:cubicBezTo>
                    <a:cubicBezTo>
                      <a:pt x="416517" y="257355"/>
                      <a:pt x="416517" y="257355"/>
                      <a:pt x="419182" y="240065"/>
                    </a:cubicBezTo>
                    <a:cubicBezTo>
                      <a:pt x="420515" y="235410"/>
                      <a:pt x="421182" y="230090"/>
                      <a:pt x="421848" y="224105"/>
                    </a:cubicBezTo>
                    <a:cubicBezTo>
                      <a:pt x="423847" y="215460"/>
                      <a:pt x="425180" y="206150"/>
                      <a:pt x="425180" y="205485"/>
                    </a:cubicBezTo>
                    <a:lnTo>
                      <a:pt x="466499" y="0"/>
                    </a:lnTo>
                    <a:lnTo>
                      <a:pt x="601212" y="0"/>
                    </a:lnTo>
                    <a:lnTo>
                      <a:pt x="486587" y="443650"/>
                    </a:lnTo>
                    <a:lnTo>
                      <a:pt x="351873" y="443650"/>
                    </a:lnTo>
                    <a:lnTo>
                      <a:pt x="314553" y="252130"/>
                    </a:lnTo>
                    <a:cubicBezTo>
                      <a:pt x="309888" y="228855"/>
                      <a:pt x="305223" y="195605"/>
                      <a:pt x="302558" y="167010"/>
                    </a:cubicBezTo>
                    <a:cubicBezTo>
                      <a:pt x="299226" y="200260"/>
                      <a:pt x="295893" y="220875"/>
                      <a:pt x="289229" y="252130"/>
                    </a:cubicBezTo>
                    <a:lnTo>
                      <a:pt x="251909" y="443650"/>
                    </a:lnTo>
                    <a:lnTo>
                      <a:pt x="120623"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1" name="Freeform 160">
                <a:extLst>
                  <a:ext uri="{FF2B5EF4-FFF2-40B4-BE49-F238E27FC236}">
                    <a16:creationId xmlns:a16="http://schemas.microsoft.com/office/drawing/2014/main" id="{8B186C85-846A-354E-B6D4-76054B009185}"/>
                  </a:ext>
                </a:extLst>
              </p:cNvPr>
              <p:cNvSpPr/>
              <p:nvPr/>
            </p:nvSpPr>
            <p:spPr>
              <a:xfrm>
                <a:off x="8568041" y="7740364"/>
                <a:ext cx="332546" cy="443649"/>
              </a:xfrm>
              <a:custGeom>
                <a:avLst/>
                <a:gdLst>
                  <a:gd name="connsiteX0" fmla="*/ 0 w 332546"/>
                  <a:gd name="connsiteY0" fmla="*/ 0 h 443649"/>
                  <a:gd name="connsiteX1" fmla="*/ 124622 w 332546"/>
                  <a:gd name="connsiteY1" fmla="*/ 0 h 443649"/>
                  <a:gd name="connsiteX2" fmla="*/ 124622 w 332546"/>
                  <a:gd name="connsiteY2" fmla="*/ 148960 h 443649"/>
                  <a:gd name="connsiteX3" fmla="*/ 215922 w 332546"/>
                  <a:gd name="connsiteY3" fmla="*/ 113715 h 443649"/>
                  <a:gd name="connsiteX4" fmla="*/ 300558 w 332546"/>
                  <a:gd name="connsiteY4" fmla="*/ 144305 h 443649"/>
                  <a:gd name="connsiteX5" fmla="*/ 332547 w 332546"/>
                  <a:gd name="connsiteY5" fmla="*/ 232085 h 443649"/>
                  <a:gd name="connsiteX6" fmla="*/ 332547 w 332546"/>
                  <a:gd name="connsiteY6" fmla="*/ 443555 h 443649"/>
                  <a:gd name="connsiteX7" fmla="*/ 207925 w 332546"/>
                  <a:gd name="connsiteY7" fmla="*/ 443555 h 443649"/>
                  <a:gd name="connsiteX8" fmla="*/ 207925 w 332546"/>
                  <a:gd name="connsiteY8" fmla="*/ 266095 h 443649"/>
                  <a:gd name="connsiteX9" fmla="*/ 167939 w 332546"/>
                  <a:gd name="connsiteY9" fmla="*/ 213560 h 443649"/>
                  <a:gd name="connsiteX10" fmla="*/ 124622 w 332546"/>
                  <a:gd name="connsiteY10" fmla="*/ 266095 h 443649"/>
                  <a:gd name="connsiteX11" fmla="*/ 124622 w 332546"/>
                  <a:gd name="connsiteY11" fmla="*/ 443650 h 443649"/>
                  <a:gd name="connsiteX12" fmla="*/ 0 w 332546"/>
                  <a:gd name="connsiteY12" fmla="*/ 443650 h 443649"/>
                  <a:gd name="connsiteX13" fmla="*/ 0 w 332546"/>
                  <a:gd name="connsiteY13"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46" h="443649">
                    <a:moveTo>
                      <a:pt x="0" y="0"/>
                    </a:moveTo>
                    <a:lnTo>
                      <a:pt x="124622" y="0"/>
                    </a:lnTo>
                    <a:lnTo>
                      <a:pt x="124622" y="148960"/>
                    </a:lnTo>
                    <a:cubicBezTo>
                      <a:pt x="157943" y="123025"/>
                      <a:pt x="181268" y="113715"/>
                      <a:pt x="215922" y="113715"/>
                    </a:cubicBezTo>
                    <a:cubicBezTo>
                      <a:pt x="250576" y="113715"/>
                      <a:pt x="279233" y="124355"/>
                      <a:pt x="300558" y="144305"/>
                    </a:cubicBezTo>
                    <a:cubicBezTo>
                      <a:pt x="323217" y="166250"/>
                      <a:pt x="332547" y="191520"/>
                      <a:pt x="332547" y="232085"/>
                    </a:cubicBezTo>
                    <a:lnTo>
                      <a:pt x="332547" y="443555"/>
                    </a:lnTo>
                    <a:lnTo>
                      <a:pt x="207925" y="443555"/>
                    </a:lnTo>
                    <a:lnTo>
                      <a:pt x="207925" y="266095"/>
                    </a:lnTo>
                    <a:cubicBezTo>
                      <a:pt x="207925" y="230850"/>
                      <a:pt x="194597" y="213560"/>
                      <a:pt x="167939" y="213560"/>
                    </a:cubicBezTo>
                    <a:cubicBezTo>
                      <a:pt x="139950" y="213560"/>
                      <a:pt x="124622" y="232180"/>
                      <a:pt x="124622" y="266095"/>
                    </a:cubicBezTo>
                    <a:lnTo>
                      <a:pt x="124622" y="443650"/>
                    </a:lnTo>
                    <a:lnTo>
                      <a:pt x="0" y="443650"/>
                    </a:lnTo>
                    <a:lnTo>
                      <a:pt x="0"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2" name="Freeform 161">
                <a:extLst>
                  <a:ext uri="{FF2B5EF4-FFF2-40B4-BE49-F238E27FC236}">
                    <a16:creationId xmlns:a16="http://schemas.microsoft.com/office/drawing/2014/main" id="{5108BDA0-474B-3D4D-8007-9E21F7905944}"/>
                  </a:ext>
                </a:extLst>
              </p:cNvPr>
              <p:cNvSpPr/>
              <p:nvPr/>
            </p:nvSpPr>
            <p:spPr>
              <a:xfrm>
                <a:off x="8946571"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4"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3" name="Freeform 162">
                <a:extLst>
                  <a:ext uri="{FF2B5EF4-FFF2-40B4-BE49-F238E27FC236}">
                    <a16:creationId xmlns:a16="http://schemas.microsoft.com/office/drawing/2014/main" id="{B3AFD6A3-8ACB-1E4F-BF4D-9F7902D64A74}"/>
                  </a:ext>
                </a:extLst>
              </p:cNvPr>
              <p:cNvSpPr/>
              <p:nvPr/>
            </p:nvSpPr>
            <p:spPr>
              <a:xfrm>
                <a:off x="9316438"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4" name="Freeform 163">
                <a:extLst>
                  <a:ext uri="{FF2B5EF4-FFF2-40B4-BE49-F238E27FC236}">
                    <a16:creationId xmlns:a16="http://schemas.microsoft.com/office/drawing/2014/main" id="{4A8BDD28-90AB-C84B-BA26-151EC8A6CE4A}"/>
                  </a:ext>
                </a:extLst>
              </p:cNvPr>
              <p:cNvSpPr/>
              <p:nvPr/>
            </p:nvSpPr>
            <p:spPr>
              <a:xfrm>
                <a:off x="9571013"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2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2"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5" name="Freeform 164">
                <a:extLst>
                  <a:ext uri="{FF2B5EF4-FFF2-40B4-BE49-F238E27FC236}">
                    <a16:creationId xmlns:a16="http://schemas.microsoft.com/office/drawing/2014/main" id="{42127376-DDEA-6B46-BEFB-65F62CC19985}"/>
                  </a:ext>
                </a:extLst>
              </p:cNvPr>
              <p:cNvSpPr/>
              <p:nvPr/>
            </p:nvSpPr>
            <p:spPr>
              <a:xfrm>
                <a:off x="9934882" y="7862820"/>
                <a:ext cx="355205" cy="321194"/>
              </a:xfrm>
              <a:custGeom>
                <a:avLst/>
                <a:gdLst>
                  <a:gd name="connsiteX0" fmla="*/ 109294 w 355205"/>
                  <a:gd name="connsiteY0" fmla="*/ 321195 h 321194"/>
                  <a:gd name="connsiteX1" fmla="*/ 0 w 355205"/>
                  <a:gd name="connsiteY1" fmla="*/ 0 h 321194"/>
                  <a:gd name="connsiteX2" fmla="*/ 123289 w 355205"/>
                  <a:gd name="connsiteY2" fmla="*/ 0 h 321194"/>
                  <a:gd name="connsiteX3" fmla="*/ 163275 w 355205"/>
                  <a:gd name="connsiteY3" fmla="*/ 131670 h 321194"/>
                  <a:gd name="connsiteX4" fmla="*/ 177269 w 355205"/>
                  <a:gd name="connsiteY4" fmla="*/ 185535 h 321194"/>
                  <a:gd name="connsiteX5" fmla="*/ 190598 w 355205"/>
                  <a:gd name="connsiteY5" fmla="*/ 131670 h 321194"/>
                  <a:gd name="connsiteX6" fmla="*/ 229251 w 355205"/>
                  <a:gd name="connsiteY6" fmla="*/ 0 h 321194"/>
                  <a:gd name="connsiteX7" fmla="*/ 355205 w 355205"/>
                  <a:gd name="connsiteY7" fmla="*/ 0 h 321194"/>
                  <a:gd name="connsiteX8" fmla="*/ 246578 w 355205"/>
                  <a:gd name="connsiteY8" fmla="*/ 321195 h 321194"/>
                  <a:gd name="connsiteX9" fmla="*/ 109294 w 355205"/>
                  <a:gd name="connsiteY9" fmla="*/ 321195 h 3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05" h="321194">
                    <a:moveTo>
                      <a:pt x="109294" y="321195"/>
                    </a:moveTo>
                    <a:lnTo>
                      <a:pt x="0" y="0"/>
                    </a:lnTo>
                    <a:lnTo>
                      <a:pt x="123289" y="0"/>
                    </a:lnTo>
                    <a:lnTo>
                      <a:pt x="163275" y="131670"/>
                    </a:lnTo>
                    <a:cubicBezTo>
                      <a:pt x="169272" y="150290"/>
                      <a:pt x="173937" y="168910"/>
                      <a:pt x="177269" y="185535"/>
                    </a:cubicBezTo>
                    <a:cubicBezTo>
                      <a:pt x="180602" y="169575"/>
                      <a:pt x="184600" y="152285"/>
                      <a:pt x="190598" y="131670"/>
                    </a:cubicBezTo>
                    <a:lnTo>
                      <a:pt x="229251" y="0"/>
                    </a:lnTo>
                    <a:lnTo>
                      <a:pt x="355205" y="0"/>
                    </a:lnTo>
                    <a:lnTo>
                      <a:pt x="246578" y="321195"/>
                    </a:lnTo>
                    <a:lnTo>
                      <a:pt x="109294" y="32119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6" name="Freeform 165">
                <a:extLst>
                  <a:ext uri="{FF2B5EF4-FFF2-40B4-BE49-F238E27FC236}">
                    <a16:creationId xmlns:a16="http://schemas.microsoft.com/office/drawing/2014/main" id="{86BA4AC7-60AF-CE4F-8E1D-65BA0F761A56}"/>
                  </a:ext>
                </a:extLst>
              </p:cNvPr>
              <p:cNvSpPr/>
              <p:nvPr/>
            </p:nvSpPr>
            <p:spPr>
              <a:xfrm>
                <a:off x="10293419"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1"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7" name="Freeform 166">
                <a:extLst>
                  <a:ext uri="{FF2B5EF4-FFF2-40B4-BE49-F238E27FC236}">
                    <a16:creationId xmlns:a16="http://schemas.microsoft.com/office/drawing/2014/main" id="{68E05F70-1360-1744-A7EF-64243DD738FE}"/>
                  </a:ext>
                </a:extLst>
              </p:cNvPr>
              <p:cNvSpPr/>
              <p:nvPr/>
            </p:nvSpPr>
            <p:spPr>
              <a:xfrm>
                <a:off x="10697274" y="7854175"/>
                <a:ext cx="251909" cy="329839"/>
              </a:xfrm>
              <a:custGeom>
                <a:avLst/>
                <a:gdLst>
                  <a:gd name="connsiteX0" fmla="*/ 117958 w 251909"/>
                  <a:gd name="connsiteY0" fmla="*/ 8645 h 329839"/>
                  <a:gd name="connsiteX1" fmla="*/ 117958 w 251909"/>
                  <a:gd name="connsiteY1" fmla="*/ 53200 h 329839"/>
                  <a:gd name="connsiteX2" fmla="*/ 213256 w 251909"/>
                  <a:gd name="connsiteY2" fmla="*/ 0 h 329839"/>
                  <a:gd name="connsiteX3" fmla="*/ 251909 w 251909"/>
                  <a:gd name="connsiteY3" fmla="*/ 6650 h 329839"/>
                  <a:gd name="connsiteX4" fmla="*/ 251909 w 251909"/>
                  <a:gd name="connsiteY4" fmla="*/ 117705 h 329839"/>
                  <a:gd name="connsiteX5" fmla="*/ 201927 w 251909"/>
                  <a:gd name="connsiteY5" fmla="*/ 106400 h 329839"/>
                  <a:gd name="connsiteX6" fmla="*/ 124622 w 251909"/>
                  <a:gd name="connsiteY6" fmla="*/ 183540 h 329839"/>
                  <a:gd name="connsiteX7" fmla="*/ 124622 w 251909"/>
                  <a:gd name="connsiteY7" fmla="*/ 329840 h 329839"/>
                  <a:gd name="connsiteX8" fmla="*/ 0 w 251909"/>
                  <a:gd name="connsiteY8" fmla="*/ 329840 h 329839"/>
                  <a:gd name="connsiteX9" fmla="*/ 0 w 251909"/>
                  <a:gd name="connsiteY9" fmla="*/ 8645 h 329839"/>
                  <a:gd name="connsiteX10" fmla="*/ 117958 w 251909"/>
                  <a:gd name="connsiteY10" fmla="*/ 8645 h 32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39">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8" name="Freeform 167">
                <a:extLst>
                  <a:ext uri="{FF2B5EF4-FFF2-40B4-BE49-F238E27FC236}">
                    <a16:creationId xmlns:a16="http://schemas.microsoft.com/office/drawing/2014/main" id="{4965FB92-38D9-034B-BEB7-7787197607CA}"/>
                  </a:ext>
                </a:extLst>
              </p:cNvPr>
              <p:cNvSpPr/>
              <p:nvPr/>
            </p:nvSpPr>
            <p:spPr>
              <a:xfrm>
                <a:off x="11179005" y="7740365"/>
                <a:ext cx="137950" cy="443555"/>
              </a:xfrm>
              <a:custGeom>
                <a:avLst/>
                <a:gdLst>
                  <a:gd name="connsiteX0" fmla="*/ 0 w 137950"/>
                  <a:gd name="connsiteY0" fmla="*/ 0 h 443555"/>
                  <a:gd name="connsiteX1" fmla="*/ 137950 w 137950"/>
                  <a:gd name="connsiteY1" fmla="*/ 0 h 443555"/>
                  <a:gd name="connsiteX2" fmla="*/ 137950 w 137950"/>
                  <a:gd name="connsiteY2" fmla="*/ 443555 h 443555"/>
                  <a:gd name="connsiteX3" fmla="*/ 0 w 137950"/>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37950" h="443555">
                    <a:moveTo>
                      <a:pt x="0" y="0"/>
                    </a:moveTo>
                    <a:lnTo>
                      <a:pt x="137950" y="0"/>
                    </a:lnTo>
                    <a:lnTo>
                      <a:pt x="137950"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69" name="Freeform 168">
                <a:extLst>
                  <a:ext uri="{FF2B5EF4-FFF2-40B4-BE49-F238E27FC236}">
                    <a16:creationId xmlns:a16="http://schemas.microsoft.com/office/drawing/2014/main" id="{2BF2D4A9-1A45-7F49-90BC-01B53441B4F6}"/>
                  </a:ext>
                </a:extLst>
              </p:cNvPr>
              <p:cNvSpPr/>
              <p:nvPr/>
            </p:nvSpPr>
            <p:spPr>
              <a:xfrm>
                <a:off x="11350372"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0" name="Freeform 169">
                <a:extLst>
                  <a:ext uri="{FF2B5EF4-FFF2-40B4-BE49-F238E27FC236}">
                    <a16:creationId xmlns:a16="http://schemas.microsoft.com/office/drawing/2014/main" id="{CA9A1ED9-DBD6-9145-8A45-CD25477DE42F}"/>
                  </a:ext>
                </a:extLst>
              </p:cNvPr>
              <p:cNvSpPr/>
              <p:nvPr/>
            </p:nvSpPr>
            <p:spPr>
              <a:xfrm>
                <a:off x="11767459" y="7740364"/>
                <a:ext cx="392620" cy="443649"/>
              </a:xfrm>
              <a:custGeom>
                <a:avLst/>
                <a:gdLst>
                  <a:gd name="connsiteX0" fmla="*/ 265238 w 392620"/>
                  <a:gd name="connsiteY0" fmla="*/ 443650 h 443649"/>
                  <a:gd name="connsiteX1" fmla="*/ 127287 w 392620"/>
                  <a:gd name="connsiteY1" fmla="*/ 443650 h 443649"/>
                  <a:gd name="connsiteX2" fmla="*/ 127287 w 392620"/>
                  <a:gd name="connsiteY2" fmla="*/ 117705 h 443649"/>
                  <a:gd name="connsiteX3" fmla="*/ 0 w 392620"/>
                  <a:gd name="connsiteY3" fmla="*/ 117705 h 443649"/>
                  <a:gd name="connsiteX4" fmla="*/ 0 w 392620"/>
                  <a:gd name="connsiteY4" fmla="*/ 0 h 443649"/>
                  <a:gd name="connsiteX5" fmla="*/ 392620 w 392620"/>
                  <a:gd name="connsiteY5" fmla="*/ 0 h 443649"/>
                  <a:gd name="connsiteX6" fmla="*/ 392620 w 392620"/>
                  <a:gd name="connsiteY6" fmla="*/ 117705 h 443649"/>
                  <a:gd name="connsiteX7" fmla="*/ 265238 w 392620"/>
                  <a:gd name="connsiteY7" fmla="*/ 11770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620" h="443649">
                    <a:moveTo>
                      <a:pt x="265238" y="443650"/>
                    </a:moveTo>
                    <a:lnTo>
                      <a:pt x="127287" y="443650"/>
                    </a:lnTo>
                    <a:lnTo>
                      <a:pt x="127287" y="117705"/>
                    </a:lnTo>
                    <a:lnTo>
                      <a:pt x="0" y="117705"/>
                    </a:lnTo>
                    <a:lnTo>
                      <a:pt x="0" y="0"/>
                    </a:lnTo>
                    <a:lnTo>
                      <a:pt x="392620" y="0"/>
                    </a:lnTo>
                    <a:lnTo>
                      <a:pt x="392620" y="117705"/>
                    </a:lnTo>
                    <a:lnTo>
                      <a:pt x="265238" y="11770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1" name="Freeform 170">
                <a:extLst>
                  <a:ext uri="{FF2B5EF4-FFF2-40B4-BE49-F238E27FC236}">
                    <a16:creationId xmlns:a16="http://schemas.microsoft.com/office/drawing/2014/main" id="{20974628-08B7-A24C-8116-A5312D2B436C}"/>
                  </a:ext>
                </a:extLst>
              </p:cNvPr>
              <p:cNvSpPr/>
              <p:nvPr/>
            </p:nvSpPr>
            <p:spPr>
              <a:xfrm>
                <a:off x="12133327"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2" name="Freeform 171">
                <a:extLst>
                  <a:ext uri="{FF2B5EF4-FFF2-40B4-BE49-F238E27FC236}">
                    <a16:creationId xmlns:a16="http://schemas.microsoft.com/office/drawing/2014/main" id="{1C2AB3D8-1B7E-B948-B597-336A5727560C}"/>
                  </a:ext>
                </a:extLst>
              </p:cNvPr>
              <p:cNvSpPr/>
              <p:nvPr/>
            </p:nvSpPr>
            <p:spPr>
              <a:xfrm>
                <a:off x="12519855" y="7740364"/>
                <a:ext cx="361298" cy="443649"/>
              </a:xfrm>
              <a:custGeom>
                <a:avLst/>
                <a:gdLst>
                  <a:gd name="connsiteX0" fmla="*/ 361298 w 361298"/>
                  <a:gd name="connsiteY0" fmla="*/ 443650 h 443649"/>
                  <a:gd name="connsiteX1" fmla="*/ 213923 w 361298"/>
                  <a:gd name="connsiteY1" fmla="*/ 443650 h 443649"/>
                  <a:gd name="connsiteX2" fmla="*/ 147947 w 361298"/>
                  <a:gd name="connsiteY2" fmla="*/ 330600 h 443649"/>
                  <a:gd name="connsiteX3" fmla="*/ 124622 w 361298"/>
                  <a:gd name="connsiteY3" fmla="*/ 354540 h 443649"/>
                  <a:gd name="connsiteX4" fmla="*/ 124622 w 361298"/>
                  <a:gd name="connsiteY4" fmla="*/ 443650 h 443649"/>
                  <a:gd name="connsiteX5" fmla="*/ 0 w 361298"/>
                  <a:gd name="connsiteY5" fmla="*/ 443650 h 443649"/>
                  <a:gd name="connsiteX6" fmla="*/ 0 w 361298"/>
                  <a:gd name="connsiteY6" fmla="*/ 0 h 443649"/>
                  <a:gd name="connsiteX7" fmla="*/ 124622 w 361298"/>
                  <a:gd name="connsiteY7" fmla="*/ 0 h 443649"/>
                  <a:gd name="connsiteX8" fmla="*/ 124622 w 361298"/>
                  <a:gd name="connsiteY8" fmla="*/ 216220 h 443649"/>
                  <a:gd name="connsiteX9" fmla="*/ 205259 w 361298"/>
                  <a:gd name="connsiteY9" fmla="*/ 122360 h 443649"/>
                  <a:gd name="connsiteX10" fmla="*/ 349969 w 361298"/>
                  <a:gd name="connsiteY10" fmla="*/ 122360 h 443649"/>
                  <a:gd name="connsiteX11" fmla="*/ 228584 w 361298"/>
                  <a:gd name="connsiteY11" fmla="*/ 24671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298" h="443649">
                    <a:moveTo>
                      <a:pt x="361298" y="443650"/>
                    </a:moveTo>
                    <a:lnTo>
                      <a:pt x="213923" y="443650"/>
                    </a:lnTo>
                    <a:lnTo>
                      <a:pt x="147947" y="330600"/>
                    </a:lnTo>
                    <a:lnTo>
                      <a:pt x="124622" y="354540"/>
                    </a:lnTo>
                    <a:lnTo>
                      <a:pt x="124622" y="443650"/>
                    </a:lnTo>
                    <a:lnTo>
                      <a:pt x="0" y="443650"/>
                    </a:lnTo>
                    <a:lnTo>
                      <a:pt x="0" y="0"/>
                    </a:lnTo>
                    <a:lnTo>
                      <a:pt x="124622" y="0"/>
                    </a:lnTo>
                    <a:lnTo>
                      <a:pt x="124622" y="216220"/>
                    </a:lnTo>
                    <a:lnTo>
                      <a:pt x="205259" y="122360"/>
                    </a:lnTo>
                    <a:lnTo>
                      <a:pt x="349969" y="122360"/>
                    </a:lnTo>
                    <a:lnTo>
                      <a:pt x="228584" y="24671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3" name="Freeform 172">
                <a:extLst>
                  <a:ext uri="{FF2B5EF4-FFF2-40B4-BE49-F238E27FC236}">
                    <a16:creationId xmlns:a16="http://schemas.microsoft.com/office/drawing/2014/main" id="{B91B8ADE-00CD-9A4A-A1C1-3E83371BB9A0}"/>
                  </a:ext>
                </a:extLst>
              </p:cNvPr>
              <p:cNvSpPr/>
              <p:nvPr/>
            </p:nvSpPr>
            <p:spPr>
              <a:xfrm>
                <a:off x="12859732"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8 w 359870"/>
                  <a:gd name="connsiteY10" fmla="*/ 132335 h 338484"/>
                  <a:gd name="connsiteX11" fmla="*/ 179268 w 359870"/>
                  <a:gd name="connsiteY11" fmla="*/ 81795 h 338484"/>
                  <a:gd name="connsiteX12" fmla="*/ 123955 w 359870"/>
                  <a:gd name="connsiteY12" fmla="*/ 132335 h 338484"/>
                  <a:gd name="connsiteX13" fmla="*/ 235248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1"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4" name="Freeform 173">
                <a:extLst>
                  <a:ext uri="{FF2B5EF4-FFF2-40B4-BE49-F238E27FC236}">
                    <a16:creationId xmlns:a16="http://schemas.microsoft.com/office/drawing/2014/main" id="{547C2D1B-8097-D342-B722-251B8080C4F1}"/>
                  </a:ext>
                </a:extLst>
              </p:cNvPr>
              <p:cNvSpPr/>
              <p:nvPr/>
            </p:nvSpPr>
            <p:spPr>
              <a:xfrm>
                <a:off x="13245593" y="7854175"/>
                <a:ext cx="329214" cy="338484"/>
              </a:xfrm>
              <a:custGeom>
                <a:avLst/>
                <a:gdLst>
                  <a:gd name="connsiteX0" fmla="*/ 201927 w 329214"/>
                  <a:gd name="connsiteY0" fmla="*/ 103075 h 338484"/>
                  <a:gd name="connsiteX1" fmla="*/ 161275 w 329214"/>
                  <a:gd name="connsiteY1" fmla="*/ 73150 h 338484"/>
                  <a:gd name="connsiteX2" fmla="*/ 128620 w 329214"/>
                  <a:gd name="connsiteY2" fmla="*/ 91105 h 338484"/>
                  <a:gd name="connsiteX3" fmla="*/ 159942 w 329214"/>
                  <a:gd name="connsiteY3" fmla="*/ 113050 h 338484"/>
                  <a:gd name="connsiteX4" fmla="*/ 217255 w 329214"/>
                  <a:gd name="connsiteY4" fmla="*/ 124355 h 338484"/>
                  <a:gd name="connsiteX5" fmla="*/ 296560 w 329214"/>
                  <a:gd name="connsiteY5" fmla="*/ 154280 h 338484"/>
                  <a:gd name="connsiteX6" fmla="*/ 329215 w 329214"/>
                  <a:gd name="connsiteY6" fmla="*/ 225435 h 338484"/>
                  <a:gd name="connsiteX7" fmla="*/ 164608 w 329214"/>
                  <a:gd name="connsiteY7" fmla="*/ 338485 h 338484"/>
                  <a:gd name="connsiteX8" fmla="*/ 29989 w 329214"/>
                  <a:gd name="connsiteY8" fmla="*/ 292600 h 338484"/>
                  <a:gd name="connsiteX9" fmla="*/ 0 w 329214"/>
                  <a:gd name="connsiteY9" fmla="*/ 220115 h 338484"/>
                  <a:gd name="connsiteX10" fmla="*/ 119291 w 329214"/>
                  <a:gd name="connsiteY10" fmla="*/ 220115 h 338484"/>
                  <a:gd name="connsiteX11" fmla="*/ 167273 w 329214"/>
                  <a:gd name="connsiteY11" fmla="*/ 258685 h 338484"/>
                  <a:gd name="connsiteX12" fmla="*/ 204593 w 329214"/>
                  <a:gd name="connsiteY12" fmla="*/ 235410 h 338484"/>
                  <a:gd name="connsiteX13" fmla="*/ 175271 w 329214"/>
                  <a:gd name="connsiteY13" fmla="*/ 213465 h 338484"/>
                  <a:gd name="connsiteX14" fmla="*/ 102630 w 329214"/>
                  <a:gd name="connsiteY14" fmla="*/ 196840 h 338484"/>
                  <a:gd name="connsiteX15" fmla="*/ 6664 w 329214"/>
                  <a:gd name="connsiteY15" fmla="*/ 103075 h 338484"/>
                  <a:gd name="connsiteX16" fmla="*/ 165940 w 329214"/>
                  <a:gd name="connsiteY16" fmla="*/ 0 h 338484"/>
                  <a:gd name="connsiteX17" fmla="*/ 317886 w 329214"/>
                  <a:gd name="connsiteY17" fmla="*/ 103075 h 338484"/>
                  <a:gd name="connsiteX18" fmla="*/ 201927 w 329214"/>
                  <a:gd name="connsiteY18" fmla="*/ 10307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4">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5" name="Freeform 174">
                <a:extLst>
                  <a:ext uri="{FF2B5EF4-FFF2-40B4-BE49-F238E27FC236}">
                    <a16:creationId xmlns:a16="http://schemas.microsoft.com/office/drawing/2014/main" id="{AFF90310-EC21-AD46-BD0A-4E3CC755C872}"/>
                  </a:ext>
                </a:extLst>
              </p:cNvPr>
              <p:cNvSpPr/>
              <p:nvPr/>
            </p:nvSpPr>
            <p:spPr>
              <a:xfrm>
                <a:off x="13765406" y="7766965"/>
                <a:ext cx="229916" cy="421609"/>
              </a:xfrm>
              <a:custGeom>
                <a:avLst/>
                <a:gdLst>
                  <a:gd name="connsiteX0" fmla="*/ 229917 w 229916"/>
                  <a:gd name="connsiteY0" fmla="*/ 173565 h 421609"/>
                  <a:gd name="connsiteX1" fmla="*/ 171938 w 229916"/>
                  <a:gd name="connsiteY1" fmla="*/ 173565 h 421609"/>
                  <a:gd name="connsiteX2" fmla="*/ 171938 w 229916"/>
                  <a:gd name="connsiteY2" fmla="*/ 292600 h 421609"/>
                  <a:gd name="connsiteX3" fmla="*/ 205259 w 229916"/>
                  <a:gd name="connsiteY3" fmla="*/ 331170 h 421609"/>
                  <a:gd name="connsiteX4" fmla="*/ 229917 w 229916"/>
                  <a:gd name="connsiteY4" fmla="*/ 327180 h 421609"/>
                  <a:gd name="connsiteX5" fmla="*/ 229917 w 229916"/>
                  <a:gd name="connsiteY5" fmla="*/ 411635 h 421609"/>
                  <a:gd name="connsiteX6" fmla="*/ 161275 w 229916"/>
                  <a:gd name="connsiteY6" fmla="*/ 421610 h 421609"/>
                  <a:gd name="connsiteX7" fmla="*/ 74639 w 229916"/>
                  <a:gd name="connsiteY7" fmla="*/ 389025 h 421609"/>
                  <a:gd name="connsiteX8" fmla="*/ 47316 w 229916"/>
                  <a:gd name="connsiteY8" fmla="*/ 297255 h 421609"/>
                  <a:gd name="connsiteX9" fmla="*/ 47316 w 229916"/>
                  <a:gd name="connsiteY9" fmla="*/ 173565 h 421609"/>
                  <a:gd name="connsiteX10" fmla="*/ 0 w 229916"/>
                  <a:gd name="connsiteY10" fmla="*/ 173565 h 421609"/>
                  <a:gd name="connsiteX11" fmla="*/ 0 w 229916"/>
                  <a:gd name="connsiteY11" fmla="*/ 95760 h 421609"/>
                  <a:gd name="connsiteX12" fmla="*/ 47316 w 229916"/>
                  <a:gd name="connsiteY12" fmla="*/ 95760 h 421609"/>
                  <a:gd name="connsiteX13" fmla="*/ 47316 w 229916"/>
                  <a:gd name="connsiteY13" fmla="*/ 0 h 421609"/>
                  <a:gd name="connsiteX14" fmla="*/ 171938 w 229916"/>
                  <a:gd name="connsiteY14" fmla="*/ 0 h 421609"/>
                  <a:gd name="connsiteX15" fmla="*/ 171938 w 229916"/>
                  <a:gd name="connsiteY15" fmla="*/ 95760 h 421609"/>
                  <a:gd name="connsiteX16" fmla="*/ 229917 w 229916"/>
                  <a:gd name="connsiteY16" fmla="*/ 95760 h 421609"/>
                  <a:gd name="connsiteX17" fmla="*/ 229917 w 229916"/>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6"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1" y="421610"/>
                      <a:pt x="95299" y="410305"/>
                      <a:pt x="74639"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76" name="Freeform 175">
                <a:extLst>
                  <a:ext uri="{FF2B5EF4-FFF2-40B4-BE49-F238E27FC236}">
                    <a16:creationId xmlns:a16="http://schemas.microsoft.com/office/drawing/2014/main" id="{F84FBF12-398A-C042-8076-29114C0A4E73}"/>
                  </a:ext>
                </a:extLst>
              </p:cNvPr>
              <p:cNvSpPr/>
              <p:nvPr/>
            </p:nvSpPr>
            <p:spPr>
              <a:xfrm>
                <a:off x="14021980" y="7854175"/>
                <a:ext cx="360537" cy="338484"/>
              </a:xfrm>
              <a:custGeom>
                <a:avLst/>
                <a:gdLst>
                  <a:gd name="connsiteX0" fmla="*/ 360537 w 360537"/>
                  <a:gd name="connsiteY0" fmla="*/ 171570 h 338484"/>
                  <a:gd name="connsiteX1" fmla="*/ 179935 w 360537"/>
                  <a:gd name="connsiteY1" fmla="*/ 338485 h 338484"/>
                  <a:gd name="connsiteX2" fmla="*/ 0 w 360537"/>
                  <a:gd name="connsiteY2" fmla="*/ 168910 h 338484"/>
                  <a:gd name="connsiteX3" fmla="*/ 179935 w 360537"/>
                  <a:gd name="connsiteY3" fmla="*/ 0 h 338484"/>
                  <a:gd name="connsiteX4" fmla="*/ 360537 w 360537"/>
                  <a:gd name="connsiteY4" fmla="*/ 171570 h 338484"/>
                  <a:gd name="connsiteX5" fmla="*/ 124622 w 360537"/>
                  <a:gd name="connsiteY5" fmla="*/ 168910 h 338484"/>
                  <a:gd name="connsiteX6" fmla="*/ 180602 w 360537"/>
                  <a:gd name="connsiteY6" fmla="*/ 250040 h 338484"/>
                  <a:gd name="connsiteX7" fmla="*/ 235915 w 360537"/>
                  <a:gd name="connsiteY7" fmla="*/ 170240 h 338484"/>
                  <a:gd name="connsiteX8" fmla="*/ 179935 w 360537"/>
                  <a:gd name="connsiteY8" fmla="*/ 88445 h 338484"/>
                  <a:gd name="connsiteX9" fmla="*/ 124622 w 360537"/>
                  <a:gd name="connsiteY9" fmla="*/ 168910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537" h="338484">
                    <a:moveTo>
                      <a:pt x="360537" y="171570"/>
                    </a:moveTo>
                    <a:cubicBezTo>
                      <a:pt x="360537" y="266000"/>
                      <a:pt x="282565" y="338485"/>
                      <a:pt x="179935" y="338485"/>
                    </a:cubicBezTo>
                    <a:cubicBezTo>
                      <a:pt x="77306" y="338485"/>
                      <a:pt x="0" y="266000"/>
                      <a:pt x="0" y="168910"/>
                    </a:cubicBezTo>
                    <a:cubicBezTo>
                      <a:pt x="0" y="72485"/>
                      <a:pt x="77306" y="0"/>
                      <a:pt x="179935" y="0"/>
                    </a:cubicBezTo>
                    <a:cubicBezTo>
                      <a:pt x="284564" y="0"/>
                      <a:pt x="360537" y="71820"/>
                      <a:pt x="360537" y="171570"/>
                    </a:cubicBezTo>
                    <a:moveTo>
                      <a:pt x="124622" y="168910"/>
                    </a:moveTo>
                    <a:cubicBezTo>
                      <a:pt x="124622" y="222110"/>
                      <a:pt x="143949" y="250040"/>
                      <a:pt x="180602" y="250040"/>
                    </a:cubicBezTo>
                    <a:cubicBezTo>
                      <a:pt x="215923" y="250040"/>
                      <a:pt x="235915" y="222110"/>
                      <a:pt x="235915" y="170240"/>
                    </a:cubicBezTo>
                    <a:cubicBezTo>
                      <a:pt x="235915" y="116375"/>
                      <a:pt x="216589" y="88445"/>
                      <a:pt x="179935" y="88445"/>
                    </a:cubicBezTo>
                    <a:cubicBezTo>
                      <a:pt x="143949" y="88445"/>
                      <a:pt x="124622" y="116375"/>
                      <a:pt x="124622" y="16891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nvGrpSpPr>
            <p:cNvPr id="141" name="Group 140">
              <a:extLst>
                <a:ext uri="{FF2B5EF4-FFF2-40B4-BE49-F238E27FC236}">
                  <a16:creationId xmlns:a16="http://schemas.microsoft.com/office/drawing/2014/main" id="{C24E46A7-2E51-CC43-AC91-777801CDC0AF}"/>
                </a:ext>
              </a:extLst>
            </p:cNvPr>
            <p:cNvGrpSpPr/>
            <p:nvPr userDrawn="1"/>
          </p:nvGrpSpPr>
          <p:grpSpPr>
            <a:xfrm>
              <a:off x="7989584" y="8328986"/>
              <a:ext cx="6366276" cy="463504"/>
              <a:chOff x="7989583" y="8328985"/>
              <a:chExt cx="6366277" cy="463505"/>
            </a:xfrm>
            <a:solidFill>
              <a:schemeClr val="accent1"/>
            </a:solidFill>
          </p:grpSpPr>
          <p:sp>
            <p:nvSpPr>
              <p:cNvPr id="142" name="Freeform 141">
                <a:extLst>
                  <a:ext uri="{FF2B5EF4-FFF2-40B4-BE49-F238E27FC236}">
                    <a16:creationId xmlns:a16="http://schemas.microsoft.com/office/drawing/2014/main" id="{5E8CE259-EEE9-6441-A7CF-CBA1C6A7B239}"/>
                  </a:ext>
                </a:extLst>
              </p:cNvPr>
              <p:cNvSpPr/>
              <p:nvPr/>
            </p:nvSpPr>
            <p:spPr>
              <a:xfrm>
                <a:off x="7989583" y="8338865"/>
                <a:ext cx="401188" cy="443554"/>
              </a:xfrm>
              <a:custGeom>
                <a:avLst/>
                <a:gdLst>
                  <a:gd name="connsiteX0" fmla="*/ 0 w 401188"/>
                  <a:gd name="connsiteY0" fmla="*/ 0 h 443554"/>
                  <a:gd name="connsiteX1" fmla="*/ 229917 w 401188"/>
                  <a:gd name="connsiteY1" fmla="*/ 0 h 443554"/>
                  <a:gd name="connsiteX2" fmla="*/ 345875 w 401188"/>
                  <a:gd name="connsiteY2" fmla="*/ 32585 h 443554"/>
                  <a:gd name="connsiteX3" fmla="*/ 379863 w 401188"/>
                  <a:gd name="connsiteY3" fmla="*/ 115710 h 443554"/>
                  <a:gd name="connsiteX4" fmla="*/ 329881 w 401188"/>
                  <a:gd name="connsiteY4" fmla="*/ 201495 h 443554"/>
                  <a:gd name="connsiteX5" fmla="*/ 401189 w 401188"/>
                  <a:gd name="connsiteY5" fmla="*/ 312550 h 443554"/>
                  <a:gd name="connsiteX6" fmla="*/ 362536 w 401188"/>
                  <a:gd name="connsiteY6" fmla="*/ 410305 h 443554"/>
                  <a:gd name="connsiteX7" fmla="*/ 245911 w 401188"/>
                  <a:gd name="connsiteY7" fmla="*/ 443555 h 443554"/>
                  <a:gd name="connsiteX8" fmla="*/ 0 w 401188"/>
                  <a:gd name="connsiteY8" fmla="*/ 443555 h 443554"/>
                  <a:gd name="connsiteX9" fmla="*/ 0 w 401188"/>
                  <a:gd name="connsiteY9" fmla="*/ 0 h 443554"/>
                  <a:gd name="connsiteX10" fmla="*/ 215922 w 401188"/>
                  <a:gd name="connsiteY10" fmla="*/ 167580 h 443554"/>
                  <a:gd name="connsiteX11" fmla="*/ 255241 w 401188"/>
                  <a:gd name="connsiteY11" fmla="*/ 134330 h 443554"/>
                  <a:gd name="connsiteX12" fmla="*/ 215922 w 401188"/>
                  <a:gd name="connsiteY12" fmla="*/ 101745 h 443554"/>
                  <a:gd name="connsiteX13" fmla="*/ 133285 w 401188"/>
                  <a:gd name="connsiteY13" fmla="*/ 101745 h 443554"/>
                  <a:gd name="connsiteX14" fmla="*/ 133285 w 401188"/>
                  <a:gd name="connsiteY14" fmla="*/ 167580 h 443554"/>
                  <a:gd name="connsiteX15" fmla="*/ 215922 w 401188"/>
                  <a:gd name="connsiteY15" fmla="*/ 167580 h 443554"/>
                  <a:gd name="connsiteX16" fmla="*/ 218588 w 401188"/>
                  <a:gd name="connsiteY16" fmla="*/ 335255 h 443554"/>
                  <a:gd name="connsiteX17" fmla="*/ 272568 w 401188"/>
                  <a:gd name="connsiteY17" fmla="*/ 296020 h 443554"/>
                  <a:gd name="connsiteX18" fmla="*/ 218588 w 401188"/>
                  <a:gd name="connsiteY18" fmla="*/ 257450 h 443554"/>
                  <a:gd name="connsiteX19" fmla="*/ 133285 w 401188"/>
                  <a:gd name="connsiteY19" fmla="*/ 257450 h 443554"/>
                  <a:gd name="connsiteX20" fmla="*/ 133285 w 401188"/>
                  <a:gd name="connsiteY20" fmla="*/ 335255 h 443554"/>
                  <a:gd name="connsiteX21" fmla="*/ 218588 w 401188"/>
                  <a:gd name="connsiteY21" fmla="*/ 335255 h 4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188" h="443554">
                    <a:moveTo>
                      <a:pt x="0" y="0"/>
                    </a:moveTo>
                    <a:lnTo>
                      <a:pt x="229917" y="0"/>
                    </a:lnTo>
                    <a:cubicBezTo>
                      <a:pt x="290562" y="0"/>
                      <a:pt x="319885" y="8645"/>
                      <a:pt x="345875" y="32585"/>
                    </a:cubicBezTo>
                    <a:cubicBezTo>
                      <a:pt x="367867" y="53200"/>
                      <a:pt x="379863" y="82460"/>
                      <a:pt x="379863" y="115710"/>
                    </a:cubicBezTo>
                    <a:cubicBezTo>
                      <a:pt x="379863" y="152950"/>
                      <a:pt x="365202" y="178885"/>
                      <a:pt x="329881" y="201495"/>
                    </a:cubicBezTo>
                    <a:cubicBezTo>
                      <a:pt x="377197" y="222775"/>
                      <a:pt x="401189" y="260015"/>
                      <a:pt x="401189" y="312550"/>
                    </a:cubicBezTo>
                    <a:cubicBezTo>
                      <a:pt x="401189" y="350455"/>
                      <a:pt x="387194" y="387030"/>
                      <a:pt x="362536" y="410305"/>
                    </a:cubicBezTo>
                    <a:cubicBezTo>
                      <a:pt x="337212" y="435575"/>
                      <a:pt x="309222" y="443555"/>
                      <a:pt x="245911" y="443555"/>
                    </a:cubicBezTo>
                    <a:lnTo>
                      <a:pt x="0" y="443555"/>
                    </a:lnTo>
                    <a:lnTo>
                      <a:pt x="0" y="0"/>
                    </a:lnTo>
                    <a:close/>
                    <a:moveTo>
                      <a:pt x="215922" y="167580"/>
                    </a:moveTo>
                    <a:cubicBezTo>
                      <a:pt x="241913" y="167580"/>
                      <a:pt x="255241" y="156275"/>
                      <a:pt x="255241" y="134330"/>
                    </a:cubicBezTo>
                    <a:cubicBezTo>
                      <a:pt x="255241" y="113050"/>
                      <a:pt x="241913" y="101745"/>
                      <a:pt x="215922" y="101745"/>
                    </a:cubicBezTo>
                    <a:lnTo>
                      <a:pt x="133285" y="101745"/>
                    </a:lnTo>
                    <a:lnTo>
                      <a:pt x="133285" y="167580"/>
                    </a:lnTo>
                    <a:lnTo>
                      <a:pt x="215922" y="167580"/>
                    </a:lnTo>
                    <a:close/>
                    <a:moveTo>
                      <a:pt x="218588" y="335255"/>
                    </a:moveTo>
                    <a:cubicBezTo>
                      <a:pt x="254575" y="335255"/>
                      <a:pt x="272568" y="321955"/>
                      <a:pt x="272568" y="296020"/>
                    </a:cubicBezTo>
                    <a:cubicBezTo>
                      <a:pt x="272568" y="270750"/>
                      <a:pt x="254575" y="257450"/>
                      <a:pt x="218588" y="257450"/>
                    </a:cubicBezTo>
                    <a:lnTo>
                      <a:pt x="133285" y="257450"/>
                    </a:lnTo>
                    <a:lnTo>
                      <a:pt x="133285" y="335255"/>
                    </a:lnTo>
                    <a:lnTo>
                      <a:pt x="218588" y="3352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3" name="Freeform 142">
                <a:extLst>
                  <a:ext uri="{FF2B5EF4-FFF2-40B4-BE49-F238E27FC236}">
                    <a16:creationId xmlns:a16="http://schemas.microsoft.com/office/drawing/2014/main" id="{D4BF58C2-8712-084F-A75C-B29623077D71}"/>
                  </a:ext>
                </a:extLst>
              </p:cNvPr>
              <p:cNvSpPr/>
              <p:nvPr/>
            </p:nvSpPr>
            <p:spPr>
              <a:xfrm>
                <a:off x="8442753"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2 w 334546"/>
                  <a:gd name="connsiteY7" fmla="*/ 0 h 329935"/>
                  <a:gd name="connsiteX8" fmla="*/ 124622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6"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4" name="Freeform 143">
                <a:extLst>
                  <a:ext uri="{FF2B5EF4-FFF2-40B4-BE49-F238E27FC236}">
                    <a16:creationId xmlns:a16="http://schemas.microsoft.com/office/drawing/2014/main" id="{B8F4ABCB-628D-5040-8A60-C2C13C55DFCE}"/>
                  </a:ext>
                </a:extLst>
              </p:cNvPr>
              <p:cNvSpPr/>
              <p:nvPr/>
            </p:nvSpPr>
            <p:spPr>
              <a:xfrm>
                <a:off x="8829280" y="8338865"/>
                <a:ext cx="124621" cy="443649"/>
              </a:xfrm>
              <a:custGeom>
                <a:avLst/>
                <a:gdLst>
                  <a:gd name="connsiteX0" fmla="*/ 124622 w 124621"/>
                  <a:gd name="connsiteY0" fmla="*/ 88445 h 443649"/>
                  <a:gd name="connsiteX1" fmla="*/ 0 w 124621"/>
                  <a:gd name="connsiteY1" fmla="*/ 88445 h 443649"/>
                  <a:gd name="connsiteX2" fmla="*/ 0 w 124621"/>
                  <a:gd name="connsiteY2" fmla="*/ 0 h 443649"/>
                  <a:gd name="connsiteX3" fmla="*/ 124622 w 124621"/>
                  <a:gd name="connsiteY3" fmla="*/ 0 h 443649"/>
                  <a:gd name="connsiteX4" fmla="*/ 124622 w 124621"/>
                  <a:gd name="connsiteY4" fmla="*/ 88445 h 443649"/>
                  <a:gd name="connsiteX5" fmla="*/ 124622 w 124621"/>
                  <a:gd name="connsiteY5" fmla="*/ 443650 h 443649"/>
                  <a:gd name="connsiteX6" fmla="*/ 0 w 124621"/>
                  <a:gd name="connsiteY6" fmla="*/ 443650 h 443649"/>
                  <a:gd name="connsiteX7" fmla="*/ 0 w 124621"/>
                  <a:gd name="connsiteY7" fmla="*/ 122455 h 443649"/>
                  <a:gd name="connsiteX8" fmla="*/ 124622 w 124621"/>
                  <a:gd name="connsiteY8" fmla="*/ 122455 h 443649"/>
                  <a:gd name="connsiteX9" fmla="*/ 124622 w 124621"/>
                  <a:gd name="connsiteY9"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21" h="443649">
                    <a:moveTo>
                      <a:pt x="124622" y="88445"/>
                    </a:moveTo>
                    <a:lnTo>
                      <a:pt x="0" y="88445"/>
                    </a:lnTo>
                    <a:lnTo>
                      <a:pt x="0" y="0"/>
                    </a:lnTo>
                    <a:lnTo>
                      <a:pt x="124622" y="0"/>
                    </a:lnTo>
                    <a:lnTo>
                      <a:pt x="124622" y="88445"/>
                    </a:lnTo>
                    <a:close/>
                    <a:moveTo>
                      <a:pt x="124622" y="443650"/>
                    </a:moveTo>
                    <a:lnTo>
                      <a:pt x="0" y="443650"/>
                    </a:lnTo>
                    <a:lnTo>
                      <a:pt x="0" y="122455"/>
                    </a:lnTo>
                    <a:lnTo>
                      <a:pt x="124622" y="122455"/>
                    </a:lnTo>
                    <a:lnTo>
                      <a:pt x="124622"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5" name="Freeform 144">
                <a:extLst>
                  <a:ext uri="{FF2B5EF4-FFF2-40B4-BE49-F238E27FC236}">
                    <a16:creationId xmlns:a16="http://schemas.microsoft.com/office/drawing/2014/main" id="{A1FBED6C-4DB9-3A4C-95CF-57B645B1C98D}"/>
                  </a:ext>
                </a:extLst>
              </p:cNvPr>
              <p:cNvSpPr/>
              <p:nvPr/>
            </p:nvSpPr>
            <p:spPr>
              <a:xfrm>
                <a:off x="9005883" y="8338865"/>
                <a:ext cx="124621" cy="443555"/>
              </a:xfrm>
              <a:custGeom>
                <a:avLst/>
                <a:gdLst>
                  <a:gd name="connsiteX0" fmla="*/ 0 w 124621"/>
                  <a:gd name="connsiteY0" fmla="*/ 0 h 443555"/>
                  <a:gd name="connsiteX1" fmla="*/ 124622 w 124621"/>
                  <a:gd name="connsiteY1" fmla="*/ 0 h 443555"/>
                  <a:gd name="connsiteX2" fmla="*/ 124622 w 124621"/>
                  <a:gd name="connsiteY2" fmla="*/ 443555 h 443555"/>
                  <a:gd name="connsiteX3" fmla="*/ 0 w 124621"/>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24621" h="443555">
                    <a:moveTo>
                      <a:pt x="0" y="0"/>
                    </a:moveTo>
                    <a:lnTo>
                      <a:pt x="124622" y="0"/>
                    </a:lnTo>
                    <a:lnTo>
                      <a:pt x="124622"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6" name="Freeform 145">
                <a:extLst>
                  <a:ext uri="{FF2B5EF4-FFF2-40B4-BE49-F238E27FC236}">
                    <a16:creationId xmlns:a16="http://schemas.microsoft.com/office/drawing/2014/main" id="{3F37E938-8A35-1D48-B893-1BC7C3CBFD3B}"/>
                  </a:ext>
                </a:extLst>
              </p:cNvPr>
              <p:cNvSpPr/>
              <p:nvPr/>
            </p:nvSpPr>
            <p:spPr>
              <a:xfrm>
                <a:off x="9179820" y="8338865"/>
                <a:ext cx="354538" cy="452295"/>
              </a:xfrm>
              <a:custGeom>
                <a:avLst/>
                <a:gdLst>
                  <a:gd name="connsiteX0" fmla="*/ 354539 w 354538"/>
                  <a:gd name="connsiteY0" fmla="*/ 443650 h 452295"/>
                  <a:gd name="connsiteX1" fmla="*/ 237248 w 354538"/>
                  <a:gd name="connsiteY1" fmla="*/ 443650 h 452295"/>
                  <a:gd name="connsiteX2" fmla="*/ 237248 w 354538"/>
                  <a:gd name="connsiteY2" fmla="*/ 414390 h 452295"/>
                  <a:gd name="connsiteX3" fmla="*/ 149946 w 354538"/>
                  <a:gd name="connsiteY3" fmla="*/ 452295 h 452295"/>
                  <a:gd name="connsiteX4" fmla="*/ 0 w 354538"/>
                  <a:gd name="connsiteY4" fmla="*/ 279395 h 452295"/>
                  <a:gd name="connsiteX5" fmla="*/ 139950 w 354538"/>
                  <a:gd name="connsiteY5" fmla="*/ 113810 h 452295"/>
                  <a:gd name="connsiteX6" fmla="*/ 229917 w 354538"/>
                  <a:gd name="connsiteY6" fmla="*/ 149720 h 452295"/>
                  <a:gd name="connsiteX7" fmla="*/ 229917 w 354538"/>
                  <a:gd name="connsiteY7" fmla="*/ 0 h 452295"/>
                  <a:gd name="connsiteX8" fmla="*/ 354539 w 354538"/>
                  <a:gd name="connsiteY8" fmla="*/ 0 h 452295"/>
                  <a:gd name="connsiteX9" fmla="*/ 354539 w 354538"/>
                  <a:gd name="connsiteY9" fmla="*/ 443650 h 452295"/>
                  <a:gd name="connsiteX10" fmla="*/ 124622 w 354538"/>
                  <a:gd name="connsiteY10" fmla="*/ 282720 h 452295"/>
                  <a:gd name="connsiteX11" fmla="*/ 179269 w 354538"/>
                  <a:gd name="connsiteY11" fmla="*/ 357200 h 452295"/>
                  <a:gd name="connsiteX12" fmla="*/ 234582 w 354538"/>
                  <a:gd name="connsiteY12" fmla="*/ 284050 h 452295"/>
                  <a:gd name="connsiteX13" fmla="*/ 179269 w 354538"/>
                  <a:gd name="connsiteY13" fmla="*/ 208905 h 452295"/>
                  <a:gd name="connsiteX14" fmla="*/ 124622 w 354538"/>
                  <a:gd name="connsiteY14" fmla="*/ 282720 h 45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38" h="452295">
                    <a:moveTo>
                      <a:pt x="354539" y="443650"/>
                    </a:moveTo>
                    <a:lnTo>
                      <a:pt x="237248" y="443650"/>
                    </a:lnTo>
                    <a:lnTo>
                      <a:pt x="237248" y="414390"/>
                    </a:lnTo>
                    <a:cubicBezTo>
                      <a:pt x="205926" y="444315"/>
                      <a:pt x="187266" y="452295"/>
                      <a:pt x="149946" y="452295"/>
                    </a:cubicBezTo>
                    <a:cubicBezTo>
                      <a:pt x="59312" y="452295"/>
                      <a:pt x="0" y="383800"/>
                      <a:pt x="0" y="279395"/>
                    </a:cubicBezTo>
                    <a:cubicBezTo>
                      <a:pt x="0" y="180310"/>
                      <a:pt x="55980" y="113810"/>
                      <a:pt x="139950" y="113810"/>
                    </a:cubicBezTo>
                    <a:cubicBezTo>
                      <a:pt x="175270" y="113810"/>
                      <a:pt x="199928" y="123785"/>
                      <a:pt x="229917" y="149720"/>
                    </a:cubicBezTo>
                    <a:lnTo>
                      <a:pt x="229917" y="0"/>
                    </a:lnTo>
                    <a:lnTo>
                      <a:pt x="354539" y="0"/>
                    </a:lnTo>
                    <a:lnTo>
                      <a:pt x="354539" y="443650"/>
                    </a:lnTo>
                    <a:close/>
                    <a:moveTo>
                      <a:pt x="124622" y="282720"/>
                    </a:moveTo>
                    <a:cubicBezTo>
                      <a:pt x="124622" y="329270"/>
                      <a:pt x="145281" y="357200"/>
                      <a:pt x="179269" y="357200"/>
                    </a:cubicBezTo>
                    <a:cubicBezTo>
                      <a:pt x="213256" y="357200"/>
                      <a:pt x="234582" y="328605"/>
                      <a:pt x="234582" y="284050"/>
                    </a:cubicBezTo>
                    <a:cubicBezTo>
                      <a:pt x="234582" y="236835"/>
                      <a:pt x="213923" y="208905"/>
                      <a:pt x="179269" y="208905"/>
                    </a:cubicBezTo>
                    <a:cubicBezTo>
                      <a:pt x="145281" y="208905"/>
                      <a:pt x="124622" y="236835"/>
                      <a:pt x="124622" y="28272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7" name="Freeform 146">
                <a:extLst>
                  <a:ext uri="{FF2B5EF4-FFF2-40B4-BE49-F238E27FC236}">
                    <a16:creationId xmlns:a16="http://schemas.microsoft.com/office/drawing/2014/main" id="{97DA91C2-51EB-4F4D-891E-E3B9F058645C}"/>
                  </a:ext>
                </a:extLst>
              </p:cNvPr>
              <p:cNvSpPr/>
              <p:nvPr/>
            </p:nvSpPr>
            <p:spPr>
              <a:xfrm>
                <a:off x="9755613" y="8328985"/>
                <a:ext cx="438508" cy="463505"/>
              </a:xfrm>
              <a:custGeom>
                <a:avLst/>
                <a:gdLst>
                  <a:gd name="connsiteX0" fmla="*/ 438509 w 438508"/>
                  <a:gd name="connsiteY0" fmla="*/ 209475 h 463505"/>
                  <a:gd name="connsiteX1" fmla="*/ 438509 w 438508"/>
                  <a:gd name="connsiteY1" fmla="*/ 453530 h 463505"/>
                  <a:gd name="connsiteX2" fmla="*/ 350540 w 438508"/>
                  <a:gd name="connsiteY2" fmla="*/ 453530 h 463505"/>
                  <a:gd name="connsiteX3" fmla="*/ 341877 w 438508"/>
                  <a:gd name="connsiteY3" fmla="*/ 415625 h 463505"/>
                  <a:gd name="connsiteX4" fmla="*/ 210591 w 438508"/>
                  <a:gd name="connsiteY4" fmla="*/ 463505 h 463505"/>
                  <a:gd name="connsiteX5" fmla="*/ 0 w 438508"/>
                  <a:gd name="connsiteY5" fmla="*/ 232085 h 463505"/>
                  <a:gd name="connsiteX6" fmla="*/ 223253 w 438508"/>
                  <a:gd name="connsiteY6" fmla="*/ 0 h 463505"/>
                  <a:gd name="connsiteX7" fmla="*/ 429845 w 438508"/>
                  <a:gd name="connsiteY7" fmla="*/ 163590 h 463505"/>
                  <a:gd name="connsiteX8" fmla="*/ 297893 w 438508"/>
                  <a:gd name="connsiteY8" fmla="*/ 166250 h 463505"/>
                  <a:gd name="connsiteX9" fmla="*/ 224586 w 438508"/>
                  <a:gd name="connsiteY9" fmla="*/ 111055 h 463505"/>
                  <a:gd name="connsiteX10" fmla="*/ 137950 w 438508"/>
                  <a:gd name="connsiteY10" fmla="*/ 228760 h 463505"/>
                  <a:gd name="connsiteX11" fmla="*/ 233916 w 438508"/>
                  <a:gd name="connsiteY11" fmla="*/ 357105 h 463505"/>
                  <a:gd name="connsiteX12" fmla="*/ 310555 w 438508"/>
                  <a:gd name="connsiteY12" fmla="*/ 307230 h 463505"/>
                  <a:gd name="connsiteX13" fmla="*/ 252576 w 438508"/>
                  <a:gd name="connsiteY13" fmla="*/ 307230 h 463505"/>
                  <a:gd name="connsiteX14" fmla="*/ 252576 w 438508"/>
                  <a:gd name="connsiteY14" fmla="*/ 209475 h 463505"/>
                  <a:gd name="connsiteX15" fmla="*/ 438509 w 438508"/>
                  <a:gd name="connsiteY15" fmla="*/ 209475 h 46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508" h="463505">
                    <a:moveTo>
                      <a:pt x="438509" y="209475"/>
                    </a:moveTo>
                    <a:lnTo>
                      <a:pt x="438509" y="453530"/>
                    </a:lnTo>
                    <a:lnTo>
                      <a:pt x="350540" y="453530"/>
                    </a:lnTo>
                    <a:lnTo>
                      <a:pt x="341877" y="415625"/>
                    </a:lnTo>
                    <a:cubicBezTo>
                      <a:pt x="305223" y="448210"/>
                      <a:pt x="262572" y="463505"/>
                      <a:pt x="210591" y="463505"/>
                    </a:cubicBezTo>
                    <a:cubicBezTo>
                      <a:pt x="88635" y="463505"/>
                      <a:pt x="0" y="365750"/>
                      <a:pt x="0" y="232085"/>
                    </a:cubicBezTo>
                    <a:cubicBezTo>
                      <a:pt x="0" y="94430"/>
                      <a:pt x="90634" y="0"/>
                      <a:pt x="223253" y="0"/>
                    </a:cubicBezTo>
                    <a:cubicBezTo>
                      <a:pt x="332547" y="0"/>
                      <a:pt x="412518" y="63840"/>
                      <a:pt x="429845" y="163590"/>
                    </a:cubicBezTo>
                    <a:lnTo>
                      <a:pt x="297893" y="166250"/>
                    </a:lnTo>
                    <a:cubicBezTo>
                      <a:pt x="288563" y="131005"/>
                      <a:pt x="261906" y="111055"/>
                      <a:pt x="224586" y="111055"/>
                    </a:cubicBezTo>
                    <a:cubicBezTo>
                      <a:pt x="169272" y="111055"/>
                      <a:pt x="137950" y="153615"/>
                      <a:pt x="137950" y="228760"/>
                    </a:cubicBezTo>
                    <a:cubicBezTo>
                      <a:pt x="137950" y="311885"/>
                      <a:pt x="171938" y="357105"/>
                      <a:pt x="233916" y="357105"/>
                    </a:cubicBezTo>
                    <a:cubicBezTo>
                      <a:pt x="271236" y="357105"/>
                      <a:pt x="299226" y="339150"/>
                      <a:pt x="310555" y="307230"/>
                    </a:cubicBezTo>
                    <a:lnTo>
                      <a:pt x="252576" y="307230"/>
                    </a:lnTo>
                    <a:lnTo>
                      <a:pt x="252576" y="209475"/>
                    </a:lnTo>
                    <a:lnTo>
                      <a:pt x="438509" y="2094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8" name="Freeform 147">
                <a:extLst>
                  <a:ext uri="{FF2B5EF4-FFF2-40B4-BE49-F238E27FC236}">
                    <a16:creationId xmlns:a16="http://schemas.microsoft.com/office/drawing/2014/main" id="{DE12A016-14E2-9D40-8A68-FF46105659E1}"/>
                  </a:ext>
                </a:extLst>
              </p:cNvPr>
              <p:cNvSpPr/>
              <p:nvPr/>
            </p:nvSpPr>
            <p:spPr>
              <a:xfrm>
                <a:off x="10246769" y="8452674"/>
                <a:ext cx="251909" cy="329840"/>
              </a:xfrm>
              <a:custGeom>
                <a:avLst/>
                <a:gdLst>
                  <a:gd name="connsiteX0" fmla="*/ 117958 w 251909"/>
                  <a:gd name="connsiteY0" fmla="*/ 8645 h 329840"/>
                  <a:gd name="connsiteX1" fmla="*/ 117958 w 251909"/>
                  <a:gd name="connsiteY1" fmla="*/ 53200 h 329840"/>
                  <a:gd name="connsiteX2" fmla="*/ 213256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49" name="Freeform 148">
                <a:extLst>
                  <a:ext uri="{FF2B5EF4-FFF2-40B4-BE49-F238E27FC236}">
                    <a16:creationId xmlns:a16="http://schemas.microsoft.com/office/drawing/2014/main" id="{496B3502-B295-F040-9A52-1B5CEB49F85D}"/>
                  </a:ext>
                </a:extLst>
              </p:cNvPr>
              <p:cNvSpPr/>
              <p:nvPr/>
            </p:nvSpPr>
            <p:spPr>
              <a:xfrm>
                <a:off x="10526668"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2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9 w 359870"/>
                  <a:gd name="connsiteY10" fmla="*/ 132335 h 338485"/>
                  <a:gd name="connsiteX11" fmla="*/ 179269 w 359870"/>
                  <a:gd name="connsiteY11" fmla="*/ 81795 h 338485"/>
                  <a:gd name="connsiteX12" fmla="*/ 123956 w 359870"/>
                  <a:gd name="connsiteY12" fmla="*/ 132335 h 338485"/>
                  <a:gd name="connsiteX13" fmla="*/ 235249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2"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3" y="0"/>
                      <a:pt x="180602" y="0"/>
                    </a:cubicBezTo>
                    <a:cubicBezTo>
                      <a:pt x="253909" y="0"/>
                      <a:pt x="313887" y="35245"/>
                      <a:pt x="342543" y="96425"/>
                    </a:cubicBezTo>
                    <a:cubicBezTo>
                      <a:pt x="354539" y="123025"/>
                      <a:pt x="359870" y="151620"/>
                      <a:pt x="359870" y="198835"/>
                    </a:cubicBezTo>
                    <a:lnTo>
                      <a:pt x="123289" y="198835"/>
                    </a:lnTo>
                    <a:close/>
                    <a:moveTo>
                      <a:pt x="235249" y="132335"/>
                    </a:moveTo>
                    <a:cubicBezTo>
                      <a:pt x="231917" y="101080"/>
                      <a:pt x="210591" y="81795"/>
                      <a:pt x="179269" y="81795"/>
                    </a:cubicBezTo>
                    <a:cubicBezTo>
                      <a:pt x="148613" y="81795"/>
                      <a:pt x="127288" y="101080"/>
                      <a:pt x="123956"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0" name="Freeform 149">
                <a:extLst>
                  <a:ext uri="{FF2B5EF4-FFF2-40B4-BE49-F238E27FC236}">
                    <a16:creationId xmlns:a16="http://schemas.microsoft.com/office/drawing/2014/main" id="{F36D5F9C-F407-084E-BA7A-939924D63C08}"/>
                  </a:ext>
                </a:extLst>
              </p:cNvPr>
              <p:cNvSpPr/>
              <p:nvPr/>
            </p:nvSpPr>
            <p:spPr>
              <a:xfrm>
                <a:off x="10923097" y="8452674"/>
                <a:ext cx="350540" cy="338485"/>
              </a:xfrm>
              <a:custGeom>
                <a:avLst/>
                <a:gdLst>
                  <a:gd name="connsiteX0" fmla="*/ 14661 w 350540"/>
                  <a:gd name="connsiteY0" fmla="*/ 124355 h 338485"/>
                  <a:gd name="connsiteX1" fmla="*/ 47316 w 350540"/>
                  <a:gd name="connsiteY1" fmla="*/ 42560 h 338485"/>
                  <a:gd name="connsiteX2" fmla="*/ 179269 w 350540"/>
                  <a:gd name="connsiteY2" fmla="*/ 0 h 338485"/>
                  <a:gd name="connsiteX3" fmla="*/ 299225 w 350540"/>
                  <a:gd name="connsiteY3" fmla="*/ 32585 h 338485"/>
                  <a:gd name="connsiteX4" fmla="*/ 340544 w 350540"/>
                  <a:gd name="connsiteY4" fmla="*/ 131005 h 338485"/>
                  <a:gd name="connsiteX5" fmla="*/ 340544 w 350540"/>
                  <a:gd name="connsiteY5" fmla="*/ 281960 h 338485"/>
                  <a:gd name="connsiteX6" fmla="*/ 350540 w 350540"/>
                  <a:gd name="connsiteY6" fmla="*/ 329840 h 338485"/>
                  <a:gd name="connsiteX7" fmla="*/ 229917 w 350540"/>
                  <a:gd name="connsiteY7" fmla="*/ 329840 h 338485"/>
                  <a:gd name="connsiteX8" fmla="*/ 219254 w 350540"/>
                  <a:gd name="connsiteY8" fmla="*/ 297255 h 338485"/>
                  <a:gd name="connsiteX9" fmla="*/ 111960 w 350540"/>
                  <a:gd name="connsiteY9" fmla="*/ 338485 h 338485"/>
                  <a:gd name="connsiteX10" fmla="*/ 0 w 350540"/>
                  <a:gd name="connsiteY10" fmla="*/ 244720 h 338485"/>
                  <a:gd name="connsiteX11" fmla="*/ 89968 w 350540"/>
                  <a:gd name="connsiteY11" fmla="*/ 148960 h 338485"/>
                  <a:gd name="connsiteX12" fmla="*/ 183267 w 350540"/>
                  <a:gd name="connsiteY12" fmla="*/ 131005 h 338485"/>
                  <a:gd name="connsiteX13" fmla="*/ 218588 w 350540"/>
                  <a:gd name="connsiteY13" fmla="*/ 107065 h 338485"/>
                  <a:gd name="connsiteX14" fmla="*/ 176603 w 350540"/>
                  <a:gd name="connsiteY14" fmla="*/ 79800 h 338485"/>
                  <a:gd name="connsiteX15" fmla="*/ 128620 w 350540"/>
                  <a:gd name="connsiteY15" fmla="*/ 119700 h 338485"/>
                  <a:gd name="connsiteX16" fmla="*/ 128620 w 350540"/>
                  <a:gd name="connsiteY16" fmla="*/ 124355 h 338485"/>
                  <a:gd name="connsiteX17" fmla="*/ 14661 w 350540"/>
                  <a:gd name="connsiteY17" fmla="*/ 124355 h 338485"/>
                  <a:gd name="connsiteX18" fmla="*/ 167368 w 350540"/>
                  <a:gd name="connsiteY18" fmla="*/ 204155 h 338485"/>
                  <a:gd name="connsiteX19" fmla="*/ 131381 w 350540"/>
                  <a:gd name="connsiteY19" fmla="*/ 217455 h 338485"/>
                  <a:gd name="connsiteX20" fmla="*/ 119386 w 350540"/>
                  <a:gd name="connsiteY20" fmla="*/ 238070 h 338485"/>
                  <a:gd name="connsiteX21" fmla="*/ 154706 w 350540"/>
                  <a:gd name="connsiteY21" fmla="*/ 265335 h 338485"/>
                  <a:gd name="connsiteX22" fmla="*/ 220682 w 350540"/>
                  <a:gd name="connsiteY22" fmla="*/ 202825 h 338485"/>
                  <a:gd name="connsiteX23" fmla="*/ 220682 w 350540"/>
                  <a:gd name="connsiteY23" fmla="*/ 185535 h 338485"/>
                  <a:gd name="connsiteX24" fmla="*/ 167368 w 350540"/>
                  <a:gd name="connsiteY24" fmla="*/ 20415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5">
                    <a:moveTo>
                      <a:pt x="14661" y="124355"/>
                    </a:moveTo>
                    <a:cubicBezTo>
                      <a:pt x="17993"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368" y="204155"/>
                    </a:moveTo>
                    <a:cubicBezTo>
                      <a:pt x="138712" y="213465"/>
                      <a:pt x="138712" y="213465"/>
                      <a:pt x="131381" y="217455"/>
                    </a:cubicBezTo>
                    <a:cubicBezTo>
                      <a:pt x="123384" y="222110"/>
                      <a:pt x="119386" y="229425"/>
                      <a:pt x="119386" y="238070"/>
                    </a:cubicBezTo>
                    <a:cubicBezTo>
                      <a:pt x="119386" y="254695"/>
                      <a:pt x="133381" y="265335"/>
                      <a:pt x="154706" y="265335"/>
                    </a:cubicBezTo>
                    <a:cubicBezTo>
                      <a:pt x="193359" y="265335"/>
                      <a:pt x="220682" y="239400"/>
                      <a:pt x="220682" y="202825"/>
                    </a:cubicBezTo>
                    <a:lnTo>
                      <a:pt x="220682" y="185535"/>
                    </a:lnTo>
                    <a:lnTo>
                      <a:pt x="167368"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1" name="Freeform 150">
                <a:extLst>
                  <a:ext uri="{FF2B5EF4-FFF2-40B4-BE49-F238E27FC236}">
                    <a16:creationId xmlns:a16="http://schemas.microsoft.com/office/drawing/2014/main" id="{B9BEE78F-18E7-3646-A8D4-DD8C3BDD6E03}"/>
                  </a:ext>
                </a:extLst>
              </p:cNvPr>
              <p:cNvSpPr/>
              <p:nvPr/>
            </p:nvSpPr>
            <p:spPr>
              <a:xfrm>
                <a:off x="11299057"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5" y="331170"/>
                      <a:pt x="205259" y="331170"/>
                    </a:cubicBezTo>
                    <a:cubicBezTo>
                      <a:pt x="215256" y="331170"/>
                      <a:pt x="222587" y="329840"/>
                      <a:pt x="229917" y="327180"/>
                    </a:cubicBezTo>
                    <a:lnTo>
                      <a:pt x="229917" y="411635"/>
                    </a:lnTo>
                    <a:cubicBezTo>
                      <a:pt x="203260" y="418285"/>
                      <a:pt x="181935"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2" name="Freeform 151">
                <a:extLst>
                  <a:ext uri="{FF2B5EF4-FFF2-40B4-BE49-F238E27FC236}">
                    <a16:creationId xmlns:a16="http://schemas.microsoft.com/office/drawing/2014/main" id="{2E9A91DD-F3D7-C648-9F5E-9EFD6D28A598}"/>
                  </a:ext>
                </a:extLst>
              </p:cNvPr>
              <p:cNvSpPr/>
              <p:nvPr/>
            </p:nvSpPr>
            <p:spPr>
              <a:xfrm>
                <a:off x="11770125" y="8338865"/>
                <a:ext cx="355300" cy="443649"/>
              </a:xfrm>
              <a:custGeom>
                <a:avLst/>
                <a:gdLst>
                  <a:gd name="connsiteX0" fmla="*/ 355301 w 355300"/>
                  <a:gd name="connsiteY0" fmla="*/ 117800 h 443649"/>
                  <a:gd name="connsiteX1" fmla="*/ 133285 w 355300"/>
                  <a:gd name="connsiteY1" fmla="*/ 117800 h 443649"/>
                  <a:gd name="connsiteX2" fmla="*/ 133285 w 355300"/>
                  <a:gd name="connsiteY2" fmla="*/ 176320 h 443649"/>
                  <a:gd name="connsiteX3" fmla="*/ 314648 w 355300"/>
                  <a:gd name="connsiteY3" fmla="*/ 176320 h 443649"/>
                  <a:gd name="connsiteX4" fmla="*/ 314648 w 355300"/>
                  <a:gd name="connsiteY4" fmla="*/ 287375 h 443649"/>
                  <a:gd name="connsiteX5" fmla="*/ 133285 w 355300"/>
                  <a:gd name="connsiteY5" fmla="*/ 287375 h 443649"/>
                  <a:gd name="connsiteX6" fmla="*/ 133285 w 355300"/>
                  <a:gd name="connsiteY6" fmla="*/ 443650 h 443649"/>
                  <a:gd name="connsiteX7" fmla="*/ 0 w 355300"/>
                  <a:gd name="connsiteY7" fmla="*/ 443650 h 443649"/>
                  <a:gd name="connsiteX8" fmla="*/ 0 w 355300"/>
                  <a:gd name="connsiteY8" fmla="*/ 0 h 443649"/>
                  <a:gd name="connsiteX9" fmla="*/ 355301 w 355300"/>
                  <a:gd name="connsiteY9"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0" h="443649">
                    <a:moveTo>
                      <a:pt x="355301" y="117800"/>
                    </a:moveTo>
                    <a:lnTo>
                      <a:pt x="133285" y="117800"/>
                    </a:lnTo>
                    <a:lnTo>
                      <a:pt x="133285" y="176320"/>
                    </a:lnTo>
                    <a:lnTo>
                      <a:pt x="314648" y="176320"/>
                    </a:lnTo>
                    <a:lnTo>
                      <a:pt x="314648" y="287375"/>
                    </a:lnTo>
                    <a:lnTo>
                      <a:pt x="133285" y="287375"/>
                    </a:lnTo>
                    <a:lnTo>
                      <a:pt x="133285" y="443650"/>
                    </a:lnTo>
                    <a:lnTo>
                      <a:pt x="0" y="443650"/>
                    </a:lnTo>
                    <a:lnTo>
                      <a:pt x="0" y="0"/>
                    </a:lnTo>
                    <a:lnTo>
                      <a:pt x="355301"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3" name="Freeform 152">
                <a:extLst>
                  <a:ext uri="{FF2B5EF4-FFF2-40B4-BE49-F238E27FC236}">
                    <a16:creationId xmlns:a16="http://schemas.microsoft.com/office/drawing/2014/main" id="{A35A0109-B4C6-0B46-B100-084400A0D57D}"/>
                  </a:ext>
                </a:extLst>
              </p:cNvPr>
              <p:cNvSpPr/>
              <p:nvPr/>
            </p:nvSpPr>
            <p:spPr>
              <a:xfrm>
                <a:off x="12161413" y="8461225"/>
                <a:ext cx="334545" cy="329935"/>
              </a:xfrm>
              <a:custGeom>
                <a:avLst/>
                <a:gdLst>
                  <a:gd name="connsiteX0" fmla="*/ 334546 w 334545"/>
                  <a:gd name="connsiteY0" fmla="*/ 321290 h 329935"/>
                  <a:gd name="connsiteX1" fmla="*/ 216589 w 334545"/>
                  <a:gd name="connsiteY1" fmla="*/ 321290 h 329935"/>
                  <a:gd name="connsiteX2" fmla="*/ 216589 w 334545"/>
                  <a:gd name="connsiteY2" fmla="*/ 280060 h 329935"/>
                  <a:gd name="connsiteX3" fmla="*/ 117957 w 334545"/>
                  <a:gd name="connsiteY3" fmla="*/ 329935 h 329935"/>
                  <a:gd name="connsiteX4" fmla="*/ 27990 w 334545"/>
                  <a:gd name="connsiteY4" fmla="*/ 288705 h 329935"/>
                  <a:gd name="connsiteX5" fmla="*/ 0 w 334545"/>
                  <a:gd name="connsiteY5" fmla="*/ 188955 h 329935"/>
                  <a:gd name="connsiteX6" fmla="*/ 0 w 334545"/>
                  <a:gd name="connsiteY6" fmla="*/ 0 h 329935"/>
                  <a:gd name="connsiteX7" fmla="*/ 124622 w 334545"/>
                  <a:gd name="connsiteY7" fmla="*/ 0 h 329935"/>
                  <a:gd name="connsiteX8" fmla="*/ 124622 w 334545"/>
                  <a:gd name="connsiteY8" fmla="*/ 168910 h 329935"/>
                  <a:gd name="connsiteX9" fmla="*/ 166607 w 334545"/>
                  <a:gd name="connsiteY9" fmla="*/ 224770 h 329935"/>
                  <a:gd name="connsiteX10" fmla="*/ 209924 w 334545"/>
                  <a:gd name="connsiteY10" fmla="*/ 174895 h 329935"/>
                  <a:gd name="connsiteX11" fmla="*/ 209924 w 334545"/>
                  <a:gd name="connsiteY11" fmla="*/ 0 h 329935"/>
                  <a:gd name="connsiteX12" fmla="*/ 334546 w 334545"/>
                  <a:gd name="connsiteY12" fmla="*/ 0 h 329935"/>
                  <a:gd name="connsiteX13" fmla="*/ 334546 w 334545"/>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5" h="329935">
                    <a:moveTo>
                      <a:pt x="334546" y="321290"/>
                    </a:moveTo>
                    <a:lnTo>
                      <a:pt x="216589" y="321290"/>
                    </a:lnTo>
                    <a:lnTo>
                      <a:pt x="216589" y="280060"/>
                    </a:lnTo>
                    <a:cubicBezTo>
                      <a:pt x="188599" y="315305"/>
                      <a:pt x="159276" y="329935"/>
                      <a:pt x="117957" y="329935"/>
                    </a:cubicBezTo>
                    <a:cubicBezTo>
                      <a:pt x="81304" y="329935"/>
                      <a:pt x="49315"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4" name="Freeform 153">
                <a:extLst>
                  <a:ext uri="{FF2B5EF4-FFF2-40B4-BE49-F238E27FC236}">
                    <a16:creationId xmlns:a16="http://schemas.microsoft.com/office/drawing/2014/main" id="{BA629749-FECF-3643-BD18-F54DCF00A0E1}"/>
                  </a:ext>
                </a:extLst>
              </p:cNvPr>
              <p:cNvSpPr/>
              <p:nvPr/>
            </p:nvSpPr>
            <p:spPr>
              <a:xfrm>
                <a:off x="12526519"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5" name="Freeform 154">
                <a:extLst>
                  <a:ext uri="{FF2B5EF4-FFF2-40B4-BE49-F238E27FC236}">
                    <a16:creationId xmlns:a16="http://schemas.microsoft.com/office/drawing/2014/main" id="{BB5FD496-B711-E446-90F9-6C85ECF91FDF}"/>
                  </a:ext>
                </a:extLst>
              </p:cNvPr>
              <p:cNvSpPr/>
              <p:nvPr/>
            </p:nvSpPr>
            <p:spPr>
              <a:xfrm>
                <a:off x="12786521"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1 w 334546"/>
                  <a:gd name="connsiteY7" fmla="*/ 0 h 329935"/>
                  <a:gd name="connsiteX8" fmla="*/ 124621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5" y="315305"/>
                      <a:pt x="27990" y="288705"/>
                    </a:cubicBezTo>
                    <a:cubicBezTo>
                      <a:pt x="7997" y="264100"/>
                      <a:pt x="0" y="235505"/>
                      <a:pt x="0" y="188955"/>
                    </a:cubicBezTo>
                    <a:lnTo>
                      <a:pt x="0" y="0"/>
                    </a:lnTo>
                    <a:lnTo>
                      <a:pt x="124621" y="0"/>
                    </a:lnTo>
                    <a:lnTo>
                      <a:pt x="124621" y="168910"/>
                    </a:lnTo>
                    <a:cubicBezTo>
                      <a:pt x="124621"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6" name="Freeform 155">
                <a:extLst>
                  <a:ext uri="{FF2B5EF4-FFF2-40B4-BE49-F238E27FC236}">
                    <a16:creationId xmlns:a16="http://schemas.microsoft.com/office/drawing/2014/main" id="{B597AA5C-070D-7149-8378-33C6DF39AB12}"/>
                  </a:ext>
                </a:extLst>
              </p:cNvPr>
              <p:cNvSpPr/>
              <p:nvPr/>
            </p:nvSpPr>
            <p:spPr>
              <a:xfrm>
                <a:off x="13174286" y="8452674"/>
                <a:ext cx="251909" cy="329840"/>
              </a:xfrm>
              <a:custGeom>
                <a:avLst/>
                <a:gdLst>
                  <a:gd name="connsiteX0" fmla="*/ 117958 w 251909"/>
                  <a:gd name="connsiteY0" fmla="*/ 8645 h 329840"/>
                  <a:gd name="connsiteX1" fmla="*/ 117958 w 251909"/>
                  <a:gd name="connsiteY1" fmla="*/ 53200 h 329840"/>
                  <a:gd name="connsiteX2" fmla="*/ 213257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6" y="0"/>
                      <a:pt x="213257" y="0"/>
                    </a:cubicBezTo>
                    <a:cubicBezTo>
                      <a:pt x="225918"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7" name="Freeform 156">
                <a:extLst>
                  <a:ext uri="{FF2B5EF4-FFF2-40B4-BE49-F238E27FC236}">
                    <a16:creationId xmlns:a16="http://schemas.microsoft.com/office/drawing/2014/main" id="{8E3D79CC-21F9-8B48-9F3B-11D40DBF7BD0}"/>
                  </a:ext>
                </a:extLst>
              </p:cNvPr>
              <p:cNvSpPr/>
              <p:nvPr/>
            </p:nvSpPr>
            <p:spPr>
              <a:xfrm>
                <a:off x="13454185"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1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8 w 359870"/>
                  <a:gd name="connsiteY10" fmla="*/ 132335 h 338485"/>
                  <a:gd name="connsiteX11" fmla="*/ 179268 w 359870"/>
                  <a:gd name="connsiteY11" fmla="*/ 81795 h 338485"/>
                  <a:gd name="connsiteX12" fmla="*/ 123955 w 359870"/>
                  <a:gd name="connsiteY12" fmla="*/ 132335 h 338485"/>
                  <a:gd name="connsiteX13" fmla="*/ 235248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1" y="252035"/>
                      <a:pt x="187932" y="252035"/>
                    </a:cubicBezTo>
                    <a:cubicBezTo>
                      <a:pt x="209258" y="252035"/>
                      <a:pt x="223919" y="245385"/>
                      <a:pt x="233249" y="230755"/>
                    </a:cubicBezTo>
                    <a:lnTo>
                      <a:pt x="354539" y="230755"/>
                    </a:lnTo>
                    <a:cubicBezTo>
                      <a:pt x="339878" y="293265"/>
                      <a:pt x="267903"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8" name="Freeform 157">
                <a:extLst>
                  <a:ext uri="{FF2B5EF4-FFF2-40B4-BE49-F238E27FC236}">
                    <a16:creationId xmlns:a16="http://schemas.microsoft.com/office/drawing/2014/main" id="{127BD931-3680-AE4B-9676-EC006E96DB2A}"/>
                  </a:ext>
                </a:extLst>
              </p:cNvPr>
              <p:cNvSpPr/>
              <p:nvPr/>
            </p:nvSpPr>
            <p:spPr>
              <a:xfrm>
                <a:off x="13846043" y="8452674"/>
                <a:ext cx="329214" cy="338485"/>
              </a:xfrm>
              <a:custGeom>
                <a:avLst/>
                <a:gdLst>
                  <a:gd name="connsiteX0" fmla="*/ 201927 w 329214"/>
                  <a:gd name="connsiteY0" fmla="*/ 103075 h 338485"/>
                  <a:gd name="connsiteX1" fmla="*/ 161275 w 329214"/>
                  <a:gd name="connsiteY1" fmla="*/ 73150 h 338485"/>
                  <a:gd name="connsiteX2" fmla="*/ 128620 w 329214"/>
                  <a:gd name="connsiteY2" fmla="*/ 91105 h 338485"/>
                  <a:gd name="connsiteX3" fmla="*/ 159942 w 329214"/>
                  <a:gd name="connsiteY3" fmla="*/ 113050 h 338485"/>
                  <a:gd name="connsiteX4" fmla="*/ 217255 w 329214"/>
                  <a:gd name="connsiteY4" fmla="*/ 124355 h 338485"/>
                  <a:gd name="connsiteX5" fmla="*/ 296560 w 329214"/>
                  <a:gd name="connsiteY5" fmla="*/ 154280 h 338485"/>
                  <a:gd name="connsiteX6" fmla="*/ 329215 w 329214"/>
                  <a:gd name="connsiteY6" fmla="*/ 225435 h 338485"/>
                  <a:gd name="connsiteX7" fmla="*/ 164608 w 329214"/>
                  <a:gd name="connsiteY7" fmla="*/ 338485 h 338485"/>
                  <a:gd name="connsiteX8" fmla="*/ 29989 w 329214"/>
                  <a:gd name="connsiteY8" fmla="*/ 292600 h 338485"/>
                  <a:gd name="connsiteX9" fmla="*/ 0 w 329214"/>
                  <a:gd name="connsiteY9" fmla="*/ 220115 h 338485"/>
                  <a:gd name="connsiteX10" fmla="*/ 119291 w 329214"/>
                  <a:gd name="connsiteY10" fmla="*/ 220115 h 338485"/>
                  <a:gd name="connsiteX11" fmla="*/ 167273 w 329214"/>
                  <a:gd name="connsiteY11" fmla="*/ 258685 h 338485"/>
                  <a:gd name="connsiteX12" fmla="*/ 204593 w 329214"/>
                  <a:gd name="connsiteY12" fmla="*/ 235410 h 338485"/>
                  <a:gd name="connsiteX13" fmla="*/ 175271 w 329214"/>
                  <a:gd name="connsiteY13" fmla="*/ 213465 h 338485"/>
                  <a:gd name="connsiteX14" fmla="*/ 102630 w 329214"/>
                  <a:gd name="connsiteY14" fmla="*/ 196840 h 338485"/>
                  <a:gd name="connsiteX15" fmla="*/ 6664 w 329214"/>
                  <a:gd name="connsiteY15" fmla="*/ 103075 h 338485"/>
                  <a:gd name="connsiteX16" fmla="*/ 165940 w 329214"/>
                  <a:gd name="connsiteY16" fmla="*/ 0 h 338485"/>
                  <a:gd name="connsiteX17" fmla="*/ 317886 w 329214"/>
                  <a:gd name="connsiteY17" fmla="*/ 103075 h 338485"/>
                  <a:gd name="connsiteX18" fmla="*/ 201927 w 329214"/>
                  <a:gd name="connsiteY18" fmla="*/ 10307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5">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59" name="Freeform 158">
                <a:extLst>
                  <a:ext uri="{FF2B5EF4-FFF2-40B4-BE49-F238E27FC236}">
                    <a16:creationId xmlns:a16="http://schemas.microsoft.com/office/drawing/2014/main" id="{231338B4-678D-2B4C-9CF9-98A768F0E626}"/>
                  </a:ext>
                </a:extLst>
              </p:cNvPr>
              <p:cNvSpPr/>
              <p:nvPr/>
            </p:nvSpPr>
            <p:spPr>
              <a:xfrm>
                <a:off x="14227240" y="8654170"/>
                <a:ext cx="128620" cy="128345"/>
              </a:xfrm>
              <a:custGeom>
                <a:avLst/>
                <a:gdLst>
                  <a:gd name="connsiteX0" fmla="*/ 0 w 128620"/>
                  <a:gd name="connsiteY0" fmla="*/ 0 h 128345"/>
                  <a:gd name="connsiteX1" fmla="*/ 128621 w 128620"/>
                  <a:gd name="connsiteY1" fmla="*/ 0 h 128345"/>
                  <a:gd name="connsiteX2" fmla="*/ 128621 w 128620"/>
                  <a:gd name="connsiteY2" fmla="*/ 128345 h 128345"/>
                  <a:gd name="connsiteX3" fmla="*/ 0 w 128620"/>
                  <a:gd name="connsiteY3" fmla="*/ 128345 h 128345"/>
                </a:gdLst>
                <a:ahLst/>
                <a:cxnLst>
                  <a:cxn ang="0">
                    <a:pos x="connsiteX0" y="connsiteY0"/>
                  </a:cxn>
                  <a:cxn ang="0">
                    <a:pos x="connsiteX1" y="connsiteY1"/>
                  </a:cxn>
                  <a:cxn ang="0">
                    <a:pos x="connsiteX2" y="connsiteY2"/>
                  </a:cxn>
                  <a:cxn ang="0">
                    <a:pos x="connsiteX3" y="connsiteY3"/>
                  </a:cxn>
                </a:cxnLst>
                <a:rect l="l" t="t" r="r" b="b"/>
                <a:pathLst>
                  <a:path w="128620" h="128345">
                    <a:moveTo>
                      <a:pt x="0" y="0"/>
                    </a:moveTo>
                    <a:lnTo>
                      <a:pt x="128621" y="0"/>
                    </a:lnTo>
                    <a:lnTo>
                      <a:pt x="128621" y="128345"/>
                    </a:lnTo>
                    <a:lnTo>
                      <a:pt x="0" y="1283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grpSp>
        <p:nvGrpSpPr>
          <p:cNvPr id="177" name="Group 176">
            <a:extLst>
              <a:ext uri="{FF2B5EF4-FFF2-40B4-BE49-F238E27FC236}">
                <a16:creationId xmlns:a16="http://schemas.microsoft.com/office/drawing/2014/main" id="{02D48B17-C505-0344-A5B4-152791025713}"/>
              </a:ext>
            </a:extLst>
          </p:cNvPr>
          <p:cNvGrpSpPr/>
          <p:nvPr userDrawn="1"/>
        </p:nvGrpSpPr>
        <p:grpSpPr>
          <a:xfrm>
            <a:off x="363881" y="6093628"/>
            <a:ext cx="2219130" cy="482140"/>
            <a:chOff x="363881" y="6093628"/>
            <a:chExt cx="2219130" cy="482140"/>
          </a:xfrm>
        </p:grpSpPr>
        <p:sp>
          <p:nvSpPr>
            <p:cNvPr id="178" name="Freeform 177">
              <a:extLst>
                <a:ext uri="{FF2B5EF4-FFF2-40B4-BE49-F238E27FC236}">
                  <a16:creationId xmlns:a16="http://schemas.microsoft.com/office/drawing/2014/main" id="{64426B60-DBD4-6E4D-B519-3323BE5B25C0}"/>
                </a:ext>
              </a:extLst>
            </p:cNvPr>
            <p:cNvSpPr/>
            <p:nvPr/>
          </p:nvSpPr>
          <p:spPr>
            <a:xfrm>
              <a:off x="363881" y="6093628"/>
              <a:ext cx="795126" cy="482140"/>
            </a:xfrm>
            <a:custGeom>
              <a:avLst/>
              <a:gdLst>
                <a:gd name="connsiteX0" fmla="*/ 1746694 w 1796129"/>
                <a:gd name="connsiteY0" fmla="*/ 497649 h 1089118"/>
                <a:gd name="connsiteX1" fmla="*/ 1253966 w 1796129"/>
                <a:gd name="connsiteY1" fmla="*/ 998759 h 1089118"/>
                <a:gd name="connsiteX2" fmla="*/ 1254443 w 1796129"/>
                <a:gd name="connsiteY2" fmla="*/ 999235 h 1089118"/>
                <a:gd name="connsiteX3" fmla="*/ 1227392 w 1796129"/>
                <a:gd name="connsiteY3" fmla="*/ 1015809 h 1089118"/>
                <a:gd name="connsiteX4" fmla="*/ 1187482 w 1796129"/>
                <a:gd name="connsiteY4" fmla="*/ 1023047 h 1089118"/>
                <a:gd name="connsiteX5" fmla="*/ 1147477 w 1796129"/>
                <a:gd name="connsiteY5" fmla="*/ 1015809 h 1089118"/>
                <a:gd name="connsiteX6" fmla="*/ 1120426 w 1796129"/>
                <a:gd name="connsiteY6" fmla="*/ 999235 h 1089118"/>
                <a:gd name="connsiteX7" fmla="*/ 1120902 w 1796129"/>
                <a:gd name="connsiteY7" fmla="*/ 998759 h 1089118"/>
                <a:gd name="connsiteX8" fmla="*/ 575120 w 1796129"/>
                <a:gd name="connsiteY8" fmla="*/ 447166 h 1089118"/>
                <a:gd name="connsiteX9" fmla="*/ 597408 w 1796129"/>
                <a:gd name="connsiteY9" fmla="*/ 424687 h 1089118"/>
                <a:gd name="connsiteX10" fmla="*/ 596932 w 1796129"/>
                <a:gd name="connsiteY10" fmla="*/ 424211 h 1089118"/>
                <a:gd name="connsiteX11" fmla="*/ 663607 w 1796129"/>
                <a:gd name="connsiteY11" fmla="*/ 389921 h 1089118"/>
                <a:gd name="connsiteX12" fmla="*/ 701897 w 1796129"/>
                <a:gd name="connsiteY12" fmla="*/ 400017 h 1089118"/>
                <a:gd name="connsiteX13" fmla="*/ 701612 w 1796129"/>
                <a:gd name="connsiteY13" fmla="*/ 400303 h 1089118"/>
                <a:gd name="connsiteX14" fmla="*/ 1027462 w 1796129"/>
                <a:gd name="connsiteY14" fmla="*/ 729963 h 1089118"/>
                <a:gd name="connsiteX15" fmla="*/ 1029081 w 1796129"/>
                <a:gd name="connsiteY15" fmla="*/ 728344 h 1089118"/>
                <a:gd name="connsiteX16" fmla="*/ 1130237 w 1796129"/>
                <a:gd name="connsiteY16" fmla="*/ 771778 h 1089118"/>
                <a:gd name="connsiteX17" fmla="*/ 1248632 w 1796129"/>
                <a:gd name="connsiteY17" fmla="*/ 713866 h 1089118"/>
                <a:gd name="connsiteX18" fmla="*/ 1608296 w 1796129"/>
                <a:gd name="connsiteY18" fmla="*/ 354012 h 1089118"/>
                <a:gd name="connsiteX19" fmla="*/ 1310735 w 1796129"/>
                <a:gd name="connsiteY19" fmla="*/ 40925 h 1089118"/>
                <a:gd name="connsiteX20" fmla="*/ 1207675 w 1796129"/>
                <a:gd name="connsiteY20" fmla="*/ 158 h 1089118"/>
                <a:gd name="connsiteX21" fmla="*/ 1098899 w 1796129"/>
                <a:gd name="connsiteY21" fmla="*/ 23589 h 1089118"/>
                <a:gd name="connsiteX22" fmla="*/ 1015270 w 1796129"/>
                <a:gd name="connsiteY22" fmla="*/ 158 h 1089118"/>
                <a:gd name="connsiteX23" fmla="*/ 906399 w 1796129"/>
                <a:gd name="connsiteY23" fmla="*/ 23589 h 1089118"/>
                <a:gd name="connsiteX24" fmla="*/ 822770 w 1796129"/>
                <a:gd name="connsiteY24" fmla="*/ 158 h 1089118"/>
                <a:gd name="connsiteX25" fmla="*/ 709613 w 1796129"/>
                <a:gd name="connsiteY25" fmla="*/ 26352 h 1089118"/>
                <a:gd name="connsiteX26" fmla="*/ 622078 w 1796129"/>
                <a:gd name="connsiteY26" fmla="*/ 158 h 1089118"/>
                <a:gd name="connsiteX27" fmla="*/ 608743 w 1796129"/>
                <a:gd name="connsiteY27" fmla="*/ 63 h 1089118"/>
                <a:gd name="connsiteX28" fmla="*/ 595408 w 1796129"/>
                <a:gd name="connsiteY28" fmla="*/ 158 h 1089118"/>
                <a:gd name="connsiteX29" fmla="*/ 492347 w 1796129"/>
                <a:gd name="connsiteY29" fmla="*/ 40925 h 1089118"/>
                <a:gd name="connsiteX30" fmla="*/ 0 w 1796129"/>
                <a:gd name="connsiteY30" fmla="*/ 541654 h 1089118"/>
                <a:gd name="connsiteX31" fmla="*/ 49530 w 1796129"/>
                <a:gd name="connsiteY31" fmla="*/ 591470 h 1089118"/>
                <a:gd name="connsiteX32" fmla="*/ 542258 w 1796129"/>
                <a:gd name="connsiteY32" fmla="*/ 90360 h 1089118"/>
                <a:gd name="connsiteX33" fmla="*/ 541782 w 1796129"/>
                <a:gd name="connsiteY33" fmla="*/ 89883 h 1089118"/>
                <a:gd name="connsiteX34" fmla="*/ 568833 w 1796129"/>
                <a:gd name="connsiteY34" fmla="*/ 73310 h 1089118"/>
                <a:gd name="connsiteX35" fmla="*/ 608838 w 1796129"/>
                <a:gd name="connsiteY35" fmla="*/ 66071 h 1089118"/>
                <a:gd name="connsiteX36" fmla="*/ 648748 w 1796129"/>
                <a:gd name="connsiteY36" fmla="*/ 73310 h 1089118"/>
                <a:gd name="connsiteX37" fmla="*/ 675799 w 1796129"/>
                <a:gd name="connsiteY37" fmla="*/ 89883 h 1089118"/>
                <a:gd name="connsiteX38" fmla="*/ 675323 w 1796129"/>
                <a:gd name="connsiteY38" fmla="*/ 90360 h 1089118"/>
                <a:gd name="connsiteX39" fmla="*/ 1221105 w 1796129"/>
                <a:gd name="connsiteY39" fmla="*/ 641952 h 1089118"/>
                <a:gd name="connsiteX40" fmla="*/ 1198817 w 1796129"/>
                <a:gd name="connsiteY40" fmla="*/ 664431 h 1089118"/>
                <a:gd name="connsiteX41" fmla="*/ 1199293 w 1796129"/>
                <a:gd name="connsiteY41" fmla="*/ 664908 h 1089118"/>
                <a:gd name="connsiteX42" fmla="*/ 1132618 w 1796129"/>
                <a:gd name="connsiteY42" fmla="*/ 699198 h 1089118"/>
                <a:gd name="connsiteX43" fmla="*/ 1065371 w 1796129"/>
                <a:gd name="connsiteY43" fmla="*/ 664908 h 1089118"/>
                <a:gd name="connsiteX44" fmla="*/ 1065848 w 1796129"/>
                <a:gd name="connsiteY44" fmla="*/ 664431 h 1089118"/>
                <a:gd name="connsiteX45" fmla="*/ 780479 w 1796129"/>
                <a:gd name="connsiteY45" fmla="*/ 375252 h 1089118"/>
                <a:gd name="connsiteX46" fmla="*/ 666083 w 1796129"/>
                <a:gd name="connsiteY46" fmla="*/ 317340 h 1089118"/>
                <a:gd name="connsiteX47" fmla="*/ 547688 w 1796129"/>
                <a:gd name="connsiteY47" fmla="*/ 375252 h 1089118"/>
                <a:gd name="connsiteX48" fmla="*/ 188024 w 1796129"/>
                <a:gd name="connsiteY48" fmla="*/ 735107 h 1089118"/>
                <a:gd name="connsiteX49" fmla="*/ 485489 w 1796129"/>
                <a:gd name="connsiteY49" fmla="*/ 1048194 h 1089118"/>
                <a:gd name="connsiteX50" fmla="*/ 588550 w 1796129"/>
                <a:gd name="connsiteY50" fmla="*/ 1088961 h 1089118"/>
                <a:gd name="connsiteX51" fmla="*/ 697325 w 1796129"/>
                <a:gd name="connsiteY51" fmla="*/ 1065529 h 1089118"/>
                <a:gd name="connsiteX52" fmla="*/ 780955 w 1796129"/>
                <a:gd name="connsiteY52" fmla="*/ 1088961 h 1089118"/>
                <a:gd name="connsiteX53" fmla="*/ 889730 w 1796129"/>
                <a:gd name="connsiteY53" fmla="*/ 1065529 h 1089118"/>
                <a:gd name="connsiteX54" fmla="*/ 973360 w 1796129"/>
                <a:gd name="connsiteY54" fmla="*/ 1088961 h 1089118"/>
                <a:gd name="connsiteX55" fmla="*/ 1086517 w 1796129"/>
                <a:gd name="connsiteY55" fmla="*/ 1062767 h 1089118"/>
                <a:gd name="connsiteX56" fmla="*/ 1174052 w 1796129"/>
                <a:gd name="connsiteY56" fmla="*/ 1088961 h 1089118"/>
                <a:gd name="connsiteX57" fmla="*/ 1187387 w 1796129"/>
                <a:gd name="connsiteY57" fmla="*/ 1089056 h 1089118"/>
                <a:gd name="connsiteX58" fmla="*/ 1200722 w 1796129"/>
                <a:gd name="connsiteY58" fmla="*/ 1088961 h 1089118"/>
                <a:gd name="connsiteX59" fmla="*/ 1303782 w 1796129"/>
                <a:gd name="connsiteY59" fmla="*/ 1048194 h 1089118"/>
                <a:gd name="connsiteX60" fmla="*/ 1796129 w 1796129"/>
                <a:gd name="connsiteY60" fmla="*/ 547464 h 1089118"/>
                <a:gd name="connsiteX61" fmla="*/ 1746694 w 1796129"/>
                <a:gd name="connsiteY61" fmla="*/ 497649 h 1089118"/>
                <a:gd name="connsiteX62" fmla="*/ 1204627 w 1796129"/>
                <a:gd name="connsiteY62" fmla="*/ 66357 h 1089118"/>
                <a:gd name="connsiteX63" fmla="*/ 1261301 w 1796129"/>
                <a:gd name="connsiteY63" fmla="*/ 89883 h 1089118"/>
                <a:gd name="connsiteX64" fmla="*/ 1260824 w 1796129"/>
                <a:gd name="connsiteY64" fmla="*/ 90360 h 1089118"/>
                <a:gd name="connsiteX65" fmla="*/ 1317879 w 1796129"/>
                <a:gd name="connsiteY65" fmla="*/ 147795 h 1089118"/>
                <a:gd name="connsiteX66" fmla="*/ 1325975 w 1796129"/>
                <a:gd name="connsiteY66" fmla="*/ 155987 h 1089118"/>
                <a:gd name="connsiteX67" fmla="*/ 1514189 w 1796129"/>
                <a:gd name="connsiteY67" fmla="*/ 345725 h 1089118"/>
                <a:gd name="connsiteX68" fmla="*/ 1467517 w 1796129"/>
                <a:gd name="connsiteY68" fmla="*/ 392874 h 1089118"/>
                <a:gd name="connsiteX69" fmla="*/ 1151477 w 1796129"/>
                <a:gd name="connsiteY69" fmla="*/ 74358 h 1089118"/>
                <a:gd name="connsiteX70" fmla="*/ 1204627 w 1796129"/>
                <a:gd name="connsiteY70" fmla="*/ 66357 h 1089118"/>
                <a:gd name="connsiteX71" fmla="*/ 1012127 w 1796129"/>
                <a:gd name="connsiteY71" fmla="*/ 66357 h 1089118"/>
                <a:gd name="connsiteX72" fmla="*/ 1068800 w 1796129"/>
                <a:gd name="connsiteY72" fmla="*/ 89883 h 1089118"/>
                <a:gd name="connsiteX73" fmla="*/ 1068324 w 1796129"/>
                <a:gd name="connsiteY73" fmla="*/ 90360 h 1089118"/>
                <a:gd name="connsiteX74" fmla="*/ 1125379 w 1796129"/>
                <a:gd name="connsiteY74" fmla="*/ 147795 h 1089118"/>
                <a:gd name="connsiteX75" fmla="*/ 1133475 w 1796129"/>
                <a:gd name="connsiteY75" fmla="*/ 155987 h 1089118"/>
                <a:gd name="connsiteX76" fmla="*/ 1418082 w 1796129"/>
                <a:gd name="connsiteY76" fmla="*/ 442880 h 1089118"/>
                <a:gd name="connsiteX77" fmla="*/ 1371410 w 1796129"/>
                <a:gd name="connsiteY77" fmla="*/ 490029 h 1089118"/>
                <a:gd name="connsiteX78" fmla="*/ 958977 w 1796129"/>
                <a:gd name="connsiteY78" fmla="*/ 74358 h 1089118"/>
                <a:gd name="connsiteX79" fmla="*/ 1012127 w 1796129"/>
                <a:gd name="connsiteY79" fmla="*/ 66357 h 1089118"/>
                <a:gd name="connsiteX80" fmla="*/ 760667 w 1796129"/>
                <a:gd name="connsiteY80" fmla="*/ 76834 h 1089118"/>
                <a:gd name="connsiteX81" fmla="*/ 819722 w 1796129"/>
                <a:gd name="connsiteY81" fmla="*/ 66357 h 1089118"/>
                <a:gd name="connsiteX82" fmla="*/ 876395 w 1796129"/>
                <a:gd name="connsiteY82" fmla="*/ 89883 h 1089118"/>
                <a:gd name="connsiteX83" fmla="*/ 875919 w 1796129"/>
                <a:gd name="connsiteY83" fmla="*/ 90360 h 1089118"/>
                <a:gd name="connsiteX84" fmla="*/ 932974 w 1796129"/>
                <a:gd name="connsiteY84" fmla="*/ 147795 h 1089118"/>
                <a:gd name="connsiteX85" fmla="*/ 941070 w 1796129"/>
                <a:gd name="connsiteY85" fmla="*/ 155987 h 1089118"/>
                <a:gd name="connsiteX86" fmla="*/ 1322070 w 1796129"/>
                <a:gd name="connsiteY86" fmla="*/ 539940 h 1089118"/>
                <a:gd name="connsiteX87" fmla="*/ 1270540 w 1796129"/>
                <a:gd name="connsiteY87" fmla="*/ 591946 h 1089118"/>
                <a:gd name="connsiteX88" fmla="*/ 760667 w 1796129"/>
                <a:gd name="connsiteY88" fmla="*/ 76834 h 1089118"/>
                <a:gd name="connsiteX89" fmla="*/ 591598 w 1796129"/>
                <a:gd name="connsiteY89" fmla="*/ 1022762 h 1089118"/>
                <a:gd name="connsiteX90" fmla="*/ 534924 w 1796129"/>
                <a:gd name="connsiteY90" fmla="*/ 999235 h 1089118"/>
                <a:gd name="connsiteX91" fmla="*/ 535400 w 1796129"/>
                <a:gd name="connsiteY91" fmla="*/ 998759 h 1089118"/>
                <a:gd name="connsiteX92" fmla="*/ 478346 w 1796129"/>
                <a:gd name="connsiteY92" fmla="*/ 941323 h 1089118"/>
                <a:gd name="connsiteX93" fmla="*/ 470249 w 1796129"/>
                <a:gd name="connsiteY93" fmla="*/ 933132 h 1089118"/>
                <a:gd name="connsiteX94" fmla="*/ 282035 w 1796129"/>
                <a:gd name="connsiteY94" fmla="*/ 743394 h 1089118"/>
                <a:gd name="connsiteX95" fmla="*/ 328708 w 1796129"/>
                <a:gd name="connsiteY95" fmla="*/ 696245 h 1089118"/>
                <a:gd name="connsiteX96" fmla="*/ 644747 w 1796129"/>
                <a:gd name="connsiteY96" fmla="*/ 1014761 h 1089118"/>
                <a:gd name="connsiteX97" fmla="*/ 591598 w 1796129"/>
                <a:gd name="connsiteY97" fmla="*/ 1022762 h 1089118"/>
                <a:gd name="connsiteX98" fmla="*/ 784098 w 1796129"/>
                <a:gd name="connsiteY98" fmla="*/ 1022762 h 1089118"/>
                <a:gd name="connsiteX99" fmla="*/ 727424 w 1796129"/>
                <a:gd name="connsiteY99" fmla="*/ 999235 h 1089118"/>
                <a:gd name="connsiteX100" fmla="*/ 727901 w 1796129"/>
                <a:gd name="connsiteY100" fmla="*/ 998759 h 1089118"/>
                <a:gd name="connsiteX101" fmla="*/ 670846 w 1796129"/>
                <a:gd name="connsiteY101" fmla="*/ 941323 h 1089118"/>
                <a:gd name="connsiteX102" fmla="*/ 662750 w 1796129"/>
                <a:gd name="connsiteY102" fmla="*/ 933132 h 1089118"/>
                <a:gd name="connsiteX103" fmla="*/ 378143 w 1796129"/>
                <a:gd name="connsiteY103" fmla="*/ 646239 h 1089118"/>
                <a:gd name="connsiteX104" fmla="*/ 424815 w 1796129"/>
                <a:gd name="connsiteY104" fmla="*/ 599090 h 1089118"/>
                <a:gd name="connsiteX105" fmla="*/ 837248 w 1796129"/>
                <a:gd name="connsiteY105" fmla="*/ 1014761 h 1089118"/>
                <a:gd name="connsiteX106" fmla="*/ 784098 w 1796129"/>
                <a:gd name="connsiteY106" fmla="*/ 1022762 h 1089118"/>
                <a:gd name="connsiteX107" fmla="*/ 976503 w 1796129"/>
                <a:gd name="connsiteY107" fmla="*/ 1022762 h 1089118"/>
                <a:gd name="connsiteX108" fmla="*/ 919829 w 1796129"/>
                <a:gd name="connsiteY108" fmla="*/ 999235 h 1089118"/>
                <a:gd name="connsiteX109" fmla="*/ 920306 w 1796129"/>
                <a:gd name="connsiteY109" fmla="*/ 998759 h 1089118"/>
                <a:gd name="connsiteX110" fmla="*/ 863251 w 1796129"/>
                <a:gd name="connsiteY110" fmla="*/ 941323 h 1089118"/>
                <a:gd name="connsiteX111" fmla="*/ 855155 w 1796129"/>
                <a:gd name="connsiteY111" fmla="*/ 933132 h 1089118"/>
                <a:gd name="connsiteX112" fmla="*/ 474155 w 1796129"/>
                <a:gd name="connsiteY112" fmla="*/ 549179 h 1089118"/>
                <a:gd name="connsiteX113" fmla="*/ 525685 w 1796129"/>
                <a:gd name="connsiteY113" fmla="*/ 497077 h 1089118"/>
                <a:gd name="connsiteX114" fmla="*/ 1035558 w 1796129"/>
                <a:gd name="connsiteY114" fmla="*/ 1012380 h 1089118"/>
                <a:gd name="connsiteX115" fmla="*/ 976503 w 1796129"/>
                <a:gd name="connsiteY115" fmla="*/ 1022762 h 10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796129" h="1089118">
                  <a:moveTo>
                    <a:pt x="1746694" y="497649"/>
                  </a:moveTo>
                  <a:lnTo>
                    <a:pt x="1253966" y="998759"/>
                  </a:lnTo>
                  <a:lnTo>
                    <a:pt x="1254443" y="999235"/>
                  </a:lnTo>
                  <a:cubicBezTo>
                    <a:pt x="1246251" y="1006188"/>
                    <a:pt x="1237202" y="1011808"/>
                    <a:pt x="1227392" y="1015809"/>
                  </a:cubicBezTo>
                  <a:cubicBezTo>
                    <a:pt x="1214438" y="1020380"/>
                    <a:pt x="1200817" y="1022857"/>
                    <a:pt x="1187482" y="1023047"/>
                  </a:cubicBezTo>
                  <a:cubicBezTo>
                    <a:pt x="1174052" y="1022857"/>
                    <a:pt x="1160431" y="1020380"/>
                    <a:pt x="1147477" y="1015809"/>
                  </a:cubicBezTo>
                  <a:cubicBezTo>
                    <a:pt x="1137666" y="1011808"/>
                    <a:pt x="1128617" y="1006188"/>
                    <a:pt x="1120426" y="999235"/>
                  </a:cubicBezTo>
                  <a:lnTo>
                    <a:pt x="1120902" y="998759"/>
                  </a:lnTo>
                  <a:lnTo>
                    <a:pt x="575120" y="447166"/>
                  </a:lnTo>
                  <a:lnTo>
                    <a:pt x="597408" y="424687"/>
                  </a:lnTo>
                  <a:lnTo>
                    <a:pt x="596932" y="424211"/>
                  </a:lnTo>
                  <a:cubicBezTo>
                    <a:pt x="605123" y="417258"/>
                    <a:pt x="632365" y="389159"/>
                    <a:pt x="663607" y="389921"/>
                  </a:cubicBezTo>
                  <a:cubicBezTo>
                    <a:pt x="678847" y="389254"/>
                    <a:pt x="691610" y="393921"/>
                    <a:pt x="701897" y="400017"/>
                  </a:cubicBezTo>
                  <a:lnTo>
                    <a:pt x="701612" y="400303"/>
                  </a:lnTo>
                  <a:lnTo>
                    <a:pt x="1027462" y="729963"/>
                  </a:lnTo>
                  <a:lnTo>
                    <a:pt x="1029081" y="728344"/>
                  </a:lnTo>
                  <a:cubicBezTo>
                    <a:pt x="1050417" y="749775"/>
                    <a:pt x="1081850" y="771778"/>
                    <a:pt x="1130237" y="771778"/>
                  </a:cubicBezTo>
                  <a:cubicBezTo>
                    <a:pt x="1176052" y="771778"/>
                    <a:pt x="1227773" y="738441"/>
                    <a:pt x="1248632" y="713866"/>
                  </a:cubicBezTo>
                  <a:lnTo>
                    <a:pt x="1608296" y="354012"/>
                  </a:lnTo>
                  <a:lnTo>
                    <a:pt x="1310735" y="40925"/>
                  </a:lnTo>
                  <a:cubicBezTo>
                    <a:pt x="1289780" y="16350"/>
                    <a:pt x="1255395" y="1872"/>
                    <a:pt x="1207675" y="158"/>
                  </a:cubicBezTo>
                  <a:cubicBezTo>
                    <a:pt x="1173671" y="-1080"/>
                    <a:pt x="1129570" y="4825"/>
                    <a:pt x="1098899" y="23589"/>
                  </a:cubicBezTo>
                  <a:cubicBezTo>
                    <a:pt x="1078230" y="9588"/>
                    <a:pt x="1050417" y="1396"/>
                    <a:pt x="1015270" y="158"/>
                  </a:cubicBezTo>
                  <a:cubicBezTo>
                    <a:pt x="981266" y="-1080"/>
                    <a:pt x="937165" y="4825"/>
                    <a:pt x="906399" y="23589"/>
                  </a:cubicBezTo>
                  <a:cubicBezTo>
                    <a:pt x="885730" y="9588"/>
                    <a:pt x="857917" y="1396"/>
                    <a:pt x="822770" y="158"/>
                  </a:cubicBezTo>
                  <a:cubicBezTo>
                    <a:pt x="787146" y="-1080"/>
                    <a:pt x="740378" y="5397"/>
                    <a:pt x="709613" y="26352"/>
                  </a:cubicBezTo>
                  <a:cubicBezTo>
                    <a:pt x="688658" y="10635"/>
                    <a:pt x="659511" y="1491"/>
                    <a:pt x="622078" y="158"/>
                  </a:cubicBezTo>
                  <a:cubicBezTo>
                    <a:pt x="617792" y="-33"/>
                    <a:pt x="613315" y="-33"/>
                    <a:pt x="608743" y="63"/>
                  </a:cubicBezTo>
                  <a:cubicBezTo>
                    <a:pt x="604171" y="-33"/>
                    <a:pt x="599694" y="63"/>
                    <a:pt x="595408" y="158"/>
                  </a:cubicBezTo>
                  <a:cubicBezTo>
                    <a:pt x="547688" y="1872"/>
                    <a:pt x="513207" y="16350"/>
                    <a:pt x="492347" y="40925"/>
                  </a:cubicBezTo>
                  <a:lnTo>
                    <a:pt x="0" y="541654"/>
                  </a:lnTo>
                  <a:lnTo>
                    <a:pt x="49530" y="591470"/>
                  </a:lnTo>
                  <a:lnTo>
                    <a:pt x="542258" y="90360"/>
                  </a:lnTo>
                  <a:lnTo>
                    <a:pt x="541782" y="89883"/>
                  </a:lnTo>
                  <a:cubicBezTo>
                    <a:pt x="549878" y="82930"/>
                    <a:pt x="559022" y="77310"/>
                    <a:pt x="568833" y="73310"/>
                  </a:cubicBezTo>
                  <a:cubicBezTo>
                    <a:pt x="581787" y="68738"/>
                    <a:pt x="595408" y="66261"/>
                    <a:pt x="608838" y="66071"/>
                  </a:cubicBezTo>
                  <a:cubicBezTo>
                    <a:pt x="622268" y="66261"/>
                    <a:pt x="635889" y="68738"/>
                    <a:pt x="648748" y="73310"/>
                  </a:cubicBezTo>
                  <a:cubicBezTo>
                    <a:pt x="658559" y="77310"/>
                    <a:pt x="667607" y="82930"/>
                    <a:pt x="675799" y="89883"/>
                  </a:cubicBezTo>
                  <a:lnTo>
                    <a:pt x="675323" y="90360"/>
                  </a:lnTo>
                  <a:lnTo>
                    <a:pt x="1221105" y="641952"/>
                  </a:lnTo>
                  <a:lnTo>
                    <a:pt x="1198817" y="664431"/>
                  </a:lnTo>
                  <a:lnTo>
                    <a:pt x="1199293" y="664908"/>
                  </a:lnTo>
                  <a:cubicBezTo>
                    <a:pt x="1191197" y="671861"/>
                    <a:pt x="1163955" y="699960"/>
                    <a:pt x="1132618" y="699198"/>
                  </a:cubicBezTo>
                  <a:cubicBezTo>
                    <a:pt x="1095947" y="700722"/>
                    <a:pt x="1073468" y="671861"/>
                    <a:pt x="1065371" y="664908"/>
                  </a:cubicBezTo>
                  <a:lnTo>
                    <a:pt x="1065848" y="664431"/>
                  </a:lnTo>
                  <a:lnTo>
                    <a:pt x="780479" y="375252"/>
                  </a:lnTo>
                  <a:cubicBezTo>
                    <a:pt x="759619" y="350678"/>
                    <a:pt x="725615" y="317340"/>
                    <a:pt x="666083" y="317340"/>
                  </a:cubicBezTo>
                  <a:cubicBezTo>
                    <a:pt x="620268" y="317340"/>
                    <a:pt x="568547" y="350678"/>
                    <a:pt x="547688" y="375252"/>
                  </a:cubicBezTo>
                  <a:lnTo>
                    <a:pt x="188024" y="735107"/>
                  </a:lnTo>
                  <a:lnTo>
                    <a:pt x="485489" y="1048194"/>
                  </a:lnTo>
                  <a:cubicBezTo>
                    <a:pt x="506444" y="1072768"/>
                    <a:pt x="540830" y="1087246"/>
                    <a:pt x="588550" y="1088961"/>
                  </a:cubicBezTo>
                  <a:cubicBezTo>
                    <a:pt x="622554" y="1090199"/>
                    <a:pt x="666655" y="1084293"/>
                    <a:pt x="697325" y="1065529"/>
                  </a:cubicBezTo>
                  <a:cubicBezTo>
                    <a:pt x="717995" y="1079531"/>
                    <a:pt x="745808" y="1087722"/>
                    <a:pt x="780955" y="1088961"/>
                  </a:cubicBezTo>
                  <a:cubicBezTo>
                    <a:pt x="814959" y="1090199"/>
                    <a:pt x="859060" y="1084293"/>
                    <a:pt x="889730" y="1065529"/>
                  </a:cubicBezTo>
                  <a:cubicBezTo>
                    <a:pt x="910400" y="1079531"/>
                    <a:pt x="938213" y="1087722"/>
                    <a:pt x="973360" y="1088961"/>
                  </a:cubicBezTo>
                  <a:cubicBezTo>
                    <a:pt x="1008983" y="1090199"/>
                    <a:pt x="1055751" y="1083722"/>
                    <a:pt x="1086517" y="1062767"/>
                  </a:cubicBezTo>
                  <a:cubicBezTo>
                    <a:pt x="1107472" y="1078483"/>
                    <a:pt x="1136618" y="1087627"/>
                    <a:pt x="1174052" y="1088961"/>
                  </a:cubicBezTo>
                  <a:cubicBezTo>
                    <a:pt x="1178338" y="1089151"/>
                    <a:pt x="1182815" y="1089151"/>
                    <a:pt x="1187387" y="1089056"/>
                  </a:cubicBezTo>
                  <a:cubicBezTo>
                    <a:pt x="1191959" y="1089151"/>
                    <a:pt x="1196435" y="1089056"/>
                    <a:pt x="1200722" y="1088961"/>
                  </a:cubicBezTo>
                  <a:cubicBezTo>
                    <a:pt x="1248442" y="1087246"/>
                    <a:pt x="1282922" y="1072768"/>
                    <a:pt x="1303782" y="1048194"/>
                  </a:cubicBezTo>
                  <a:lnTo>
                    <a:pt x="1796129" y="547464"/>
                  </a:lnTo>
                  <a:lnTo>
                    <a:pt x="1746694" y="497649"/>
                  </a:lnTo>
                  <a:close/>
                  <a:moveTo>
                    <a:pt x="1204627" y="66357"/>
                  </a:moveTo>
                  <a:cubicBezTo>
                    <a:pt x="1225963" y="67881"/>
                    <a:pt x="1245394" y="76358"/>
                    <a:pt x="1261301" y="89883"/>
                  </a:cubicBezTo>
                  <a:lnTo>
                    <a:pt x="1260824" y="90360"/>
                  </a:lnTo>
                  <a:lnTo>
                    <a:pt x="1317879" y="147795"/>
                  </a:lnTo>
                  <a:lnTo>
                    <a:pt x="1325975" y="155987"/>
                  </a:lnTo>
                  <a:lnTo>
                    <a:pt x="1514189" y="345725"/>
                  </a:lnTo>
                  <a:lnTo>
                    <a:pt x="1467517" y="392874"/>
                  </a:lnTo>
                  <a:lnTo>
                    <a:pt x="1151477" y="74358"/>
                  </a:lnTo>
                  <a:cubicBezTo>
                    <a:pt x="1168527" y="67976"/>
                    <a:pt x="1187006" y="65118"/>
                    <a:pt x="1204627" y="66357"/>
                  </a:cubicBezTo>
                  <a:close/>
                  <a:moveTo>
                    <a:pt x="1012127" y="66357"/>
                  </a:moveTo>
                  <a:cubicBezTo>
                    <a:pt x="1033463" y="67881"/>
                    <a:pt x="1052894" y="76358"/>
                    <a:pt x="1068800" y="89883"/>
                  </a:cubicBezTo>
                  <a:lnTo>
                    <a:pt x="1068324" y="90360"/>
                  </a:lnTo>
                  <a:lnTo>
                    <a:pt x="1125379" y="147795"/>
                  </a:lnTo>
                  <a:lnTo>
                    <a:pt x="1133475" y="155987"/>
                  </a:lnTo>
                  <a:lnTo>
                    <a:pt x="1418082" y="442880"/>
                  </a:lnTo>
                  <a:lnTo>
                    <a:pt x="1371410" y="490029"/>
                  </a:lnTo>
                  <a:lnTo>
                    <a:pt x="958977" y="74358"/>
                  </a:lnTo>
                  <a:cubicBezTo>
                    <a:pt x="976122" y="67976"/>
                    <a:pt x="994505" y="65118"/>
                    <a:pt x="1012127" y="66357"/>
                  </a:cubicBezTo>
                  <a:close/>
                  <a:moveTo>
                    <a:pt x="760667" y="76834"/>
                  </a:moveTo>
                  <a:cubicBezTo>
                    <a:pt x="779336" y="68643"/>
                    <a:pt x="800005" y="65023"/>
                    <a:pt x="819722" y="66357"/>
                  </a:cubicBezTo>
                  <a:cubicBezTo>
                    <a:pt x="841058" y="67881"/>
                    <a:pt x="860488" y="76358"/>
                    <a:pt x="876395" y="89883"/>
                  </a:cubicBezTo>
                  <a:lnTo>
                    <a:pt x="875919" y="90360"/>
                  </a:lnTo>
                  <a:lnTo>
                    <a:pt x="932974" y="147795"/>
                  </a:lnTo>
                  <a:lnTo>
                    <a:pt x="941070" y="155987"/>
                  </a:lnTo>
                  <a:lnTo>
                    <a:pt x="1322070" y="539940"/>
                  </a:lnTo>
                  <a:lnTo>
                    <a:pt x="1270540" y="591946"/>
                  </a:lnTo>
                  <a:lnTo>
                    <a:pt x="760667" y="76834"/>
                  </a:lnTo>
                  <a:close/>
                  <a:moveTo>
                    <a:pt x="591598" y="1022762"/>
                  </a:moveTo>
                  <a:cubicBezTo>
                    <a:pt x="570262" y="1021238"/>
                    <a:pt x="550831" y="1012761"/>
                    <a:pt x="534924" y="999235"/>
                  </a:cubicBezTo>
                  <a:lnTo>
                    <a:pt x="535400" y="998759"/>
                  </a:lnTo>
                  <a:lnTo>
                    <a:pt x="478346" y="941323"/>
                  </a:lnTo>
                  <a:lnTo>
                    <a:pt x="470249" y="933132"/>
                  </a:lnTo>
                  <a:lnTo>
                    <a:pt x="282035" y="743394"/>
                  </a:lnTo>
                  <a:lnTo>
                    <a:pt x="328708" y="696245"/>
                  </a:lnTo>
                  <a:lnTo>
                    <a:pt x="644747" y="1014761"/>
                  </a:lnTo>
                  <a:cubicBezTo>
                    <a:pt x="627698" y="1021238"/>
                    <a:pt x="609314" y="1024000"/>
                    <a:pt x="591598" y="1022762"/>
                  </a:cubicBezTo>
                  <a:close/>
                  <a:moveTo>
                    <a:pt x="784098" y="1022762"/>
                  </a:moveTo>
                  <a:cubicBezTo>
                    <a:pt x="762762" y="1021238"/>
                    <a:pt x="743331" y="1012761"/>
                    <a:pt x="727424" y="999235"/>
                  </a:cubicBezTo>
                  <a:lnTo>
                    <a:pt x="727901" y="998759"/>
                  </a:lnTo>
                  <a:lnTo>
                    <a:pt x="670846" y="941323"/>
                  </a:lnTo>
                  <a:lnTo>
                    <a:pt x="662750" y="933132"/>
                  </a:lnTo>
                  <a:lnTo>
                    <a:pt x="378143" y="646239"/>
                  </a:lnTo>
                  <a:lnTo>
                    <a:pt x="424815" y="599090"/>
                  </a:lnTo>
                  <a:lnTo>
                    <a:pt x="837248" y="1014761"/>
                  </a:lnTo>
                  <a:cubicBezTo>
                    <a:pt x="820103" y="1021238"/>
                    <a:pt x="801719" y="1024000"/>
                    <a:pt x="784098" y="1022762"/>
                  </a:cubicBezTo>
                  <a:close/>
                  <a:moveTo>
                    <a:pt x="976503" y="1022762"/>
                  </a:moveTo>
                  <a:cubicBezTo>
                    <a:pt x="955167" y="1021238"/>
                    <a:pt x="935736" y="1012761"/>
                    <a:pt x="919829" y="999235"/>
                  </a:cubicBezTo>
                  <a:lnTo>
                    <a:pt x="920306" y="998759"/>
                  </a:lnTo>
                  <a:lnTo>
                    <a:pt x="863251" y="941323"/>
                  </a:lnTo>
                  <a:lnTo>
                    <a:pt x="855155" y="933132"/>
                  </a:lnTo>
                  <a:lnTo>
                    <a:pt x="474155" y="549179"/>
                  </a:lnTo>
                  <a:lnTo>
                    <a:pt x="525685" y="497077"/>
                  </a:lnTo>
                  <a:lnTo>
                    <a:pt x="1035558" y="1012380"/>
                  </a:lnTo>
                  <a:cubicBezTo>
                    <a:pt x="1016889" y="1020476"/>
                    <a:pt x="996220" y="1024191"/>
                    <a:pt x="976503" y="1022762"/>
                  </a:cubicBezTo>
                  <a:close/>
                </a:path>
              </a:pathLst>
            </a:custGeom>
            <a:solidFill>
              <a:schemeClr val="accent1"/>
            </a:solidFill>
            <a:ln w="9525" cap="flat">
              <a:noFill/>
              <a:prstDash val="solid"/>
              <a:miter/>
            </a:ln>
          </p:spPr>
          <p:txBody>
            <a:bodyPr rtlCol="0" anchor="ctr"/>
            <a:lstStyle/>
            <a:p>
              <a:endParaRPr lang="en-US" b="0" i="0">
                <a:latin typeface="Arial" panose="020B0604020202020204" pitchFamily="34" charset="0"/>
              </a:endParaRPr>
            </a:p>
          </p:txBody>
        </p:sp>
        <p:grpSp>
          <p:nvGrpSpPr>
            <p:cNvPr id="179" name="Group 178">
              <a:extLst>
                <a:ext uri="{FF2B5EF4-FFF2-40B4-BE49-F238E27FC236}">
                  <a16:creationId xmlns:a16="http://schemas.microsoft.com/office/drawing/2014/main" id="{B926D7BC-6803-A443-A7FE-2312FC6B896E}"/>
                </a:ext>
              </a:extLst>
            </p:cNvPr>
            <p:cNvGrpSpPr/>
            <p:nvPr userDrawn="1"/>
          </p:nvGrpSpPr>
          <p:grpSpPr>
            <a:xfrm>
              <a:off x="1215214" y="6234480"/>
              <a:ext cx="1367797" cy="210040"/>
              <a:chOff x="1215214" y="6300582"/>
              <a:chExt cx="1367797" cy="210040"/>
            </a:xfrm>
            <a:solidFill>
              <a:schemeClr val="bg2"/>
            </a:solidFill>
          </p:grpSpPr>
          <p:sp>
            <p:nvSpPr>
              <p:cNvPr id="180" name="Freeform 179">
                <a:extLst>
                  <a:ext uri="{FF2B5EF4-FFF2-40B4-BE49-F238E27FC236}">
                    <a16:creationId xmlns:a16="http://schemas.microsoft.com/office/drawing/2014/main" id="{701CC1B0-B94D-8649-9BCA-EFFD4FAE4C4C}"/>
                  </a:ext>
                </a:extLst>
              </p:cNvPr>
              <p:cNvSpPr/>
              <p:nvPr/>
            </p:nvSpPr>
            <p:spPr>
              <a:xfrm>
                <a:off x="1216741"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90 w 199052"/>
                  <a:gd name="connsiteY3" fmla="*/ 93631 h 198405"/>
                  <a:gd name="connsiteX4" fmla="*/ 149904 w 199052"/>
                  <a:gd name="connsiteY4" fmla="*/ 91345 h 198405"/>
                  <a:gd name="connsiteX5" fmla="*/ 152190 w 199052"/>
                  <a:gd name="connsiteY5" fmla="*/ 89059 h 198405"/>
                  <a:gd name="connsiteX6" fmla="*/ 157809 w 199052"/>
                  <a:gd name="connsiteY6" fmla="*/ 89059 h 198405"/>
                  <a:gd name="connsiteX7" fmla="*/ 191337 w 199052"/>
                  <a:gd name="connsiteY7" fmla="*/ 51530 h 198405"/>
                  <a:gd name="connsiteX8" fmla="*/ 191337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7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1 w 199052"/>
                  <a:gd name="connsiteY23" fmla="*/ 198406 h 198405"/>
                  <a:gd name="connsiteX24" fmla="*/ 153618 w 199052"/>
                  <a:gd name="connsiteY24" fmla="*/ 198406 h 198405"/>
                  <a:gd name="connsiteX25" fmla="*/ 199052 w 199052"/>
                  <a:gd name="connsiteY25" fmla="*/ 151447 h 198405"/>
                  <a:gd name="connsiteX26" fmla="*/ 199052 w 199052"/>
                  <a:gd name="connsiteY26" fmla="*/ 131826 h 198405"/>
                  <a:gd name="connsiteX27" fmla="*/ 153618 w 199052"/>
                  <a:gd name="connsiteY27" fmla="*/ 93917 h 198405"/>
                  <a:gd name="connsiteX28" fmla="*/ 147522 w 199052"/>
                  <a:gd name="connsiteY28" fmla="*/ 140208 h 198405"/>
                  <a:gd name="connsiteX29" fmla="*/ 119328 w 199052"/>
                  <a:gd name="connsiteY29" fmla="*/ 165830 h 198405"/>
                  <a:gd name="connsiteX30" fmla="*/ 75132 w 199052"/>
                  <a:gd name="connsiteY30" fmla="*/ 165830 h 198405"/>
                  <a:gd name="connsiteX31" fmla="*/ 73418 w 199052"/>
                  <a:gd name="connsiteY31" fmla="*/ 165449 h 198405"/>
                  <a:gd name="connsiteX32" fmla="*/ 72465 w 199052"/>
                  <a:gd name="connsiteY32" fmla="*/ 163544 h 198405"/>
                  <a:gd name="connsiteX33" fmla="*/ 72465 w 199052"/>
                  <a:gd name="connsiteY33" fmla="*/ 35719 h 198405"/>
                  <a:gd name="connsiteX34" fmla="*/ 73227 w 199052"/>
                  <a:gd name="connsiteY34" fmla="*/ 33052 h 198405"/>
                  <a:gd name="connsiteX35" fmla="*/ 75704 w 199052"/>
                  <a:gd name="connsiteY35" fmla="*/ 32480 h 198405"/>
                  <a:gd name="connsiteX36" fmla="*/ 119328 w 199052"/>
                  <a:gd name="connsiteY36" fmla="*/ 32480 h 198405"/>
                  <a:gd name="connsiteX37" fmla="*/ 138188 w 199052"/>
                  <a:gd name="connsiteY37" fmla="*/ 49435 h 198405"/>
                  <a:gd name="connsiteX38" fmla="*/ 138188 w 199052"/>
                  <a:gd name="connsiteY38" fmla="*/ 60770 h 198405"/>
                  <a:gd name="connsiteX39" fmla="*/ 118947 w 199052"/>
                  <a:gd name="connsiteY39" fmla="*/ 79534 h 198405"/>
                  <a:gd name="connsiteX40" fmla="*/ 99135 w 199052"/>
                  <a:gd name="connsiteY40" fmla="*/ 79724 h 198405"/>
                  <a:gd name="connsiteX41" fmla="*/ 93039 w 199052"/>
                  <a:gd name="connsiteY41" fmla="*/ 85820 h 198405"/>
                  <a:gd name="connsiteX42" fmla="*/ 93039 w 199052"/>
                  <a:gd name="connsiteY42" fmla="*/ 107156 h 198405"/>
                  <a:gd name="connsiteX43" fmla="*/ 99135 w 199052"/>
                  <a:gd name="connsiteY43" fmla="*/ 113252 h 198405"/>
                  <a:gd name="connsiteX44" fmla="*/ 121329 w 199052"/>
                  <a:gd name="connsiteY44" fmla="*/ 113252 h 198405"/>
                  <a:gd name="connsiteX45" fmla="*/ 147522 w 199052"/>
                  <a:gd name="connsiteY45" fmla="*/ 131540 h 198405"/>
                  <a:gd name="connsiteX46" fmla="*/ 147522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90" y="93631"/>
                    </a:lnTo>
                    <a:cubicBezTo>
                      <a:pt x="150951" y="93631"/>
                      <a:pt x="149904" y="92583"/>
                      <a:pt x="149904" y="91345"/>
                    </a:cubicBezTo>
                    <a:cubicBezTo>
                      <a:pt x="149904" y="90106"/>
                      <a:pt x="150951" y="89059"/>
                      <a:pt x="152190" y="89059"/>
                    </a:cubicBezTo>
                    <a:lnTo>
                      <a:pt x="157809" y="89059"/>
                    </a:lnTo>
                    <a:cubicBezTo>
                      <a:pt x="176669" y="86963"/>
                      <a:pt x="191337" y="70961"/>
                      <a:pt x="191337" y="51530"/>
                    </a:cubicBezTo>
                    <a:lnTo>
                      <a:pt x="191337" y="37814"/>
                    </a:lnTo>
                    <a:cubicBezTo>
                      <a:pt x="191337" y="16954"/>
                      <a:pt x="174383" y="95"/>
                      <a:pt x="153618" y="95"/>
                    </a:cubicBezTo>
                    <a:lnTo>
                      <a:pt x="1885" y="0"/>
                    </a:lnTo>
                    <a:cubicBezTo>
                      <a:pt x="837" y="0"/>
                      <a:pt x="75" y="857"/>
                      <a:pt x="75" y="1810"/>
                    </a:cubicBezTo>
                    <a:cubicBezTo>
                      <a:pt x="75" y="1810"/>
                      <a:pt x="-20" y="25717"/>
                      <a:pt x="75" y="25717"/>
                    </a:cubicBezTo>
                    <a:cubicBezTo>
                      <a:pt x="75" y="25717"/>
                      <a:pt x="-115" y="27051"/>
                      <a:pt x="837" y="27813"/>
                    </a:cubicBezTo>
                    <a:cubicBezTo>
                      <a:pt x="1409" y="28194"/>
                      <a:pt x="3123" y="28384"/>
                      <a:pt x="3123" y="28384"/>
                    </a:cubicBezTo>
                    <a:cubicBezTo>
                      <a:pt x="10172" y="29146"/>
                      <a:pt x="21221" y="34862"/>
                      <a:pt x="21221" y="39529"/>
                    </a:cubicBezTo>
                    <a:lnTo>
                      <a:pt x="21221" y="158115"/>
                    </a:lnTo>
                    <a:cubicBezTo>
                      <a:pt x="21030"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3" y="198310"/>
                      <a:pt x="1885" y="198310"/>
                    </a:cubicBezTo>
                    <a:lnTo>
                      <a:pt x="21221" y="198310"/>
                    </a:lnTo>
                    <a:cubicBezTo>
                      <a:pt x="21792" y="198310"/>
                      <a:pt x="22364" y="198406"/>
                      <a:pt x="23031" y="198406"/>
                    </a:cubicBezTo>
                    <a:lnTo>
                      <a:pt x="153618" y="198406"/>
                    </a:lnTo>
                    <a:cubicBezTo>
                      <a:pt x="180383" y="198406"/>
                      <a:pt x="199052" y="172307"/>
                      <a:pt x="199052" y="151447"/>
                    </a:cubicBezTo>
                    <a:lnTo>
                      <a:pt x="199052" y="131826"/>
                    </a:lnTo>
                    <a:cubicBezTo>
                      <a:pt x="199148" y="110871"/>
                      <a:pt x="187337" y="93917"/>
                      <a:pt x="153618" y="93917"/>
                    </a:cubicBezTo>
                    <a:close/>
                    <a:moveTo>
                      <a:pt x="147522" y="140208"/>
                    </a:moveTo>
                    <a:cubicBezTo>
                      <a:pt x="147713" y="160115"/>
                      <a:pt x="135711" y="165830"/>
                      <a:pt x="119328" y="165830"/>
                    </a:cubicBezTo>
                    <a:lnTo>
                      <a:pt x="75132" y="165830"/>
                    </a:lnTo>
                    <a:lnTo>
                      <a:pt x="73418" y="165449"/>
                    </a:lnTo>
                    <a:cubicBezTo>
                      <a:pt x="72465" y="164497"/>
                      <a:pt x="72465" y="163544"/>
                      <a:pt x="72465" y="163544"/>
                    </a:cubicBezTo>
                    <a:lnTo>
                      <a:pt x="72465" y="35719"/>
                    </a:lnTo>
                    <a:cubicBezTo>
                      <a:pt x="72465" y="35719"/>
                      <a:pt x="72465" y="33623"/>
                      <a:pt x="73227" y="33052"/>
                    </a:cubicBezTo>
                    <a:cubicBezTo>
                      <a:pt x="73989" y="32480"/>
                      <a:pt x="75704" y="32480"/>
                      <a:pt x="75704" y="32480"/>
                    </a:cubicBezTo>
                    <a:lnTo>
                      <a:pt x="119328" y="32480"/>
                    </a:lnTo>
                    <a:cubicBezTo>
                      <a:pt x="128758" y="32480"/>
                      <a:pt x="138188" y="40100"/>
                      <a:pt x="138188" y="49435"/>
                    </a:cubicBezTo>
                    <a:lnTo>
                      <a:pt x="138188" y="60770"/>
                    </a:lnTo>
                    <a:cubicBezTo>
                      <a:pt x="138378" y="66104"/>
                      <a:pt x="130091" y="80200"/>
                      <a:pt x="118947" y="79534"/>
                    </a:cubicBezTo>
                    <a:lnTo>
                      <a:pt x="99135" y="79724"/>
                    </a:lnTo>
                    <a:cubicBezTo>
                      <a:pt x="95801" y="79724"/>
                      <a:pt x="93039" y="82487"/>
                      <a:pt x="93039" y="85820"/>
                    </a:cubicBezTo>
                    <a:lnTo>
                      <a:pt x="93039" y="107156"/>
                    </a:lnTo>
                    <a:cubicBezTo>
                      <a:pt x="93039" y="110490"/>
                      <a:pt x="95801" y="113252"/>
                      <a:pt x="99135" y="113252"/>
                    </a:cubicBezTo>
                    <a:lnTo>
                      <a:pt x="121329" y="113252"/>
                    </a:lnTo>
                    <a:cubicBezTo>
                      <a:pt x="142188" y="114491"/>
                      <a:pt x="147427" y="126397"/>
                      <a:pt x="147522" y="131540"/>
                    </a:cubicBezTo>
                    <a:lnTo>
                      <a:pt x="147522"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1" name="Freeform 180">
                <a:extLst>
                  <a:ext uri="{FF2B5EF4-FFF2-40B4-BE49-F238E27FC236}">
                    <a16:creationId xmlns:a16="http://schemas.microsoft.com/office/drawing/2014/main" id="{E6A6D02C-C3CC-A049-8369-D06C979B087C}"/>
                  </a:ext>
                </a:extLst>
              </p:cNvPr>
              <p:cNvSpPr/>
              <p:nvPr/>
            </p:nvSpPr>
            <p:spPr>
              <a:xfrm>
                <a:off x="2417589" y="6302574"/>
                <a:ext cx="88118" cy="87832"/>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89 w 199052"/>
                  <a:gd name="connsiteY3" fmla="*/ 93631 h 198405"/>
                  <a:gd name="connsiteX4" fmla="*/ 149903 w 199052"/>
                  <a:gd name="connsiteY4" fmla="*/ 91345 h 198405"/>
                  <a:gd name="connsiteX5" fmla="*/ 152189 w 199052"/>
                  <a:gd name="connsiteY5" fmla="*/ 89059 h 198405"/>
                  <a:gd name="connsiteX6" fmla="*/ 157809 w 199052"/>
                  <a:gd name="connsiteY6" fmla="*/ 89059 h 198405"/>
                  <a:gd name="connsiteX7" fmla="*/ 191338 w 199052"/>
                  <a:gd name="connsiteY7" fmla="*/ 51530 h 198405"/>
                  <a:gd name="connsiteX8" fmla="*/ 191338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8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0 w 199052"/>
                  <a:gd name="connsiteY23" fmla="*/ 198406 h 198405"/>
                  <a:gd name="connsiteX24" fmla="*/ 153618 w 199052"/>
                  <a:gd name="connsiteY24" fmla="*/ 198406 h 198405"/>
                  <a:gd name="connsiteX25" fmla="*/ 199053 w 199052"/>
                  <a:gd name="connsiteY25" fmla="*/ 151447 h 198405"/>
                  <a:gd name="connsiteX26" fmla="*/ 199053 w 199052"/>
                  <a:gd name="connsiteY26" fmla="*/ 131826 h 198405"/>
                  <a:gd name="connsiteX27" fmla="*/ 153618 w 199052"/>
                  <a:gd name="connsiteY27" fmla="*/ 93917 h 198405"/>
                  <a:gd name="connsiteX28" fmla="*/ 147427 w 199052"/>
                  <a:gd name="connsiteY28" fmla="*/ 140208 h 198405"/>
                  <a:gd name="connsiteX29" fmla="*/ 119233 w 199052"/>
                  <a:gd name="connsiteY29" fmla="*/ 165830 h 198405"/>
                  <a:gd name="connsiteX30" fmla="*/ 75037 w 199052"/>
                  <a:gd name="connsiteY30" fmla="*/ 165830 h 198405"/>
                  <a:gd name="connsiteX31" fmla="*/ 73323 w 199052"/>
                  <a:gd name="connsiteY31" fmla="*/ 165449 h 198405"/>
                  <a:gd name="connsiteX32" fmla="*/ 72370 w 199052"/>
                  <a:gd name="connsiteY32" fmla="*/ 163544 h 198405"/>
                  <a:gd name="connsiteX33" fmla="*/ 72370 w 199052"/>
                  <a:gd name="connsiteY33" fmla="*/ 35719 h 198405"/>
                  <a:gd name="connsiteX34" fmla="*/ 73132 w 199052"/>
                  <a:gd name="connsiteY34" fmla="*/ 33052 h 198405"/>
                  <a:gd name="connsiteX35" fmla="*/ 75609 w 199052"/>
                  <a:gd name="connsiteY35" fmla="*/ 32480 h 198405"/>
                  <a:gd name="connsiteX36" fmla="*/ 119233 w 199052"/>
                  <a:gd name="connsiteY36" fmla="*/ 32480 h 198405"/>
                  <a:gd name="connsiteX37" fmla="*/ 138093 w 199052"/>
                  <a:gd name="connsiteY37" fmla="*/ 49435 h 198405"/>
                  <a:gd name="connsiteX38" fmla="*/ 138093 w 199052"/>
                  <a:gd name="connsiteY38" fmla="*/ 60770 h 198405"/>
                  <a:gd name="connsiteX39" fmla="*/ 118852 w 199052"/>
                  <a:gd name="connsiteY39" fmla="*/ 79534 h 198405"/>
                  <a:gd name="connsiteX40" fmla="*/ 99040 w 199052"/>
                  <a:gd name="connsiteY40" fmla="*/ 79724 h 198405"/>
                  <a:gd name="connsiteX41" fmla="*/ 92944 w 199052"/>
                  <a:gd name="connsiteY41" fmla="*/ 85820 h 198405"/>
                  <a:gd name="connsiteX42" fmla="*/ 92944 w 199052"/>
                  <a:gd name="connsiteY42" fmla="*/ 107156 h 198405"/>
                  <a:gd name="connsiteX43" fmla="*/ 99040 w 199052"/>
                  <a:gd name="connsiteY43" fmla="*/ 113252 h 198405"/>
                  <a:gd name="connsiteX44" fmla="*/ 121233 w 199052"/>
                  <a:gd name="connsiteY44" fmla="*/ 113252 h 198405"/>
                  <a:gd name="connsiteX45" fmla="*/ 147427 w 199052"/>
                  <a:gd name="connsiteY45" fmla="*/ 131540 h 198405"/>
                  <a:gd name="connsiteX46" fmla="*/ 147427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89" y="93631"/>
                    </a:lnTo>
                    <a:cubicBezTo>
                      <a:pt x="150951" y="93631"/>
                      <a:pt x="149903" y="92583"/>
                      <a:pt x="149903" y="91345"/>
                    </a:cubicBezTo>
                    <a:cubicBezTo>
                      <a:pt x="149903" y="90106"/>
                      <a:pt x="150951" y="89059"/>
                      <a:pt x="152189" y="89059"/>
                    </a:cubicBezTo>
                    <a:lnTo>
                      <a:pt x="157809" y="89059"/>
                    </a:lnTo>
                    <a:cubicBezTo>
                      <a:pt x="176669" y="86963"/>
                      <a:pt x="191338" y="70961"/>
                      <a:pt x="191338" y="51530"/>
                    </a:cubicBezTo>
                    <a:lnTo>
                      <a:pt x="191338" y="37814"/>
                    </a:lnTo>
                    <a:cubicBezTo>
                      <a:pt x="191338" y="16954"/>
                      <a:pt x="174478" y="95"/>
                      <a:pt x="153618" y="95"/>
                    </a:cubicBezTo>
                    <a:lnTo>
                      <a:pt x="1885" y="0"/>
                    </a:lnTo>
                    <a:cubicBezTo>
                      <a:pt x="838" y="0"/>
                      <a:pt x="75" y="857"/>
                      <a:pt x="75" y="1810"/>
                    </a:cubicBezTo>
                    <a:cubicBezTo>
                      <a:pt x="75" y="1810"/>
                      <a:pt x="-20" y="25717"/>
                      <a:pt x="75" y="25717"/>
                    </a:cubicBezTo>
                    <a:cubicBezTo>
                      <a:pt x="75" y="25717"/>
                      <a:pt x="-115" y="27051"/>
                      <a:pt x="838" y="27813"/>
                    </a:cubicBezTo>
                    <a:cubicBezTo>
                      <a:pt x="1409" y="28194"/>
                      <a:pt x="3123" y="28384"/>
                      <a:pt x="3123" y="28384"/>
                    </a:cubicBezTo>
                    <a:cubicBezTo>
                      <a:pt x="10172" y="29146"/>
                      <a:pt x="21221" y="34862"/>
                      <a:pt x="21221" y="39529"/>
                    </a:cubicBezTo>
                    <a:lnTo>
                      <a:pt x="21221" y="158115"/>
                    </a:lnTo>
                    <a:cubicBezTo>
                      <a:pt x="21031"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2" y="198310"/>
                      <a:pt x="1885" y="198310"/>
                    </a:cubicBezTo>
                    <a:lnTo>
                      <a:pt x="21221" y="198310"/>
                    </a:lnTo>
                    <a:cubicBezTo>
                      <a:pt x="21792" y="198310"/>
                      <a:pt x="22364" y="198406"/>
                      <a:pt x="23030" y="198406"/>
                    </a:cubicBezTo>
                    <a:lnTo>
                      <a:pt x="153618" y="198406"/>
                    </a:lnTo>
                    <a:cubicBezTo>
                      <a:pt x="180384" y="198406"/>
                      <a:pt x="199053" y="172307"/>
                      <a:pt x="199053" y="151447"/>
                    </a:cubicBezTo>
                    <a:lnTo>
                      <a:pt x="199053" y="131826"/>
                    </a:lnTo>
                    <a:cubicBezTo>
                      <a:pt x="199053" y="110871"/>
                      <a:pt x="187241" y="93917"/>
                      <a:pt x="153618" y="93917"/>
                    </a:cubicBezTo>
                    <a:close/>
                    <a:moveTo>
                      <a:pt x="147427" y="140208"/>
                    </a:moveTo>
                    <a:cubicBezTo>
                      <a:pt x="147618" y="160115"/>
                      <a:pt x="135616" y="165830"/>
                      <a:pt x="119233" y="165830"/>
                    </a:cubicBezTo>
                    <a:lnTo>
                      <a:pt x="75037" y="165830"/>
                    </a:lnTo>
                    <a:lnTo>
                      <a:pt x="73323" y="165449"/>
                    </a:lnTo>
                    <a:cubicBezTo>
                      <a:pt x="72370" y="164497"/>
                      <a:pt x="72370" y="163544"/>
                      <a:pt x="72370" y="163544"/>
                    </a:cubicBezTo>
                    <a:lnTo>
                      <a:pt x="72370" y="35719"/>
                    </a:lnTo>
                    <a:cubicBezTo>
                      <a:pt x="72370" y="35719"/>
                      <a:pt x="72370" y="33623"/>
                      <a:pt x="73132" y="33052"/>
                    </a:cubicBezTo>
                    <a:cubicBezTo>
                      <a:pt x="73894" y="32480"/>
                      <a:pt x="75609" y="32480"/>
                      <a:pt x="75609" y="32480"/>
                    </a:cubicBezTo>
                    <a:lnTo>
                      <a:pt x="119233" y="32480"/>
                    </a:lnTo>
                    <a:cubicBezTo>
                      <a:pt x="128663" y="32480"/>
                      <a:pt x="138093" y="40100"/>
                      <a:pt x="138093" y="49435"/>
                    </a:cubicBezTo>
                    <a:lnTo>
                      <a:pt x="138093" y="60770"/>
                    </a:lnTo>
                    <a:cubicBezTo>
                      <a:pt x="138283" y="66104"/>
                      <a:pt x="129901" y="80200"/>
                      <a:pt x="118852" y="79534"/>
                    </a:cubicBezTo>
                    <a:lnTo>
                      <a:pt x="99040" y="79724"/>
                    </a:lnTo>
                    <a:cubicBezTo>
                      <a:pt x="95706" y="79724"/>
                      <a:pt x="92944" y="82487"/>
                      <a:pt x="92944" y="85820"/>
                    </a:cubicBezTo>
                    <a:lnTo>
                      <a:pt x="92944" y="107156"/>
                    </a:lnTo>
                    <a:cubicBezTo>
                      <a:pt x="92944" y="110490"/>
                      <a:pt x="95706" y="113252"/>
                      <a:pt x="99040" y="113252"/>
                    </a:cubicBezTo>
                    <a:lnTo>
                      <a:pt x="121233" y="113252"/>
                    </a:lnTo>
                    <a:cubicBezTo>
                      <a:pt x="142093" y="114491"/>
                      <a:pt x="147237" y="126397"/>
                      <a:pt x="147427" y="131540"/>
                    </a:cubicBezTo>
                    <a:lnTo>
                      <a:pt x="147427" y="140208"/>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2" name="Freeform 181">
                <a:extLst>
                  <a:ext uri="{FF2B5EF4-FFF2-40B4-BE49-F238E27FC236}">
                    <a16:creationId xmlns:a16="http://schemas.microsoft.com/office/drawing/2014/main" id="{341315D8-D531-6747-8201-B67688A1EA9A}"/>
                  </a:ext>
                </a:extLst>
              </p:cNvPr>
              <p:cNvSpPr/>
              <p:nvPr/>
            </p:nvSpPr>
            <p:spPr>
              <a:xfrm>
                <a:off x="1399859" y="6302443"/>
                <a:ext cx="87290" cy="87921"/>
              </a:xfrm>
              <a:custGeom>
                <a:avLst/>
                <a:gdLst>
                  <a:gd name="connsiteX0" fmla="*/ 191167 w 197182"/>
                  <a:gd name="connsiteY0" fmla="*/ 11 h 198607"/>
                  <a:gd name="connsiteX1" fmla="*/ 130492 w 197182"/>
                  <a:gd name="connsiteY1" fmla="*/ 11 h 198607"/>
                  <a:gd name="connsiteX2" fmla="*/ 124396 w 197182"/>
                  <a:gd name="connsiteY2" fmla="*/ 6107 h 198607"/>
                  <a:gd name="connsiteX3" fmla="*/ 124396 w 197182"/>
                  <a:gd name="connsiteY3" fmla="*/ 20395 h 198607"/>
                  <a:gd name="connsiteX4" fmla="*/ 129921 w 197182"/>
                  <a:gd name="connsiteY4" fmla="*/ 22205 h 198607"/>
                  <a:gd name="connsiteX5" fmla="*/ 134874 w 197182"/>
                  <a:gd name="connsiteY5" fmla="*/ 25253 h 198607"/>
                  <a:gd name="connsiteX6" fmla="*/ 135826 w 197182"/>
                  <a:gd name="connsiteY6" fmla="*/ 27539 h 198607"/>
                  <a:gd name="connsiteX7" fmla="*/ 133350 w 197182"/>
                  <a:gd name="connsiteY7" fmla="*/ 36492 h 198607"/>
                  <a:gd name="connsiteX8" fmla="*/ 112490 w 197182"/>
                  <a:gd name="connsiteY8" fmla="*/ 70877 h 198607"/>
                  <a:gd name="connsiteX9" fmla="*/ 105537 w 197182"/>
                  <a:gd name="connsiteY9" fmla="*/ 75449 h 198607"/>
                  <a:gd name="connsiteX10" fmla="*/ 105061 w 197182"/>
                  <a:gd name="connsiteY10" fmla="*/ 75449 h 198607"/>
                  <a:gd name="connsiteX11" fmla="*/ 99250 w 197182"/>
                  <a:gd name="connsiteY11" fmla="*/ 71163 h 198607"/>
                  <a:gd name="connsiteX12" fmla="*/ 76390 w 197182"/>
                  <a:gd name="connsiteY12" fmla="*/ 38111 h 198607"/>
                  <a:gd name="connsiteX13" fmla="*/ 76009 w 197182"/>
                  <a:gd name="connsiteY13" fmla="*/ 24872 h 198607"/>
                  <a:gd name="connsiteX14" fmla="*/ 83153 w 197182"/>
                  <a:gd name="connsiteY14" fmla="*/ 21538 h 198607"/>
                  <a:gd name="connsiteX15" fmla="*/ 87058 w 197182"/>
                  <a:gd name="connsiteY15" fmla="*/ 16680 h 198607"/>
                  <a:gd name="connsiteX16" fmla="*/ 87058 w 197182"/>
                  <a:gd name="connsiteY16" fmla="*/ 4774 h 198607"/>
                  <a:gd name="connsiteX17" fmla="*/ 82963 w 197182"/>
                  <a:gd name="connsiteY17" fmla="*/ 11 h 198607"/>
                  <a:gd name="connsiteX18" fmla="*/ 6096 w 197182"/>
                  <a:gd name="connsiteY18" fmla="*/ 11 h 198607"/>
                  <a:gd name="connsiteX19" fmla="*/ 0 w 197182"/>
                  <a:gd name="connsiteY19" fmla="*/ 3726 h 198607"/>
                  <a:gd name="connsiteX20" fmla="*/ 0 w 197182"/>
                  <a:gd name="connsiteY20" fmla="*/ 19347 h 198607"/>
                  <a:gd name="connsiteX21" fmla="*/ 3429 w 197182"/>
                  <a:gd name="connsiteY21" fmla="*/ 26396 h 198607"/>
                  <a:gd name="connsiteX22" fmla="*/ 17431 w 197182"/>
                  <a:gd name="connsiteY22" fmla="*/ 33349 h 198607"/>
                  <a:gd name="connsiteX23" fmla="*/ 71533 w 197182"/>
                  <a:gd name="connsiteY23" fmla="*/ 110597 h 198607"/>
                  <a:gd name="connsiteX24" fmla="*/ 71533 w 197182"/>
                  <a:gd name="connsiteY24" fmla="*/ 162794 h 198607"/>
                  <a:gd name="connsiteX25" fmla="*/ 61055 w 197182"/>
                  <a:gd name="connsiteY25" fmla="*/ 167937 h 198607"/>
                  <a:gd name="connsiteX26" fmla="*/ 56007 w 197182"/>
                  <a:gd name="connsiteY26" fmla="*/ 168985 h 198607"/>
                  <a:gd name="connsiteX27" fmla="*/ 54197 w 197182"/>
                  <a:gd name="connsiteY27" fmla="*/ 170509 h 198607"/>
                  <a:gd name="connsiteX28" fmla="*/ 54102 w 197182"/>
                  <a:gd name="connsiteY28" fmla="*/ 170509 h 198607"/>
                  <a:gd name="connsiteX29" fmla="*/ 54102 w 197182"/>
                  <a:gd name="connsiteY29" fmla="*/ 170795 h 198607"/>
                  <a:gd name="connsiteX30" fmla="*/ 54102 w 197182"/>
                  <a:gd name="connsiteY30" fmla="*/ 196798 h 198607"/>
                  <a:gd name="connsiteX31" fmla="*/ 54102 w 197182"/>
                  <a:gd name="connsiteY31" fmla="*/ 197084 h 198607"/>
                  <a:gd name="connsiteX32" fmla="*/ 54197 w 197182"/>
                  <a:gd name="connsiteY32" fmla="*/ 197084 h 198607"/>
                  <a:gd name="connsiteX33" fmla="*/ 56007 w 197182"/>
                  <a:gd name="connsiteY33" fmla="*/ 198608 h 198607"/>
                  <a:gd name="connsiteX34" fmla="*/ 140779 w 197182"/>
                  <a:gd name="connsiteY34" fmla="*/ 198608 h 198607"/>
                  <a:gd name="connsiteX35" fmla="*/ 142589 w 197182"/>
                  <a:gd name="connsiteY35" fmla="*/ 197084 h 198607"/>
                  <a:gd name="connsiteX36" fmla="*/ 142684 w 197182"/>
                  <a:gd name="connsiteY36" fmla="*/ 197084 h 198607"/>
                  <a:gd name="connsiteX37" fmla="*/ 142684 w 197182"/>
                  <a:gd name="connsiteY37" fmla="*/ 196798 h 198607"/>
                  <a:gd name="connsiteX38" fmla="*/ 142684 w 197182"/>
                  <a:gd name="connsiteY38" fmla="*/ 170795 h 198607"/>
                  <a:gd name="connsiteX39" fmla="*/ 142684 w 197182"/>
                  <a:gd name="connsiteY39" fmla="*/ 170509 h 198607"/>
                  <a:gd name="connsiteX40" fmla="*/ 142589 w 197182"/>
                  <a:gd name="connsiteY40" fmla="*/ 170509 h 198607"/>
                  <a:gd name="connsiteX41" fmla="*/ 140779 w 197182"/>
                  <a:gd name="connsiteY41" fmla="*/ 168985 h 198607"/>
                  <a:gd name="connsiteX42" fmla="*/ 138589 w 197182"/>
                  <a:gd name="connsiteY42" fmla="*/ 168985 h 198607"/>
                  <a:gd name="connsiteX43" fmla="*/ 122777 w 197182"/>
                  <a:gd name="connsiteY43" fmla="*/ 160698 h 198607"/>
                  <a:gd name="connsiteX44" fmla="*/ 122777 w 197182"/>
                  <a:gd name="connsiteY44" fmla="*/ 115454 h 198607"/>
                  <a:gd name="connsiteX45" fmla="*/ 167068 w 197182"/>
                  <a:gd name="connsiteY45" fmla="*/ 46874 h 198607"/>
                  <a:gd name="connsiteX46" fmla="*/ 177260 w 197182"/>
                  <a:gd name="connsiteY46" fmla="*/ 33635 h 198607"/>
                  <a:gd name="connsiteX47" fmla="*/ 185547 w 197182"/>
                  <a:gd name="connsiteY47" fmla="*/ 28015 h 198607"/>
                  <a:gd name="connsiteX48" fmla="*/ 192214 w 197182"/>
                  <a:gd name="connsiteY48" fmla="*/ 26967 h 198607"/>
                  <a:gd name="connsiteX49" fmla="*/ 197167 w 197182"/>
                  <a:gd name="connsiteY49" fmla="*/ 21919 h 198607"/>
                  <a:gd name="connsiteX50" fmla="*/ 197167 w 197182"/>
                  <a:gd name="connsiteY50" fmla="*/ 6107 h 198607"/>
                  <a:gd name="connsiteX51" fmla="*/ 191167 w 197182"/>
                  <a:gd name="connsiteY51" fmla="*/ 11 h 1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7182" h="198607">
                    <a:moveTo>
                      <a:pt x="191167" y="11"/>
                    </a:moveTo>
                    <a:lnTo>
                      <a:pt x="130492" y="11"/>
                    </a:lnTo>
                    <a:cubicBezTo>
                      <a:pt x="125158" y="-84"/>
                      <a:pt x="124492" y="297"/>
                      <a:pt x="124396" y="6107"/>
                    </a:cubicBezTo>
                    <a:lnTo>
                      <a:pt x="124396" y="20395"/>
                    </a:lnTo>
                    <a:cubicBezTo>
                      <a:pt x="124492" y="23443"/>
                      <a:pt x="129921" y="22205"/>
                      <a:pt x="129921" y="22205"/>
                    </a:cubicBezTo>
                    <a:cubicBezTo>
                      <a:pt x="129921" y="22205"/>
                      <a:pt x="133159" y="22395"/>
                      <a:pt x="134874" y="25253"/>
                    </a:cubicBezTo>
                    <a:cubicBezTo>
                      <a:pt x="135255" y="25919"/>
                      <a:pt x="135826" y="27539"/>
                      <a:pt x="135826" y="27539"/>
                    </a:cubicBezTo>
                    <a:cubicBezTo>
                      <a:pt x="135826" y="27539"/>
                      <a:pt x="135922" y="31920"/>
                      <a:pt x="133350" y="36492"/>
                    </a:cubicBezTo>
                    <a:cubicBezTo>
                      <a:pt x="130492" y="41636"/>
                      <a:pt x="117919" y="62495"/>
                      <a:pt x="112490" y="70877"/>
                    </a:cubicBezTo>
                    <a:cubicBezTo>
                      <a:pt x="111823" y="73544"/>
                      <a:pt x="108394" y="75449"/>
                      <a:pt x="105537" y="75449"/>
                    </a:cubicBezTo>
                    <a:lnTo>
                      <a:pt x="105061" y="75449"/>
                    </a:lnTo>
                    <a:cubicBezTo>
                      <a:pt x="102298" y="75449"/>
                      <a:pt x="100489" y="73354"/>
                      <a:pt x="99250" y="71163"/>
                    </a:cubicBezTo>
                    <a:lnTo>
                      <a:pt x="76390" y="38111"/>
                    </a:lnTo>
                    <a:cubicBezTo>
                      <a:pt x="76390" y="38111"/>
                      <a:pt x="72676" y="30872"/>
                      <a:pt x="76009" y="24872"/>
                    </a:cubicBezTo>
                    <a:cubicBezTo>
                      <a:pt x="77343" y="22490"/>
                      <a:pt x="81915" y="21538"/>
                      <a:pt x="83153" y="21538"/>
                    </a:cubicBezTo>
                    <a:cubicBezTo>
                      <a:pt x="85725" y="21538"/>
                      <a:pt x="87058" y="21252"/>
                      <a:pt x="87058" y="16680"/>
                    </a:cubicBezTo>
                    <a:cubicBezTo>
                      <a:pt x="87058" y="15347"/>
                      <a:pt x="87058" y="4774"/>
                      <a:pt x="87058" y="4774"/>
                    </a:cubicBezTo>
                    <a:cubicBezTo>
                      <a:pt x="87058" y="2774"/>
                      <a:pt x="86392" y="11"/>
                      <a:pt x="82963" y="11"/>
                    </a:cubicBezTo>
                    <a:lnTo>
                      <a:pt x="6096" y="11"/>
                    </a:lnTo>
                    <a:cubicBezTo>
                      <a:pt x="2762" y="11"/>
                      <a:pt x="0" y="392"/>
                      <a:pt x="0" y="3726"/>
                    </a:cubicBezTo>
                    <a:lnTo>
                      <a:pt x="0" y="19347"/>
                    </a:lnTo>
                    <a:cubicBezTo>
                      <a:pt x="286" y="25062"/>
                      <a:pt x="-667" y="26205"/>
                      <a:pt x="3429" y="26396"/>
                    </a:cubicBezTo>
                    <a:cubicBezTo>
                      <a:pt x="10477" y="26681"/>
                      <a:pt x="17431" y="33349"/>
                      <a:pt x="17431" y="33349"/>
                    </a:cubicBezTo>
                    <a:lnTo>
                      <a:pt x="71533" y="110597"/>
                    </a:lnTo>
                    <a:lnTo>
                      <a:pt x="71533" y="162794"/>
                    </a:lnTo>
                    <a:cubicBezTo>
                      <a:pt x="71723" y="165461"/>
                      <a:pt x="65437" y="167175"/>
                      <a:pt x="61055" y="167937"/>
                    </a:cubicBezTo>
                    <a:lnTo>
                      <a:pt x="56007" y="168985"/>
                    </a:lnTo>
                    <a:cubicBezTo>
                      <a:pt x="55054" y="168985"/>
                      <a:pt x="54388" y="169652"/>
                      <a:pt x="54197" y="170509"/>
                    </a:cubicBezTo>
                    <a:cubicBezTo>
                      <a:pt x="54197" y="170509"/>
                      <a:pt x="54197" y="170509"/>
                      <a:pt x="54102" y="170509"/>
                    </a:cubicBezTo>
                    <a:lnTo>
                      <a:pt x="54102" y="170795"/>
                    </a:lnTo>
                    <a:lnTo>
                      <a:pt x="54102" y="196798"/>
                    </a:lnTo>
                    <a:lnTo>
                      <a:pt x="54102" y="197084"/>
                    </a:lnTo>
                    <a:lnTo>
                      <a:pt x="54197" y="197084"/>
                    </a:lnTo>
                    <a:cubicBezTo>
                      <a:pt x="54292" y="197941"/>
                      <a:pt x="55054" y="198608"/>
                      <a:pt x="56007" y="198608"/>
                    </a:cubicBezTo>
                    <a:lnTo>
                      <a:pt x="140779" y="198608"/>
                    </a:lnTo>
                    <a:cubicBezTo>
                      <a:pt x="141732" y="198608"/>
                      <a:pt x="142399" y="197941"/>
                      <a:pt x="142589" y="197084"/>
                    </a:cubicBezTo>
                    <a:lnTo>
                      <a:pt x="142684" y="197084"/>
                    </a:lnTo>
                    <a:lnTo>
                      <a:pt x="142684" y="196798"/>
                    </a:lnTo>
                    <a:lnTo>
                      <a:pt x="142684" y="170795"/>
                    </a:lnTo>
                    <a:lnTo>
                      <a:pt x="142684" y="170509"/>
                    </a:lnTo>
                    <a:cubicBezTo>
                      <a:pt x="142684" y="170509"/>
                      <a:pt x="142684" y="170509"/>
                      <a:pt x="142589" y="170509"/>
                    </a:cubicBezTo>
                    <a:cubicBezTo>
                      <a:pt x="142399" y="169652"/>
                      <a:pt x="141732" y="168985"/>
                      <a:pt x="140779" y="168985"/>
                    </a:cubicBezTo>
                    <a:lnTo>
                      <a:pt x="138589" y="168985"/>
                    </a:lnTo>
                    <a:cubicBezTo>
                      <a:pt x="131921" y="167937"/>
                      <a:pt x="123158" y="163937"/>
                      <a:pt x="122777" y="160698"/>
                    </a:cubicBezTo>
                    <a:lnTo>
                      <a:pt x="122777" y="115454"/>
                    </a:lnTo>
                    <a:lnTo>
                      <a:pt x="167068" y="46874"/>
                    </a:lnTo>
                    <a:cubicBezTo>
                      <a:pt x="167068" y="46874"/>
                      <a:pt x="174879" y="36397"/>
                      <a:pt x="177260" y="33635"/>
                    </a:cubicBezTo>
                    <a:cubicBezTo>
                      <a:pt x="180022" y="30491"/>
                      <a:pt x="182975" y="28872"/>
                      <a:pt x="185547" y="28015"/>
                    </a:cubicBezTo>
                    <a:lnTo>
                      <a:pt x="192214" y="26967"/>
                    </a:lnTo>
                    <a:cubicBezTo>
                      <a:pt x="197263" y="27253"/>
                      <a:pt x="197167" y="25253"/>
                      <a:pt x="197167" y="21919"/>
                    </a:cubicBezTo>
                    <a:lnTo>
                      <a:pt x="197167" y="6107"/>
                    </a:lnTo>
                    <a:cubicBezTo>
                      <a:pt x="197358" y="583"/>
                      <a:pt x="195739" y="11"/>
                      <a:pt x="191167" y="11"/>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3" name="Freeform 182">
                <a:extLst>
                  <a:ext uri="{FF2B5EF4-FFF2-40B4-BE49-F238E27FC236}">
                    <a16:creationId xmlns:a16="http://schemas.microsoft.com/office/drawing/2014/main" id="{4A607332-F2AE-9A42-8A44-386D1187666D}"/>
                  </a:ext>
                </a:extLst>
              </p:cNvPr>
              <p:cNvSpPr/>
              <p:nvPr/>
            </p:nvSpPr>
            <p:spPr>
              <a:xfrm>
                <a:off x="2248578" y="6302743"/>
                <a:ext cx="71625" cy="87157"/>
              </a:xfrm>
              <a:custGeom>
                <a:avLst/>
                <a:gdLst>
                  <a:gd name="connsiteX0" fmla="*/ 161258 w 161795"/>
                  <a:gd name="connsiteY0" fmla="*/ 166116 h 196881"/>
                  <a:gd name="connsiteX1" fmla="*/ 161258 w 161795"/>
                  <a:gd name="connsiteY1" fmla="*/ 124968 h 196881"/>
                  <a:gd name="connsiteX2" fmla="*/ 155163 w 161795"/>
                  <a:gd name="connsiteY2" fmla="*/ 118872 h 196881"/>
                  <a:gd name="connsiteX3" fmla="*/ 139351 w 161795"/>
                  <a:gd name="connsiteY3" fmla="*/ 118872 h 196881"/>
                  <a:gd name="connsiteX4" fmla="*/ 133255 w 161795"/>
                  <a:gd name="connsiteY4" fmla="*/ 124968 h 196881"/>
                  <a:gd name="connsiteX5" fmla="*/ 133255 w 161795"/>
                  <a:gd name="connsiteY5" fmla="*/ 132874 h 196881"/>
                  <a:gd name="connsiteX6" fmla="*/ 130683 w 161795"/>
                  <a:gd name="connsiteY6" fmla="*/ 143351 h 196881"/>
                  <a:gd name="connsiteX7" fmla="*/ 112395 w 161795"/>
                  <a:gd name="connsiteY7" fmla="*/ 160115 h 196881"/>
                  <a:gd name="connsiteX8" fmla="*/ 89440 w 161795"/>
                  <a:gd name="connsiteY8" fmla="*/ 162687 h 196881"/>
                  <a:gd name="connsiteX9" fmla="*/ 89440 w 161795"/>
                  <a:gd name="connsiteY9" fmla="*/ 162782 h 196881"/>
                  <a:gd name="connsiteX10" fmla="*/ 68485 w 161795"/>
                  <a:gd name="connsiteY10" fmla="*/ 162782 h 196881"/>
                  <a:gd name="connsiteX11" fmla="*/ 64484 w 161795"/>
                  <a:gd name="connsiteY11" fmla="*/ 157639 h 196881"/>
                  <a:gd name="connsiteX12" fmla="*/ 64484 w 161795"/>
                  <a:gd name="connsiteY12" fmla="*/ 39243 h 196881"/>
                  <a:gd name="connsiteX13" fmla="*/ 83534 w 161795"/>
                  <a:gd name="connsiteY13" fmla="*/ 28480 h 196881"/>
                  <a:gd name="connsiteX14" fmla="*/ 85440 w 161795"/>
                  <a:gd name="connsiteY14" fmla="*/ 27718 h 196881"/>
                  <a:gd name="connsiteX15" fmla="*/ 85820 w 161795"/>
                  <a:gd name="connsiteY15" fmla="*/ 25813 h 196881"/>
                  <a:gd name="connsiteX16" fmla="*/ 85630 w 161795"/>
                  <a:gd name="connsiteY16" fmla="*/ 1810 h 196881"/>
                  <a:gd name="connsiteX17" fmla="*/ 83820 w 161795"/>
                  <a:gd name="connsiteY17" fmla="*/ 0 h 196881"/>
                  <a:gd name="connsiteX18" fmla="*/ 2000 w 161795"/>
                  <a:gd name="connsiteY18" fmla="*/ 0 h 196881"/>
                  <a:gd name="connsiteX19" fmla="*/ 191 w 161795"/>
                  <a:gd name="connsiteY19" fmla="*/ 1810 h 196881"/>
                  <a:gd name="connsiteX20" fmla="*/ 0 w 161795"/>
                  <a:gd name="connsiteY20" fmla="*/ 25813 h 196881"/>
                  <a:gd name="connsiteX21" fmla="*/ 381 w 161795"/>
                  <a:gd name="connsiteY21" fmla="*/ 27718 h 196881"/>
                  <a:gd name="connsiteX22" fmla="*/ 2286 w 161795"/>
                  <a:gd name="connsiteY22" fmla="*/ 28480 h 196881"/>
                  <a:gd name="connsiteX23" fmla="*/ 21336 w 161795"/>
                  <a:gd name="connsiteY23" fmla="*/ 39243 h 196881"/>
                  <a:gd name="connsiteX24" fmla="*/ 21336 w 161795"/>
                  <a:gd name="connsiteY24" fmla="*/ 157639 h 196881"/>
                  <a:gd name="connsiteX25" fmla="*/ 2286 w 161795"/>
                  <a:gd name="connsiteY25" fmla="*/ 168402 h 196881"/>
                  <a:gd name="connsiteX26" fmla="*/ 381 w 161795"/>
                  <a:gd name="connsiteY26" fmla="*/ 169164 h 196881"/>
                  <a:gd name="connsiteX27" fmla="*/ 0 w 161795"/>
                  <a:gd name="connsiteY27" fmla="*/ 171069 h 196881"/>
                  <a:gd name="connsiteX28" fmla="*/ 191 w 161795"/>
                  <a:gd name="connsiteY28" fmla="*/ 195072 h 196881"/>
                  <a:gd name="connsiteX29" fmla="*/ 2000 w 161795"/>
                  <a:gd name="connsiteY29" fmla="*/ 196882 h 196881"/>
                  <a:gd name="connsiteX30" fmla="*/ 67437 w 161795"/>
                  <a:gd name="connsiteY30" fmla="*/ 196882 h 196881"/>
                  <a:gd name="connsiteX31" fmla="*/ 67533 w 161795"/>
                  <a:gd name="connsiteY31" fmla="*/ 196882 h 196881"/>
                  <a:gd name="connsiteX32" fmla="*/ 155639 w 161795"/>
                  <a:gd name="connsiteY32" fmla="*/ 196882 h 196881"/>
                  <a:gd name="connsiteX33" fmla="*/ 161735 w 161795"/>
                  <a:gd name="connsiteY33" fmla="*/ 190786 h 196881"/>
                  <a:gd name="connsiteX34" fmla="*/ 161735 w 161795"/>
                  <a:gd name="connsiteY34" fmla="*/ 168878 h 196881"/>
                  <a:gd name="connsiteX35" fmla="*/ 161258 w 161795"/>
                  <a:gd name="connsiteY35" fmla="*/ 166116 h 19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881">
                    <a:moveTo>
                      <a:pt x="161258" y="166116"/>
                    </a:moveTo>
                    <a:lnTo>
                      <a:pt x="161258" y="124968"/>
                    </a:lnTo>
                    <a:cubicBezTo>
                      <a:pt x="161258" y="121634"/>
                      <a:pt x="158496" y="118872"/>
                      <a:pt x="155163" y="118872"/>
                    </a:cubicBezTo>
                    <a:lnTo>
                      <a:pt x="139351" y="118872"/>
                    </a:lnTo>
                    <a:cubicBezTo>
                      <a:pt x="136017" y="118872"/>
                      <a:pt x="133255" y="121634"/>
                      <a:pt x="133255" y="124968"/>
                    </a:cubicBezTo>
                    <a:lnTo>
                      <a:pt x="133255" y="132874"/>
                    </a:lnTo>
                    <a:cubicBezTo>
                      <a:pt x="132969" y="136493"/>
                      <a:pt x="132112" y="140399"/>
                      <a:pt x="130683" y="143351"/>
                    </a:cubicBezTo>
                    <a:cubicBezTo>
                      <a:pt x="126588" y="151543"/>
                      <a:pt x="116396" y="158591"/>
                      <a:pt x="112395" y="160115"/>
                    </a:cubicBezTo>
                    <a:cubicBezTo>
                      <a:pt x="102394" y="163830"/>
                      <a:pt x="89440" y="162687"/>
                      <a:pt x="89440" y="162687"/>
                    </a:cubicBezTo>
                    <a:lnTo>
                      <a:pt x="89440" y="162782"/>
                    </a:lnTo>
                    <a:lnTo>
                      <a:pt x="68485" y="162782"/>
                    </a:lnTo>
                    <a:cubicBezTo>
                      <a:pt x="66104" y="161163"/>
                      <a:pt x="64484" y="159353"/>
                      <a:pt x="64484" y="157639"/>
                    </a:cubicBezTo>
                    <a:lnTo>
                      <a:pt x="64484" y="39243"/>
                    </a:lnTo>
                    <a:cubicBezTo>
                      <a:pt x="64484" y="34576"/>
                      <a:pt x="75248" y="29813"/>
                      <a:pt x="83534" y="28480"/>
                    </a:cubicBezTo>
                    <a:cubicBezTo>
                      <a:pt x="83534" y="28480"/>
                      <a:pt x="84868" y="28575"/>
                      <a:pt x="85440" y="27718"/>
                    </a:cubicBezTo>
                    <a:cubicBezTo>
                      <a:pt x="86011" y="26861"/>
                      <a:pt x="85725" y="25813"/>
                      <a:pt x="85820" y="25813"/>
                    </a:cubicBezTo>
                    <a:lnTo>
                      <a:pt x="85630" y="1810"/>
                    </a:lnTo>
                    <a:cubicBezTo>
                      <a:pt x="85630" y="762"/>
                      <a:pt x="84773" y="0"/>
                      <a:pt x="83820" y="0"/>
                    </a:cubicBezTo>
                    <a:lnTo>
                      <a:pt x="2000" y="0"/>
                    </a:lnTo>
                    <a:cubicBezTo>
                      <a:pt x="953" y="0"/>
                      <a:pt x="191" y="857"/>
                      <a:pt x="191" y="1810"/>
                    </a:cubicBezTo>
                    <a:lnTo>
                      <a:pt x="0" y="25813"/>
                    </a:lnTo>
                    <a:cubicBezTo>
                      <a:pt x="95" y="25813"/>
                      <a:pt x="-190" y="26861"/>
                      <a:pt x="381" y="27718"/>
                    </a:cubicBezTo>
                    <a:cubicBezTo>
                      <a:pt x="953" y="28575"/>
                      <a:pt x="2286" y="28480"/>
                      <a:pt x="2286" y="28480"/>
                    </a:cubicBezTo>
                    <a:cubicBezTo>
                      <a:pt x="10573" y="29813"/>
                      <a:pt x="21336" y="34576"/>
                      <a:pt x="21336" y="39243"/>
                    </a:cubicBezTo>
                    <a:lnTo>
                      <a:pt x="21336" y="157639"/>
                    </a:lnTo>
                    <a:cubicBezTo>
                      <a:pt x="21336" y="162306"/>
                      <a:pt x="10478" y="167069"/>
                      <a:pt x="2286" y="168402"/>
                    </a:cubicBezTo>
                    <a:cubicBezTo>
                      <a:pt x="2286" y="168402"/>
                      <a:pt x="953" y="168307"/>
                      <a:pt x="381" y="169164"/>
                    </a:cubicBezTo>
                    <a:cubicBezTo>
                      <a:pt x="-190" y="170021"/>
                      <a:pt x="95" y="171069"/>
                      <a:pt x="0" y="171069"/>
                    </a:cubicBezTo>
                    <a:lnTo>
                      <a:pt x="191" y="195072"/>
                    </a:lnTo>
                    <a:cubicBezTo>
                      <a:pt x="191" y="196120"/>
                      <a:pt x="1048" y="196882"/>
                      <a:pt x="2000" y="196882"/>
                    </a:cubicBezTo>
                    <a:lnTo>
                      <a:pt x="67437" y="196882"/>
                    </a:lnTo>
                    <a:cubicBezTo>
                      <a:pt x="67437" y="196882"/>
                      <a:pt x="67533" y="196882"/>
                      <a:pt x="67533" y="196882"/>
                    </a:cubicBezTo>
                    <a:lnTo>
                      <a:pt x="155639" y="196882"/>
                    </a:lnTo>
                    <a:cubicBezTo>
                      <a:pt x="158972" y="196882"/>
                      <a:pt x="161735" y="194120"/>
                      <a:pt x="161735" y="190786"/>
                    </a:cubicBezTo>
                    <a:lnTo>
                      <a:pt x="161735" y="168878"/>
                    </a:lnTo>
                    <a:cubicBezTo>
                      <a:pt x="161925" y="167831"/>
                      <a:pt x="161640" y="166878"/>
                      <a:pt x="161258" y="1661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4" name="Freeform 183">
                <a:extLst>
                  <a:ext uri="{FF2B5EF4-FFF2-40B4-BE49-F238E27FC236}">
                    <a16:creationId xmlns:a16="http://schemas.microsoft.com/office/drawing/2014/main" id="{B202E54D-2DB8-3B49-AA5C-DEC667C6E46F}"/>
                  </a:ext>
                </a:extLst>
              </p:cNvPr>
              <p:cNvSpPr/>
              <p:nvPr/>
            </p:nvSpPr>
            <p:spPr>
              <a:xfrm>
                <a:off x="1972728" y="6302911"/>
                <a:ext cx="71625" cy="86988"/>
              </a:xfrm>
              <a:custGeom>
                <a:avLst/>
                <a:gdLst>
                  <a:gd name="connsiteX0" fmla="*/ 161258 w 161795"/>
                  <a:gd name="connsiteY0" fmla="*/ 165735 h 196500"/>
                  <a:gd name="connsiteX1" fmla="*/ 161258 w 161795"/>
                  <a:gd name="connsiteY1" fmla="*/ 124587 h 196500"/>
                  <a:gd name="connsiteX2" fmla="*/ 155162 w 161795"/>
                  <a:gd name="connsiteY2" fmla="*/ 118491 h 196500"/>
                  <a:gd name="connsiteX3" fmla="*/ 139351 w 161795"/>
                  <a:gd name="connsiteY3" fmla="*/ 118491 h 196500"/>
                  <a:gd name="connsiteX4" fmla="*/ 133255 w 161795"/>
                  <a:gd name="connsiteY4" fmla="*/ 124587 h 196500"/>
                  <a:gd name="connsiteX5" fmla="*/ 133255 w 161795"/>
                  <a:gd name="connsiteY5" fmla="*/ 132493 h 196500"/>
                  <a:gd name="connsiteX6" fmla="*/ 130683 w 161795"/>
                  <a:gd name="connsiteY6" fmla="*/ 142970 h 196500"/>
                  <a:gd name="connsiteX7" fmla="*/ 112395 w 161795"/>
                  <a:gd name="connsiteY7" fmla="*/ 159734 h 196500"/>
                  <a:gd name="connsiteX8" fmla="*/ 89440 w 161795"/>
                  <a:gd name="connsiteY8" fmla="*/ 162306 h 196500"/>
                  <a:gd name="connsiteX9" fmla="*/ 89440 w 161795"/>
                  <a:gd name="connsiteY9" fmla="*/ 162401 h 196500"/>
                  <a:gd name="connsiteX10" fmla="*/ 68485 w 161795"/>
                  <a:gd name="connsiteY10" fmla="*/ 162401 h 196500"/>
                  <a:gd name="connsiteX11" fmla="*/ 64484 w 161795"/>
                  <a:gd name="connsiteY11" fmla="*/ 157258 h 196500"/>
                  <a:gd name="connsiteX12" fmla="*/ 64484 w 161795"/>
                  <a:gd name="connsiteY12" fmla="*/ 39243 h 196500"/>
                  <a:gd name="connsiteX13" fmla="*/ 83534 w 161795"/>
                  <a:gd name="connsiteY13" fmla="*/ 28480 h 196500"/>
                  <a:gd name="connsiteX14" fmla="*/ 85439 w 161795"/>
                  <a:gd name="connsiteY14" fmla="*/ 27718 h 196500"/>
                  <a:gd name="connsiteX15" fmla="*/ 85820 w 161795"/>
                  <a:gd name="connsiteY15" fmla="*/ 25813 h 196500"/>
                  <a:gd name="connsiteX16" fmla="*/ 85630 w 161795"/>
                  <a:gd name="connsiteY16" fmla="*/ 1810 h 196500"/>
                  <a:gd name="connsiteX17" fmla="*/ 83820 w 161795"/>
                  <a:gd name="connsiteY17" fmla="*/ 0 h 196500"/>
                  <a:gd name="connsiteX18" fmla="*/ 2000 w 161795"/>
                  <a:gd name="connsiteY18" fmla="*/ 0 h 196500"/>
                  <a:gd name="connsiteX19" fmla="*/ 190 w 161795"/>
                  <a:gd name="connsiteY19" fmla="*/ 1810 h 196500"/>
                  <a:gd name="connsiteX20" fmla="*/ 0 w 161795"/>
                  <a:gd name="connsiteY20" fmla="*/ 25813 h 196500"/>
                  <a:gd name="connsiteX21" fmla="*/ 381 w 161795"/>
                  <a:gd name="connsiteY21" fmla="*/ 27718 h 196500"/>
                  <a:gd name="connsiteX22" fmla="*/ 2286 w 161795"/>
                  <a:gd name="connsiteY22" fmla="*/ 28480 h 196500"/>
                  <a:gd name="connsiteX23" fmla="*/ 21336 w 161795"/>
                  <a:gd name="connsiteY23" fmla="*/ 39243 h 196500"/>
                  <a:gd name="connsiteX24" fmla="*/ 21336 w 161795"/>
                  <a:gd name="connsiteY24" fmla="*/ 157258 h 196500"/>
                  <a:gd name="connsiteX25" fmla="*/ 2286 w 161795"/>
                  <a:gd name="connsiteY25" fmla="*/ 168021 h 196500"/>
                  <a:gd name="connsiteX26" fmla="*/ 381 w 161795"/>
                  <a:gd name="connsiteY26" fmla="*/ 168783 h 196500"/>
                  <a:gd name="connsiteX27" fmla="*/ 0 w 161795"/>
                  <a:gd name="connsiteY27" fmla="*/ 170688 h 196500"/>
                  <a:gd name="connsiteX28" fmla="*/ 190 w 161795"/>
                  <a:gd name="connsiteY28" fmla="*/ 194691 h 196500"/>
                  <a:gd name="connsiteX29" fmla="*/ 2000 w 161795"/>
                  <a:gd name="connsiteY29" fmla="*/ 196501 h 196500"/>
                  <a:gd name="connsiteX30" fmla="*/ 67437 w 161795"/>
                  <a:gd name="connsiteY30" fmla="*/ 196501 h 196500"/>
                  <a:gd name="connsiteX31" fmla="*/ 67532 w 161795"/>
                  <a:gd name="connsiteY31" fmla="*/ 196501 h 196500"/>
                  <a:gd name="connsiteX32" fmla="*/ 155638 w 161795"/>
                  <a:gd name="connsiteY32" fmla="*/ 196501 h 196500"/>
                  <a:gd name="connsiteX33" fmla="*/ 161735 w 161795"/>
                  <a:gd name="connsiteY33" fmla="*/ 190405 h 196500"/>
                  <a:gd name="connsiteX34" fmla="*/ 161735 w 161795"/>
                  <a:gd name="connsiteY34" fmla="*/ 168497 h 196500"/>
                  <a:gd name="connsiteX35" fmla="*/ 161258 w 161795"/>
                  <a:gd name="connsiteY35" fmla="*/ 165735 h 19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500">
                    <a:moveTo>
                      <a:pt x="161258" y="165735"/>
                    </a:moveTo>
                    <a:lnTo>
                      <a:pt x="161258" y="124587"/>
                    </a:lnTo>
                    <a:cubicBezTo>
                      <a:pt x="161258" y="121253"/>
                      <a:pt x="158496" y="118491"/>
                      <a:pt x="155162" y="118491"/>
                    </a:cubicBezTo>
                    <a:lnTo>
                      <a:pt x="139351" y="118491"/>
                    </a:lnTo>
                    <a:cubicBezTo>
                      <a:pt x="136017" y="118491"/>
                      <a:pt x="133255" y="121253"/>
                      <a:pt x="133255" y="124587"/>
                    </a:cubicBezTo>
                    <a:lnTo>
                      <a:pt x="133255" y="132493"/>
                    </a:lnTo>
                    <a:cubicBezTo>
                      <a:pt x="132969" y="136112"/>
                      <a:pt x="132112" y="140017"/>
                      <a:pt x="130683" y="142970"/>
                    </a:cubicBezTo>
                    <a:cubicBezTo>
                      <a:pt x="126587" y="151162"/>
                      <a:pt x="116396" y="158210"/>
                      <a:pt x="112395" y="159734"/>
                    </a:cubicBezTo>
                    <a:cubicBezTo>
                      <a:pt x="102489" y="163449"/>
                      <a:pt x="89440" y="162306"/>
                      <a:pt x="89440" y="162306"/>
                    </a:cubicBezTo>
                    <a:lnTo>
                      <a:pt x="89440" y="162401"/>
                    </a:lnTo>
                    <a:lnTo>
                      <a:pt x="68485" y="162401"/>
                    </a:lnTo>
                    <a:cubicBezTo>
                      <a:pt x="66104" y="160782"/>
                      <a:pt x="64484" y="158972"/>
                      <a:pt x="64484" y="157258"/>
                    </a:cubicBezTo>
                    <a:lnTo>
                      <a:pt x="64484" y="39243"/>
                    </a:lnTo>
                    <a:cubicBezTo>
                      <a:pt x="64484" y="34576"/>
                      <a:pt x="75247" y="29813"/>
                      <a:pt x="83534" y="28480"/>
                    </a:cubicBezTo>
                    <a:cubicBezTo>
                      <a:pt x="83534" y="28480"/>
                      <a:pt x="84868" y="28480"/>
                      <a:pt x="85439" y="27718"/>
                    </a:cubicBezTo>
                    <a:cubicBezTo>
                      <a:pt x="86011" y="26956"/>
                      <a:pt x="85725" y="25813"/>
                      <a:pt x="85820" y="25813"/>
                    </a:cubicBezTo>
                    <a:lnTo>
                      <a:pt x="85630" y="1810"/>
                    </a:lnTo>
                    <a:cubicBezTo>
                      <a:pt x="85630" y="762"/>
                      <a:pt x="84772" y="0"/>
                      <a:pt x="83820" y="0"/>
                    </a:cubicBezTo>
                    <a:lnTo>
                      <a:pt x="2000" y="0"/>
                    </a:lnTo>
                    <a:cubicBezTo>
                      <a:pt x="953" y="0"/>
                      <a:pt x="190" y="857"/>
                      <a:pt x="190" y="1810"/>
                    </a:cubicBezTo>
                    <a:lnTo>
                      <a:pt x="0" y="25813"/>
                    </a:lnTo>
                    <a:cubicBezTo>
                      <a:pt x="95" y="25813"/>
                      <a:pt x="-190" y="26956"/>
                      <a:pt x="381" y="27718"/>
                    </a:cubicBezTo>
                    <a:cubicBezTo>
                      <a:pt x="953" y="28575"/>
                      <a:pt x="2286" y="28480"/>
                      <a:pt x="2286" y="28480"/>
                    </a:cubicBezTo>
                    <a:cubicBezTo>
                      <a:pt x="10573" y="29813"/>
                      <a:pt x="21336" y="34576"/>
                      <a:pt x="21336" y="39243"/>
                    </a:cubicBezTo>
                    <a:lnTo>
                      <a:pt x="21336" y="157258"/>
                    </a:lnTo>
                    <a:cubicBezTo>
                      <a:pt x="21336" y="161925"/>
                      <a:pt x="10573" y="166688"/>
                      <a:pt x="2286" y="168021"/>
                    </a:cubicBezTo>
                    <a:cubicBezTo>
                      <a:pt x="2286" y="168021"/>
                      <a:pt x="953" y="167926"/>
                      <a:pt x="381" y="168783"/>
                    </a:cubicBezTo>
                    <a:cubicBezTo>
                      <a:pt x="-190" y="169640"/>
                      <a:pt x="95" y="170688"/>
                      <a:pt x="0" y="170688"/>
                    </a:cubicBezTo>
                    <a:lnTo>
                      <a:pt x="190" y="194691"/>
                    </a:lnTo>
                    <a:cubicBezTo>
                      <a:pt x="190" y="195739"/>
                      <a:pt x="1048" y="196501"/>
                      <a:pt x="2000" y="196501"/>
                    </a:cubicBezTo>
                    <a:lnTo>
                      <a:pt x="67437" y="196501"/>
                    </a:lnTo>
                    <a:cubicBezTo>
                      <a:pt x="67437" y="196501"/>
                      <a:pt x="67532" y="196501"/>
                      <a:pt x="67532" y="196501"/>
                    </a:cubicBezTo>
                    <a:lnTo>
                      <a:pt x="155638" y="196501"/>
                    </a:lnTo>
                    <a:cubicBezTo>
                      <a:pt x="158972" y="196501"/>
                      <a:pt x="161735" y="193738"/>
                      <a:pt x="161735" y="190405"/>
                    </a:cubicBezTo>
                    <a:lnTo>
                      <a:pt x="161735" y="168497"/>
                    </a:lnTo>
                    <a:cubicBezTo>
                      <a:pt x="161925" y="167450"/>
                      <a:pt x="161639" y="166497"/>
                      <a:pt x="161258" y="165735"/>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5" name="Freeform 184">
                <a:extLst>
                  <a:ext uri="{FF2B5EF4-FFF2-40B4-BE49-F238E27FC236}">
                    <a16:creationId xmlns:a16="http://schemas.microsoft.com/office/drawing/2014/main" id="{EE74CB87-B9FE-5442-AB5F-E41FEF7DD45E}"/>
                  </a:ext>
                </a:extLst>
              </p:cNvPr>
              <p:cNvSpPr/>
              <p:nvPr/>
            </p:nvSpPr>
            <p:spPr>
              <a:xfrm>
                <a:off x="2315496" y="6302659"/>
                <a:ext cx="98036" cy="88591"/>
              </a:xfrm>
              <a:custGeom>
                <a:avLst/>
                <a:gdLst>
                  <a:gd name="connsiteX0" fmla="*/ 110680 w 221456"/>
                  <a:gd name="connsiteY0" fmla="*/ 165259 h 200120"/>
                  <a:gd name="connsiteX1" fmla="*/ 90488 w 221456"/>
                  <a:gd name="connsiteY1" fmla="*/ 164306 h 200120"/>
                  <a:gd name="connsiteX2" fmla="*/ 74009 w 221456"/>
                  <a:gd name="connsiteY2" fmla="*/ 154114 h 200120"/>
                  <a:gd name="connsiteX3" fmla="*/ 72295 w 221456"/>
                  <a:gd name="connsiteY3" fmla="*/ 127444 h 200120"/>
                  <a:gd name="connsiteX4" fmla="*/ 72295 w 221456"/>
                  <a:gd name="connsiteY4" fmla="*/ 39243 h 200120"/>
                  <a:gd name="connsiteX5" fmla="*/ 91345 w 221456"/>
                  <a:gd name="connsiteY5" fmla="*/ 28480 h 200120"/>
                  <a:gd name="connsiteX6" fmla="*/ 93250 w 221456"/>
                  <a:gd name="connsiteY6" fmla="*/ 27718 h 200120"/>
                  <a:gd name="connsiteX7" fmla="*/ 93631 w 221456"/>
                  <a:gd name="connsiteY7" fmla="*/ 25813 h 200120"/>
                  <a:gd name="connsiteX8" fmla="*/ 93440 w 221456"/>
                  <a:gd name="connsiteY8" fmla="*/ 1810 h 200120"/>
                  <a:gd name="connsiteX9" fmla="*/ 91630 w 221456"/>
                  <a:gd name="connsiteY9" fmla="*/ 0 h 200120"/>
                  <a:gd name="connsiteX10" fmla="*/ 2000 w 221456"/>
                  <a:gd name="connsiteY10" fmla="*/ 0 h 200120"/>
                  <a:gd name="connsiteX11" fmla="*/ 191 w 221456"/>
                  <a:gd name="connsiteY11" fmla="*/ 1810 h 200120"/>
                  <a:gd name="connsiteX12" fmla="*/ 0 w 221456"/>
                  <a:gd name="connsiteY12" fmla="*/ 25813 h 200120"/>
                  <a:gd name="connsiteX13" fmla="*/ 381 w 221456"/>
                  <a:gd name="connsiteY13" fmla="*/ 27718 h 200120"/>
                  <a:gd name="connsiteX14" fmla="*/ 2286 w 221456"/>
                  <a:gd name="connsiteY14" fmla="*/ 28480 h 200120"/>
                  <a:gd name="connsiteX15" fmla="*/ 21336 w 221456"/>
                  <a:gd name="connsiteY15" fmla="*/ 39243 h 200120"/>
                  <a:gd name="connsiteX16" fmla="*/ 21336 w 221456"/>
                  <a:gd name="connsiteY16" fmla="*/ 122968 h 200120"/>
                  <a:gd name="connsiteX17" fmla="*/ 21241 w 221456"/>
                  <a:gd name="connsiteY17" fmla="*/ 123063 h 200120"/>
                  <a:gd name="connsiteX18" fmla="*/ 21241 w 221456"/>
                  <a:gd name="connsiteY18" fmla="*/ 140398 h 200120"/>
                  <a:gd name="connsiteX19" fmla="*/ 25432 w 221456"/>
                  <a:gd name="connsiteY19" fmla="*/ 172593 h 200120"/>
                  <a:gd name="connsiteX20" fmla="*/ 104585 w 221456"/>
                  <a:gd name="connsiteY20" fmla="*/ 200120 h 200120"/>
                  <a:gd name="connsiteX21" fmla="*/ 114491 w 221456"/>
                  <a:gd name="connsiteY21" fmla="*/ 200120 h 200120"/>
                  <a:gd name="connsiteX22" fmla="*/ 196025 w 221456"/>
                  <a:gd name="connsiteY22" fmla="*/ 172593 h 200120"/>
                  <a:gd name="connsiteX23" fmla="*/ 200216 w 221456"/>
                  <a:gd name="connsiteY23" fmla="*/ 140398 h 200120"/>
                  <a:gd name="connsiteX24" fmla="*/ 200216 w 221456"/>
                  <a:gd name="connsiteY24" fmla="*/ 123063 h 200120"/>
                  <a:gd name="connsiteX25" fmla="*/ 200120 w 221456"/>
                  <a:gd name="connsiteY25" fmla="*/ 122968 h 200120"/>
                  <a:gd name="connsiteX26" fmla="*/ 200120 w 221456"/>
                  <a:gd name="connsiteY26" fmla="*/ 39243 h 200120"/>
                  <a:gd name="connsiteX27" fmla="*/ 219170 w 221456"/>
                  <a:gd name="connsiteY27" fmla="*/ 28480 h 200120"/>
                  <a:gd name="connsiteX28" fmla="*/ 221075 w 221456"/>
                  <a:gd name="connsiteY28" fmla="*/ 27718 h 200120"/>
                  <a:gd name="connsiteX29" fmla="*/ 221456 w 221456"/>
                  <a:gd name="connsiteY29" fmla="*/ 25813 h 200120"/>
                  <a:gd name="connsiteX30" fmla="*/ 221266 w 221456"/>
                  <a:gd name="connsiteY30" fmla="*/ 1810 h 200120"/>
                  <a:gd name="connsiteX31" fmla="*/ 219456 w 221456"/>
                  <a:gd name="connsiteY31" fmla="*/ 0 h 200120"/>
                  <a:gd name="connsiteX32" fmla="*/ 129826 w 221456"/>
                  <a:gd name="connsiteY32" fmla="*/ 0 h 200120"/>
                  <a:gd name="connsiteX33" fmla="*/ 128016 w 221456"/>
                  <a:gd name="connsiteY33" fmla="*/ 1810 h 200120"/>
                  <a:gd name="connsiteX34" fmla="*/ 127826 w 221456"/>
                  <a:gd name="connsiteY34" fmla="*/ 25813 h 200120"/>
                  <a:gd name="connsiteX35" fmla="*/ 128207 w 221456"/>
                  <a:gd name="connsiteY35" fmla="*/ 27718 h 200120"/>
                  <a:gd name="connsiteX36" fmla="*/ 130112 w 221456"/>
                  <a:gd name="connsiteY36" fmla="*/ 28480 h 200120"/>
                  <a:gd name="connsiteX37" fmla="*/ 149162 w 221456"/>
                  <a:gd name="connsiteY37" fmla="*/ 39243 h 200120"/>
                  <a:gd name="connsiteX38" fmla="*/ 149162 w 221456"/>
                  <a:gd name="connsiteY38" fmla="*/ 127444 h 200120"/>
                  <a:gd name="connsiteX39" fmla="*/ 147447 w 221456"/>
                  <a:gd name="connsiteY39" fmla="*/ 154114 h 200120"/>
                  <a:gd name="connsiteX40" fmla="*/ 130969 w 221456"/>
                  <a:gd name="connsiteY40" fmla="*/ 164306 h 200120"/>
                  <a:gd name="connsiteX41" fmla="*/ 110680 w 221456"/>
                  <a:gd name="connsiteY41" fmla="*/ 165259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1456" h="200120">
                    <a:moveTo>
                      <a:pt x="110680" y="165259"/>
                    </a:moveTo>
                    <a:cubicBezTo>
                      <a:pt x="105252" y="165163"/>
                      <a:pt x="93917" y="164878"/>
                      <a:pt x="90488" y="164306"/>
                    </a:cubicBezTo>
                    <a:cubicBezTo>
                      <a:pt x="84677" y="163259"/>
                      <a:pt x="77534" y="160210"/>
                      <a:pt x="74009" y="154114"/>
                    </a:cubicBezTo>
                    <a:cubicBezTo>
                      <a:pt x="71152" y="149257"/>
                      <a:pt x="72580" y="132969"/>
                      <a:pt x="72295" y="127444"/>
                    </a:cubicBezTo>
                    <a:lnTo>
                      <a:pt x="72295" y="39243"/>
                    </a:lnTo>
                    <a:cubicBezTo>
                      <a:pt x="72295" y="34576"/>
                      <a:pt x="83058" y="29813"/>
                      <a:pt x="91345" y="28480"/>
                    </a:cubicBezTo>
                    <a:cubicBezTo>
                      <a:pt x="91345" y="28480"/>
                      <a:pt x="92679" y="28575"/>
                      <a:pt x="93250" y="27718"/>
                    </a:cubicBezTo>
                    <a:cubicBezTo>
                      <a:pt x="93822" y="26860"/>
                      <a:pt x="93536" y="25813"/>
                      <a:pt x="93631" y="25813"/>
                    </a:cubicBezTo>
                    <a:lnTo>
                      <a:pt x="93440" y="1810"/>
                    </a:lnTo>
                    <a:cubicBezTo>
                      <a:pt x="93440" y="762"/>
                      <a:pt x="92583" y="0"/>
                      <a:pt x="91630" y="0"/>
                    </a:cubicBezTo>
                    <a:lnTo>
                      <a:pt x="2000" y="0"/>
                    </a:lnTo>
                    <a:cubicBezTo>
                      <a:pt x="953" y="0"/>
                      <a:pt x="191" y="857"/>
                      <a:pt x="191" y="1810"/>
                    </a:cubicBezTo>
                    <a:lnTo>
                      <a:pt x="0" y="25813"/>
                    </a:lnTo>
                    <a:cubicBezTo>
                      <a:pt x="95" y="25813"/>
                      <a:pt x="-190" y="26860"/>
                      <a:pt x="381" y="27718"/>
                    </a:cubicBezTo>
                    <a:cubicBezTo>
                      <a:pt x="953" y="28575"/>
                      <a:pt x="2286" y="28480"/>
                      <a:pt x="2286" y="28480"/>
                    </a:cubicBezTo>
                    <a:cubicBezTo>
                      <a:pt x="10573" y="29813"/>
                      <a:pt x="21336" y="34576"/>
                      <a:pt x="21336" y="39243"/>
                    </a:cubicBezTo>
                    <a:lnTo>
                      <a:pt x="21336" y="122968"/>
                    </a:lnTo>
                    <a:lnTo>
                      <a:pt x="21241" y="123063"/>
                    </a:lnTo>
                    <a:lnTo>
                      <a:pt x="21241" y="140398"/>
                    </a:lnTo>
                    <a:cubicBezTo>
                      <a:pt x="21241" y="140398"/>
                      <a:pt x="20955" y="165544"/>
                      <a:pt x="25432" y="172593"/>
                    </a:cubicBezTo>
                    <a:cubicBezTo>
                      <a:pt x="36672" y="190214"/>
                      <a:pt x="53626" y="200120"/>
                      <a:pt x="104585" y="200120"/>
                    </a:cubicBezTo>
                    <a:cubicBezTo>
                      <a:pt x="104966" y="200120"/>
                      <a:pt x="114110" y="200120"/>
                      <a:pt x="114491" y="200120"/>
                    </a:cubicBezTo>
                    <a:cubicBezTo>
                      <a:pt x="165449" y="200120"/>
                      <a:pt x="184881" y="190214"/>
                      <a:pt x="196025" y="172593"/>
                    </a:cubicBezTo>
                    <a:cubicBezTo>
                      <a:pt x="200502" y="165544"/>
                      <a:pt x="200216" y="140398"/>
                      <a:pt x="200216" y="140398"/>
                    </a:cubicBezTo>
                    <a:lnTo>
                      <a:pt x="200216" y="123063"/>
                    </a:lnTo>
                    <a:lnTo>
                      <a:pt x="200120" y="122968"/>
                    </a:lnTo>
                    <a:lnTo>
                      <a:pt x="200120" y="39243"/>
                    </a:lnTo>
                    <a:cubicBezTo>
                      <a:pt x="200120" y="34576"/>
                      <a:pt x="210884" y="29813"/>
                      <a:pt x="219170" y="28480"/>
                    </a:cubicBezTo>
                    <a:cubicBezTo>
                      <a:pt x="219170" y="28480"/>
                      <a:pt x="220504" y="28575"/>
                      <a:pt x="221075" y="27718"/>
                    </a:cubicBezTo>
                    <a:cubicBezTo>
                      <a:pt x="221647" y="26860"/>
                      <a:pt x="221361" y="25813"/>
                      <a:pt x="221456" y="25813"/>
                    </a:cubicBezTo>
                    <a:lnTo>
                      <a:pt x="221266" y="1810"/>
                    </a:lnTo>
                    <a:cubicBezTo>
                      <a:pt x="221266" y="762"/>
                      <a:pt x="220409" y="0"/>
                      <a:pt x="219456" y="0"/>
                    </a:cubicBezTo>
                    <a:lnTo>
                      <a:pt x="129826" y="0"/>
                    </a:lnTo>
                    <a:cubicBezTo>
                      <a:pt x="128778" y="0"/>
                      <a:pt x="128016" y="857"/>
                      <a:pt x="128016" y="1810"/>
                    </a:cubicBezTo>
                    <a:lnTo>
                      <a:pt x="127826" y="25813"/>
                    </a:lnTo>
                    <a:cubicBezTo>
                      <a:pt x="127921" y="25813"/>
                      <a:pt x="127635" y="26860"/>
                      <a:pt x="128207" y="27718"/>
                    </a:cubicBezTo>
                    <a:cubicBezTo>
                      <a:pt x="128778" y="28575"/>
                      <a:pt x="130112" y="28480"/>
                      <a:pt x="130112" y="28480"/>
                    </a:cubicBezTo>
                    <a:cubicBezTo>
                      <a:pt x="138399" y="29813"/>
                      <a:pt x="149162" y="34576"/>
                      <a:pt x="149162" y="39243"/>
                    </a:cubicBezTo>
                    <a:lnTo>
                      <a:pt x="149162" y="127444"/>
                    </a:lnTo>
                    <a:cubicBezTo>
                      <a:pt x="148780" y="132969"/>
                      <a:pt x="150305" y="149257"/>
                      <a:pt x="147447" y="154114"/>
                    </a:cubicBezTo>
                    <a:cubicBezTo>
                      <a:pt x="143923" y="160210"/>
                      <a:pt x="136779" y="163259"/>
                      <a:pt x="130969" y="164306"/>
                    </a:cubicBezTo>
                    <a:cubicBezTo>
                      <a:pt x="127445" y="164973"/>
                      <a:pt x="116110" y="165163"/>
                      <a:pt x="110680" y="165259"/>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6" name="Freeform 185">
                <a:extLst>
                  <a:ext uri="{FF2B5EF4-FFF2-40B4-BE49-F238E27FC236}">
                    <a16:creationId xmlns:a16="http://schemas.microsoft.com/office/drawing/2014/main" id="{4DB73E66-145B-B34A-A499-F2098F8B4F25}"/>
                  </a:ext>
                </a:extLst>
              </p:cNvPr>
              <p:cNvSpPr/>
              <p:nvPr/>
            </p:nvSpPr>
            <p:spPr>
              <a:xfrm>
                <a:off x="2162264" y="6300712"/>
                <a:ext cx="81085" cy="91322"/>
              </a:xfrm>
              <a:custGeom>
                <a:avLst/>
                <a:gdLst>
                  <a:gd name="connsiteX0" fmla="*/ 182689 w 183165"/>
                  <a:gd name="connsiteY0" fmla="*/ 146319 h 206289"/>
                  <a:gd name="connsiteX1" fmla="*/ 176593 w 183165"/>
                  <a:gd name="connsiteY1" fmla="*/ 140223 h 206289"/>
                  <a:gd name="connsiteX2" fmla="*/ 160782 w 183165"/>
                  <a:gd name="connsiteY2" fmla="*/ 140223 h 206289"/>
                  <a:gd name="connsiteX3" fmla="*/ 154686 w 183165"/>
                  <a:gd name="connsiteY3" fmla="*/ 146319 h 206289"/>
                  <a:gd name="connsiteX4" fmla="*/ 154686 w 183165"/>
                  <a:gd name="connsiteY4" fmla="*/ 148415 h 206289"/>
                  <a:gd name="connsiteX5" fmla="*/ 137922 w 183165"/>
                  <a:gd name="connsiteY5" fmla="*/ 169751 h 206289"/>
                  <a:gd name="connsiteX6" fmla="*/ 109918 w 183165"/>
                  <a:gd name="connsiteY6" fmla="*/ 174323 h 206289"/>
                  <a:gd name="connsiteX7" fmla="*/ 109251 w 183165"/>
                  <a:gd name="connsiteY7" fmla="*/ 174323 h 206289"/>
                  <a:gd name="connsiteX8" fmla="*/ 109156 w 183165"/>
                  <a:gd name="connsiteY8" fmla="*/ 174323 h 206289"/>
                  <a:gd name="connsiteX9" fmla="*/ 81153 w 183165"/>
                  <a:gd name="connsiteY9" fmla="*/ 169751 h 206289"/>
                  <a:gd name="connsiteX10" fmla="*/ 60770 w 183165"/>
                  <a:gd name="connsiteY10" fmla="*/ 146700 h 206289"/>
                  <a:gd name="connsiteX11" fmla="*/ 55054 w 183165"/>
                  <a:gd name="connsiteY11" fmla="*/ 101266 h 206289"/>
                  <a:gd name="connsiteX12" fmla="*/ 60770 w 183165"/>
                  <a:gd name="connsiteY12" fmla="*/ 52403 h 206289"/>
                  <a:gd name="connsiteX13" fmla="*/ 101632 w 183165"/>
                  <a:gd name="connsiteY13" fmla="*/ 31352 h 206289"/>
                  <a:gd name="connsiteX14" fmla="*/ 138684 w 183165"/>
                  <a:gd name="connsiteY14" fmla="*/ 45831 h 206289"/>
                  <a:gd name="connsiteX15" fmla="*/ 145542 w 183165"/>
                  <a:gd name="connsiteY15" fmla="*/ 58594 h 206289"/>
                  <a:gd name="connsiteX16" fmla="*/ 145542 w 183165"/>
                  <a:gd name="connsiteY16" fmla="*/ 60690 h 206289"/>
                  <a:gd name="connsiteX17" fmla="*/ 151638 w 183165"/>
                  <a:gd name="connsiteY17" fmla="*/ 66786 h 206289"/>
                  <a:gd name="connsiteX18" fmla="*/ 167450 w 183165"/>
                  <a:gd name="connsiteY18" fmla="*/ 66786 h 206289"/>
                  <a:gd name="connsiteX19" fmla="*/ 173545 w 183165"/>
                  <a:gd name="connsiteY19" fmla="*/ 60690 h 206289"/>
                  <a:gd name="connsiteX20" fmla="*/ 174021 w 183165"/>
                  <a:gd name="connsiteY20" fmla="*/ 13350 h 206289"/>
                  <a:gd name="connsiteX21" fmla="*/ 170688 w 183165"/>
                  <a:gd name="connsiteY21" fmla="*/ 6492 h 206289"/>
                  <a:gd name="connsiteX22" fmla="*/ 109633 w 183165"/>
                  <a:gd name="connsiteY22" fmla="*/ 15 h 206289"/>
                  <a:gd name="connsiteX23" fmla="*/ 38576 w 183165"/>
                  <a:gd name="connsiteY23" fmla="*/ 15255 h 206289"/>
                  <a:gd name="connsiteX24" fmla="*/ 0 w 183165"/>
                  <a:gd name="connsiteY24" fmla="*/ 98123 h 206289"/>
                  <a:gd name="connsiteX25" fmla="*/ 24384 w 183165"/>
                  <a:gd name="connsiteY25" fmla="*/ 179085 h 206289"/>
                  <a:gd name="connsiteX26" fmla="*/ 85249 w 183165"/>
                  <a:gd name="connsiteY26" fmla="*/ 204517 h 206289"/>
                  <a:gd name="connsiteX27" fmla="*/ 102298 w 183165"/>
                  <a:gd name="connsiteY27" fmla="*/ 205946 h 206289"/>
                  <a:gd name="connsiteX28" fmla="*/ 109251 w 183165"/>
                  <a:gd name="connsiteY28" fmla="*/ 206232 h 206289"/>
                  <a:gd name="connsiteX29" fmla="*/ 127540 w 183165"/>
                  <a:gd name="connsiteY29" fmla="*/ 205470 h 206289"/>
                  <a:gd name="connsiteX30" fmla="*/ 177069 w 183165"/>
                  <a:gd name="connsiteY30" fmla="*/ 199659 h 206289"/>
                  <a:gd name="connsiteX31" fmla="*/ 183166 w 183165"/>
                  <a:gd name="connsiteY31" fmla="*/ 193563 h 206289"/>
                  <a:gd name="connsiteX32" fmla="*/ 182689 w 183165"/>
                  <a:gd name="connsiteY32" fmla="*/ 146319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165" h="206289">
                    <a:moveTo>
                      <a:pt x="182689" y="146319"/>
                    </a:moveTo>
                    <a:cubicBezTo>
                      <a:pt x="182689" y="142986"/>
                      <a:pt x="179927" y="140223"/>
                      <a:pt x="176593" y="140223"/>
                    </a:cubicBezTo>
                    <a:lnTo>
                      <a:pt x="160782" y="140223"/>
                    </a:lnTo>
                    <a:cubicBezTo>
                      <a:pt x="157448" y="140223"/>
                      <a:pt x="154686" y="142986"/>
                      <a:pt x="154686" y="146319"/>
                    </a:cubicBezTo>
                    <a:lnTo>
                      <a:pt x="154686" y="148415"/>
                    </a:lnTo>
                    <a:cubicBezTo>
                      <a:pt x="154305" y="157178"/>
                      <a:pt x="143542" y="167465"/>
                      <a:pt x="137922" y="169751"/>
                    </a:cubicBezTo>
                    <a:cubicBezTo>
                      <a:pt x="127730" y="173847"/>
                      <a:pt x="124206" y="173847"/>
                      <a:pt x="109918" y="174323"/>
                    </a:cubicBezTo>
                    <a:cubicBezTo>
                      <a:pt x="109728" y="174323"/>
                      <a:pt x="109538" y="174323"/>
                      <a:pt x="109251" y="174323"/>
                    </a:cubicBezTo>
                    <a:lnTo>
                      <a:pt x="109156" y="174323"/>
                    </a:lnTo>
                    <a:cubicBezTo>
                      <a:pt x="94869" y="173847"/>
                      <a:pt x="91344" y="173847"/>
                      <a:pt x="81153" y="169751"/>
                    </a:cubicBezTo>
                    <a:cubicBezTo>
                      <a:pt x="75438" y="167465"/>
                      <a:pt x="64198" y="155844"/>
                      <a:pt x="60770" y="146700"/>
                    </a:cubicBezTo>
                    <a:cubicBezTo>
                      <a:pt x="58293" y="139652"/>
                      <a:pt x="55054" y="130698"/>
                      <a:pt x="55054" y="101266"/>
                    </a:cubicBezTo>
                    <a:cubicBezTo>
                      <a:pt x="55054" y="71834"/>
                      <a:pt x="57150" y="58213"/>
                      <a:pt x="60770" y="52403"/>
                    </a:cubicBezTo>
                    <a:cubicBezTo>
                      <a:pt x="67246" y="42116"/>
                      <a:pt x="77534" y="31352"/>
                      <a:pt x="101632" y="31352"/>
                    </a:cubicBezTo>
                    <a:cubicBezTo>
                      <a:pt x="125730" y="31352"/>
                      <a:pt x="134493" y="40116"/>
                      <a:pt x="138684" y="45831"/>
                    </a:cubicBezTo>
                    <a:cubicBezTo>
                      <a:pt x="138684" y="45831"/>
                      <a:pt x="145161" y="51165"/>
                      <a:pt x="145542" y="58594"/>
                    </a:cubicBezTo>
                    <a:lnTo>
                      <a:pt x="145542" y="60690"/>
                    </a:lnTo>
                    <a:cubicBezTo>
                      <a:pt x="145542" y="64023"/>
                      <a:pt x="148304" y="66786"/>
                      <a:pt x="151638" y="66786"/>
                    </a:cubicBezTo>
                    <a:lnTo>
                      <a:pt x="167450" y="66786"/>
                    </a:lnTo>
                    <a:cubicBezTo>
                      <a:pt x="170783" y="66786"/>
                      <a:pt x="173545" y="64023"/>
                      <a:pt x="173545" y="60690"/>
                    </a:cubicBezTo>
                    <a:lnTo>
                      <a:pt x="174021" y="13350"/>
                    </a:lnTo>
                    <a:cubicBezTo>
                      <a:pt x="174021" y="13350"/>
                      <a:pt x="174879" y="9921"/>
                      <a:pt x="170688" y="6492"/>
                    </a:cubicBezTo>
                    <a:cubicBezTo>
                      <a:pt x="170688" y="6492"/>
                      <a:pt x="147733" y="-366"/>
                      <a:pt x="109633" y="15"/>
                    </a:cubicBezTo>
                    <a:cubicBezTo>
                      <a:pt x="77914" y="301"/>
                      <a:pt x="52006" y="6873"/>
                      <a:pt x="38576" y="15255"/>
                    </a:cubicBezTo>
                    <a:cubicBezTo>
                      <a:pt x="25241" y="23637"/>
                      <a:pt x="0" y="48117"/>
                      <a:pt x="0" y="98123"/>
                    </a:cubicBezTo>
                    <a:cubicBezTo>
                      <a:pt x="0" y="148129"/>
                      <a:pt x="11049" y="166512"/>
                      <a:pt x="24384" y="179085"/>
                    </a:cubicBezTo>
                    <a:cubicBezTo>
                      <a:pt x="35433" y="189468"/>
                      <a:pt x="51816" y="200326"/>
                      <a:pt x="85249" y="204517"/>
                    </a:cubicBezTo>
                    <a:cubicBezTo>
                      <a:pt x="86296" y="205374"/>
                      <a:pt x="95155" y="205946"/>
                      <a:pt x="102298" y="205946"/>
                    </a:cubicBezTo>
                    <a:cubicBezTo>
                      <a:pt x="104584" y="206041"/>
                      <a:pt x="106870" y="206136"/>
                      <a:pt x="109251" y="206232"/>
                    </a:cubicBezTo>
                    <a:cubicBezTo>
                      <a:pt x="116205" y="206422"/>
                      <a:pt x="122301" y="206136"/>
                      <a:pt x="127540" y="205470"/>
                    </a:cubicBezTo>
                    <a:cubicBezTo>
                      <a:pt x="167640" y="203946"/>
                      <a:pt x="177069" y="199659"/>
                      <a:pt x="177069" y="199659"/>
                    </a:cubicBezTo>
                    <a:cubicBezTo>
                      <a:pt x="180404" y="199659"/>
                      <a:pt x="183166" y="196897"/>
                      <a:pt x="183166" y="193563"/>
                    </a:cubicBezTo>
                    <a:lnTo>
                      <a:pt x="182689" y="146319"/>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7" name="Freeform 186">
                <a:extLst>
                  <a:ext uri="{FF2B5EF4-FFF2-40B4-BE49-F238E27FC236}">
                    <a16:creationId xmlns:a16="http://schemas.microsoft.com/office/drawing/2014/main" id="{90672EB2-1320-4045-B018-54357ED53BA2}"/>
                  </a:ext>
                </a:extLst>
              </p:cNvPr>
              <p:cNvSpPr/>
              <p:nvPr/>
            </p:nvSpPr>
            <p:spPr>
              <a:xfrm>
                <a:off x="1736261" y="6300670"/>
                <a:ext cx="85049" cy="91322"/>
              </a:xfrm>
              <a:custGeom>
                <a:avLst/>
                <a:gdLst>
                  <a:gd name="connsiteX0" fmla="*/ 191548 w 192119"/>
                  <a:gd name="connsiteY0" fmla="*/ 145843 h 206289"/>
                  <a:gd name="connsiteX1" fmla="*/ 192119 w 192119"/>
                  <a:gd name="connsiteY1" fmla="*/ 144890 h 206289"/>
                  <a:gd name="connsiteX2" fmla="*/ 191643 w 192119"/>
                  <a:gd name="connsiteY2" fmla="*/ 97551 h 206289"/>
                  <a:gd name="connsiteX3" fmla="*/ 185547 w 192119"/>
                  <a:gd name="connsiteY3" fmla="*/ 91455 h 206289"/>
                  <a:gd name="connsiteX4" fmla="*/ 114300 w 192119"/>
                  <a:gd name="connsiteY4" fmla="*/ 91455 h 206289"/>
                  <a:gd name="connsiteX5" fmla="*/ 108204 w 192119"/>
                  <a:gd name="connsiteY5" fmla="*/ 97551 h 206289"/>
                  <a:gd name="connsiteX6" fmla="*/ 108204 w 192119"/>
                  <a:gd name="connsiteY6" fmla="*/ 99647 h 206289"/>
                  <a:gd name="connsiteX7" fmla="*/ 108204 w 192119"/>
                  <a:gd name="connsiteY7" fmla="*/ 116030 h 206289"/>
                  <a:gd name="connsiteX8" fmla="*/ 108204 w 192119"/>
                  <a:gd name="connsiteY8" fmla="*/ 118125 h 206289"/>
                  <a:gd name="connsiteX9" fmla="*/ 114300 w 192119"/>
                  <a:gd name="connsiteY9" fmla="*/ 124221 h 206289"/>
                  <a:gd name="connsiteX10" fmla="*/ 141827 w 192119"/>
                  <a:gd name="connsiteY10" fmla="*/ 124221 h 206289"/>
                  <a:gd name="connsiteX11" fmla="*/ 141827 w 192119"/>
                  <a:gd name="connsiteY11" fmla="*/ 167560 h 206289"/>
                  <a:gd name="connsiteX12" fmla="*/ 138017 w 192119"/>
                  <a:gd name="connsiteY12" fmla="*/ 169751 h 206289"/>
                  <a:gd name="connsiteX13" fmla="*/ 110014 w 192119"/>
                  <a:gd name="connsiteY13" fmla="*/ 174323 h 206289"/>
                  <a:gd name="connsiteX14" fmla="*/ 109347 w 192119"/>
                  <a:gd name="connsiteY14" fmla="*/ 174323 h 206289"/>
                  <a:gd name="connsiteX15" fmla="*/ 109252 w 192119"/>
                  <a:gd name="connsiteY15" fmla="*/ 174323 h 206289"/>
                  <a:gd name="connsiteX16" fmla="*/ 81248 w 192119"/>
                  <a:gd name="connsiteY16" fmla="*/ 169751 h 206289"/>
                  <a:gd name="connsiteX17" fmla="*/ 60769 w 192119"/>
                  <a:gd name="connsiteY17" fmla="*/ 146700 h 206289"/>
                  <a:gd name="connsiteX18" fmla="*/ 55054 w 192119"/>
                  <a:gd name="connsiteY18" fmla="*/ 101266 h 206289"/>
                  <a:gd name="connsiteX19" fmla="*/ 60769 w 192119"/>
                  <a:gd name="connsiteY19" fmla="*/ 52403 h 206289"/>
                  <a:gd name="connsiteX20" fmla="*/ 101632 w 192119"/>
                  <a:gd name="connsiteY20" fmla="*/ 31353 h 206289"/>
                  <a:gd name="connsiteX21" fmla="*/ 138684 w 192119"/>
                  <a:gd name="connsiteY21" fmla="*/ 45831 h 206289"/>
                  <a:gd name="connsiteX22" fmla="*/ 145542 w 192119"/>
                  <a:gd name="connsiteY22" fmla="*/ 58594 h 206289"/>
                  <a:gd name="connsiteX23" fmla="*/ 145542 w 192119"/>
                  <a:gd name="connsiteY23" fmla="*/ 60690 h 206289"/>
                  <a:gd name="connsiteX24" fmla="*/ 151638 w 192119"/>
                  <a:gd name="connsiteY24" fmla="*/ 66786 h 206289"/>
                  <a:gd name="connsiteX25" fmla="*/ 167449 w 192119"/>
                  <a:gd name="connsiteY25" fmla="*/ 66786 h 206289"/>
                  <a:gd name="connsiteX26" fmla="*/ 173546 w 192119"/>
                  <a:gd name="connsiteY26" fmla="*/ 60690 h 206289"/>
                  <a:gd name="connsiteX27" fmla="*/ 174022 w 192119"/>
                  <a:gd name="connsiteY27" fmla="*/ 13350 h 206289"/>
                  <a:gd name="connsiteX28" fmla="*/ 170688 w 192119"/>
                  <a:gd name="connsiteY28" fmla="*/ 6492 h 206289"/>
                  <a:gd name="connsiteX29" fmla="*/ 109633 w 192119"/>
                  <a:gd name="connsiteY29" fmla="*/ 15 h 206289"/>
                  <a:gd name="connsiteX30" fmla="*/ 38576 w 192119"/>
                  <a:gd name="connsiteY30" fmla="*/ 15255 h 206289"/>
                  <a:gd name="connsiteX31" fmla="*/ 0 w 192119"/>
                  <a:gd name="connsiteY31" fmla="*/ 98123 h 206289"/>
                  <a:gd name="connsiteX32" fmla="*/ 24384 w 192119"/>
                  <a:gd name="connsiteY32" fmla="*/ 179085 h 206289"/>
                  <a:gd name="connsiteX33" fmla="*/ 85249 w 192119"/>
                  <a:gd name="connsiteY33" fmla="*/ 204517 h 206289"/>
                  <a:gd name="connsiteX34" fmla="*/ 102298 w 192119"/>
                  <a:gd name="connsiteY34" fmla="*/ 205946 h 206289"/>
                  <a:gd name="connsiteX35" fmla="*/ 109252 w 192119"/>
                  <a:gd name="connsiteY35" fmla="*/ 206232 h 206289"/>
                  <a:gd name="connsiteX36" fmla="*/ 127540 w 192119"/>
                  <a:gd name="connsiteY36" fmla="*/ 205469 h 206289"/>
                  <a:gd name="connsiteX37" fmla="*/ 185928 w 192119"/>
                  <a:gd name="connsiteY37" fmla="*/ 199659 h 206289"/>
                  <a:gd name="connsiteX38" fmla="*/ 192024 w 192119"/>
                  <a:gd name="connsiteY38" fmla="*/ 193563 h 206289"/>
                  <a:gd name="connsiteX39" fmla="*/ 191548 w 192119"/>
                  <a:gd name="connsiteY39" fmla="*/ 146224 h 206289"/>
                  <a:gd name="connsiteX40" fmla="*/ 191548 w 192119"/>
                  <a:gd name="connsiteY40" fmla="*/ 145843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2119" h="206289">
                    <a:moveTo>
                      <a:pt x="191548" y="145843"/>
                    </a:moveTo>
                    <a:lnTo>
                      <a:pt x="192119" y="144890"/>
                    </a:lnTo>
                    <a:lnTo>
                      <a:pt x="191643" y="97551"/>
                    </a:lnTo>
                    <a:cubicBezTo>
                      <a:pt x="191643" y="94218"/>
                      <a:pt x="188881" y="91455"/>
                      <a:pt x="185547" y="91455"/>
                    </a:cubicBezTo>
                    <a:lnTo>
                      <a:pt x="114300" y="91455"/>
                    </a:lnTo>
                    <a:cubicBezTo>
                      <a:pt x="110966" y="91455"/>
                      <a:pt x="108204" y="94218"/>
                      <a:pt x="108204" y="97551"/>
                    </a:cubicBezTo>
                    <a:lnTo>
                      <a:pt x="108204" y="99647"/>
                    </a:lnTo>
                    <a:lnTo>
                      <a:pt x="108204" y="116030"/>
                    </a:lnTo>
                    <a:lnTo>
                      <a:pt x="108204" y="118125"/>
                    </a:lnTo>
                    <a:cubicBezTo>
                      <a:pt x="108204" y="121459"/>
                      <a:pt x="110966" y="124221"/>
                      <a:pt x="114300" y="124221"/>
                    </a:cubicBezTo>
                    <a:lnTo>
                      <a:pt x="141827" y="124221"/>
                    </a:lnTo>
                    <a:lnTo>
                      <a:pt x="141827" y="167560"/>
                    </a:lnTo>
                    <a:cubicBezTo>
                      <a:pt x="140398" y="168513"/>
                      <a:pt x="139160" y="169274"/>
                      <a:pt x="138017" y="169751"/>
                    </a:cubicBezTo>
                    <a:cubicBezTo>
                      <a:pt x="127825" y="173847"/>
                      <a:pt x="124301" y="173847"/>
                      <a:pt x="110014" y="174323"/>
                    </a:cubicBezTo>
                    <a:cubicBezTo>
                      <a:pt x="109823" y="174323"/>
                      <a:pt x="109633" y="174323"/>
                      <a:pt x="109347" y="174323"/>
                    </a:cubicBezTo>
                    <a:lnTo>
                      <a:pt x="109252" y="174323"/>
                    </a:lnTo>
                    <a:cubicBezTo>
                      <a:pt x="94964" y="173847"/>
                      <a:pt x="91440" y="173847"/>
                      <a:pt x="81248" y="169751"/>
                    </a:cubicBezTo>
                    <a:cubicBezTo>
                      <a:pt x="75533" y="167465"/>
                      <a:pt x="64294" y="155844"/>
                      <a:pt x="60769" y="146700"/>
                    </a:cubicBezTo>
                    <a:cubicBezTo>
                      <a:pt x="58293" y="139652"/>
                      <a:pt x="55054" y="130698"/>
                      <a:pt x="55054" y="101266"/>
                    </a:cubicBezTo>
                    <a:cubicBezTo>
                      <a:pt x="55054" y="71834"/>
                      <a:pt x="57150" y="58213"/>
                      <a:pt x="60769" y="52403"/>
                    </a:cubicBezTo>
                    <a:cubicBezTo>
                      <a:pt x="67246" y="42116"/>
                      <a:pt x="77533" y="31353"/>
                      <a:pt x="101632" y="31353"/>
                    </a:cubicBezTo>
                    <a:cubicBezTo>
                      <a:pt x="125730" y="31353"/>
                      <a:pt x="134493" y="40115"/>
                      <a:pt x="138684" y="45831"/>
                    </a:cubicBezTo>
                    <a:cubicBezTo>
                      <a:pt x="138684" y="45831"/>
                      <a:pt x="145161" y="51165"/>
                      <a:pt x="145542" y="58594"/>
                    </a:cubicBezTo>
                    <a:lnTo>
                      <a:pt x="145542" y="60690"/>
                    </a:lnTo>
                    <a:cubicBezTo>
                      <a:pt x="145542" y="64023"/>
                      <a:pt x="148304" y="66786"/>
                      <a:pt x="151638" y="66786"/>
                    </a:cubicBezTo>
                    <a:lnTo>
                      <a:pt x="167449" y="66786"/>
                    </a:lnTo>
                    <a:cubicBezTo>
                      <a:pt x="170783" y="66786"/>
                      <a:pt x="173546" y="64023"/>
                      <a:pt x="173546" y="60690"/>
                    </a:cubicBezTo>
                    <a:lnTo>
                      <a:pt x="174022" y="13350"/>
                    </a:lnTo>
                    <a:cubicBezTo>
                      <a:pt x="174022" y="13350"/>
                      <a:pt x="174879" y="9921"/>
                      <a:pt x="170688" y="6492"/>
                    </a:cubicBezTo>
                    <a:cubicBezTo>
                      <a:pt x="170688" y="6492"/>
                      <a:pt x="147733" y="-366"/>
                      <a:pt x="109633" y="15"/>
                    </a:cubicBezTo>
                    <a:cubicBezTo>
                      <a:pt x="77914" y="301"/>
                      <a:pt x="52006" y="6873"/>
                      <a:pt x="38576" y="15255"/>
                    </a:cubicBezTo>
                    <a:cubicBezTo>
                      <a:pt x="25241" y="23637"/>
                      <a:pt x="0" y="48116"/>
                      <a:pt x="0" y="98123"/>
                    </a:cubicBezTo>
                    <a:cubicBezTo>
                      <a:pt x="0" y="148129"/>
                      <a:pt x="11049" y="166512"/>
                      <a:pt x="24384" y="179085"/>
                    </a:cubicBezTo>
                    <a:cubicBezTo>
                      <a:pt x="35433" y="189468"/>
                      <a:pt x="51911" y="200326"/>
                      <a:pt x="85249" y="204517"/>
                    </a:cubicBezTo>
                    <a:cubicBezTo>
                      <a:pt x="86296" y="205374"/>
                      <a:pt x="95155" y="205946"/>
                      <a:pt x="102298" y="205946"/>
                    </a:cubicBezTo>
                    <a:cubicBezTo>
                      <a:pt x="104584" y="206041"/>
                      <a:pt x="106775" y="206136"/>
                      <a:pt x="109252" y="206232"/>
                    </a:cubicBezTo>
                    <a:cubicBezTo>
                      <a:pt x="116205" y="206422"/>
                      <a:pt x="122301" y="206136"/>
                      <a:pt x="127540" y="205469"/>
                    </a:cubicBezTo>
                    <a:cubicBezTo>
                      <a:pt x="167640" y="203945"/>
                      <a:pt x="185928" y="199659"/>
                      <a:pt x="185928" y="199659"/>
                    </a:cubicBezTo>
                    <a:cubicBezTo>
                      <a:pt x="189262" y="199659"/>
                      <a:pt x="192024" y="196897"/>
                      <a:pt x="192024" y="193563"/>
                    </a:cubicBezTo>
                    <a:lnTo>
                      <a:pt x="191548" y="146224"/>
                    </a:lnTo>
                    <a:cubicBezTo>
                      <a:pt x="191643" y="146224"/>
                      <a:pt x="191643" y="146034"/>
                      <a:pt x="191548" y="145843"/>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8" name="Freeform 187">
                <a:extLst>
                  <a:ext uri="{FF2B5EF4-FFF2-40B4-BE49-F238E27FC236}">
                    <a16:creationId xmlns:a16="http://schemas.microsoft.com/office/drawing/2014/main" id="{564D4EF7-8BF9-6645-A275-466B4B1F339C}"/>
                  </a:ext>
                </a:extLst>
              </p:cNvPr>
              <p:cNvSpPr/>
              <p:nvPr/>
            </p:nvSpPr>
            <p:spPr>
              <a:xfrm>
                <a:off x="1307600" y="6300761"/>
                <a:ext cx="96096" cy="91247"/>
              </a:xfrm>
              <a:custGeom>
                <a:avLst/>
                <a:gdLst>
                  <a:gd name="connsiteX0" fmla="*/ 178403 w 217074"/>
                  <a:gd name="connsiteY0" fmla="*/ 15240 h 206120"/>
                  <a:gd name="connsiteX1" fmla="*/ 111157 w 217074"/>
                  <a:gd name="connsiteY1" fmla="*/ 95 h 206120"/>
                  <a:gd name="connsiteX2" fmla="*/ 111157 w 217074"/>
                  <a:gd name="connsiteY2" fmla="*/ 0 h 206120"/>
                  <a:gd name="connsiteX3" fmla="*/ 105823 w 217074"/>
                  <a:gd name="connsiteY3" fmla="*/ 0 h 206120"/>
                  <a:gd name="connsiteX4" fmla="*/ 105823 w 217074"/>
                  <a:gd name="connsiteY4" fmla="*/ 95 h 206120"/>
                  <a:gd name="connsiteX5" fmla="*/ 38576 w 217074"/>
                  <a:gd name="connsiteY5" fmla="*/ 15240 h 206120"/>
                  <a:gd name="connsiteX6" fmla="*/ 0 w 217074"/>
                  <a:gd name="connsiteY6" fmla="*/ 98108 h 206120"/>
                  <a:gd name="connsiteX7" fmla="*/ 24479 w 217074"/>
                  <a:gd name="connsiteY7" fmla="*/ 179070 h 206120"/>
                  <a:gd name="connsiteX8" fmla="*/ 85344 w 217074"/>
                  <a:gd name="connsiteY8" fmla="*/ 204502 h 206120"/>
                  <a:gd name="connsiteX9" fmla="*/ 102394 w 217074"/>
                  <a:gd name="connsiteY9" fmla="*/ 205931 h 206120"/>
                  <a:gd name="connsiteX10" fmla="*/ 111252 w 217074"/>
                  <a:gd name="connsiteY10" fmla="*/ 206121 h 206120"/>
                  <a:gd name="connsiteX11" fmla="*/ 131731 w 217074"/>
                  <a:gd name="connsiteY11" fmla="*/ 204502 h 206120"/>
                  <a:gd name="connsiteX12" fmla="*/ 192596 w 217074"/>
                  <a:gd name="connsiteY12" fmla="*/ 179070 h 206120"/>
                  <a:gd name="connsiteX13" fmla="*/ 217075 w 217074"/>
                  <a:gd name="connsiteY13" fmla="*/ 98108 h 206120"/>
                  <a:gd name="connsiteX14" fmla="*/ 178403 w 217074"/>
                  <a:gd name="connsiteY14" fmla="*/ 15240 h 206120"/>
                  <a:gd name="connsiteX15" fmla="*/ 156210 w 217074"/>
                  <a:gd name="connsiteY15" fmla="*/ 146590 h 206120"/>
                  <a:gd name="connsiteX16" fmla="*/ 135826 w 217074"/>
                  <a:gd name="connsiteY16" fmla="*/ 169640 h 206120"/>
                  <a:gd name="connsiteX17" fmla="*/ 108490 w 217074"/>
                  <a:gd name="connsiteY17" fmla="*/ 174212 h 206120"/>
                  <a:gd name="connsiteX18" fmla="*/ 81153 w 217074"/>
                  <a:gd name="connsiteY18" fmla="*/ 169640 h 206120"/>
                  <a:gd name="connsiteX19" fmla="*/ 60770 w 217074"/>
                  <a:gd name="connsiteY19" fmla="*/ 146590 h 206120"/>
                  <a:gd name="connsiteX20" fmla="*/ 55054 w 217074"/>
                  <a:gd name="connsiteY20" fmla="*/ 101156 h 206120"/>
                  <a:gd name="connsiteX21" fmla="*/ 60770 w 217074"/>
                  <a:gd name="connsiteY21" fmla="*/ 52292 h 206120"/>
                  <a:gd name="connsiteX22" fmla="*/ 101632 w 217074"/>
                  <a:gd name="connsiteY22" fmla="*/ 31242 h 206120"/>
                  <a:gd name="connsiteX23" fmla="*/ 115348 w 217074"/>
                  <a:gd name="connsiteY23" fmla="*/ 31242 h 206120"/>
                  <a:gd name="connsiteX24" fmla="*/ 156210 w 217074"/>
                  <a:gd name="connsiteY24" fmla="*/ 52292 h 206120"/>
                  <a:gd name="connsiteX25" fmla="*/ 161925 w 217074"/>
                  <a:gd name="connsiteY25" fmla="*/ 101156 h 206120"/>
                  <a:gd name="connsiteX26" fmla="*/ 156210 w 217074"/>
                  <a:gd name="connsiteY26" fmla="*/ 146590 h 20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74" h="206120">
                    <a:moveTo>
                      <a:pt x="178403" y="15240"/>
                    </a:moveTo>
                    <a:cubicBezTo>
                      <a:pt x="165545" y="7144"/>
                      <a:pt x="141160" y="857"/>
                      <a:pt x="111157" y="95"/>
                    </a:cubicBezTo>
                    <a:lnTo>
                      <a:pt x="111157" y="0"/>
                    </a:lnTo>
                    <a:cubicBezTo>
                      <a:pt x="110680" y="0"/>
                      <a:pt x="106299" y="0"/>
                      <a:pt x="105823" y="0"/>
                    </a:cubicBezTo>
                    <a:lnTo>
                      <a:pt x="105823" y="95"/>
                    </a:lnTo>
                    <a:cubicBezTo>
                      <a:pt x="75819" y="857"/>
                      <a:pt x="51435" y="7239"/>
                      <a:pt x="38576" y="15240"/>
                    </a:cubicBezTo>
                    <a:cubicBezTo>
                      <a:pt x="25241" y="23622"/>
                      <a:pt x="0" y="48101"/>
                      <a:pt x="0" y="98108"/>
                    </a:cubicBezTo>
                    <a:cubicBezTo>
                      <a:pt x="0" y="148114"/>
                      <a:pt x="11049" y="166497"/>
                      <a:pt x="24479" y="179070"/>
                    </a:cubicBezTo>
                    <a:cubicBezTo>
                      <a:pt x="35433" y="189452"/>
                      <a:pt x="51911" y="200311"/>
                      <a:pt x="85344" y="204502"/>
                    </a:cubicBezTo>
                    <a:cubicBezTo>
                      <a:pt x="86392" y="205359"/>
                      <a:pt x="95250" y="205931"/>
                      <a:pt x="102394" y="205931"/>
                    </a:cubicBezTo>
                    <a:cubicBezTo>
                      <a:pt x="103537" y="206026"/>
                      <a:pt x="111252" y="206121"/>
                      <a:pt x="111252" y="206121"/>
                    </a:cubicBezTo>
                    <a:cubicBezTo>
                      <a:pt x="112395" y="206121"/>
                      <a:pt x="130683" y="205359"/>
                      <a:pt x="131731" y="204502"/>
                    </a:cubicBezTo>
                    <a:cubicBezTo>
                      <a:pt x="165068" y="200311"/>
                      <a:pt x="181546" y="189452"/>
                      <a:pt x="192596" y="179070"/>
                    </a:cubicBezTo>
                    <a:cubicBezTo>
                      <a:pt x="205930" y="166497"/>
                      <a:pt x="217075" y="148114"/>
                      <a:pt x="217075" y="98108"/>
                    </a:cubicBezTo>
                    <a:cubicBezTo>
                      <a:pt x="216979" y="48101"/>
                      <a:pt x="191738" y="23622"/>
                      <a:pt x="178403" y="15240"/>
                    </a:cubicBezTo>
                    <a:close/>
                    <a:moveTo>
                      <a:pt x="156210" y="146590"/>
                    </a:moveTo>
                    <a:cubicBezTo>
                      <a:pt x="152781" y="155734"/>
                      <a:pt x="141446" y="167354"/>
                      <a:pt x="135826" y="169640"/>
                    </a:cubicBezTo>
                    <a:cubicBezTo>
                      <a:pt x="125825" y="173641"/>
                      <a:pt x="122206" y="173736"/>
                      <a:pt x="108490" y="174212"/>
                    </a:cubicBezTo>
                    <a:cubicBezTo>
                      <a:pt x="94869" y="173736"/>
                      <a:pt x="91154" y="173641"/>
                      <a:pt x="81153" y="169640"/>
                    </a:cubicBezTo>
                    <a:cubicBezTo>
                      <a:pt x="75438" y="167354"/>
                      <a:pt x="64198" y="155734"/>
                      <a:pt x="60770" y="146590"/>
                    </a:cubicBezTo>
                    <a:cubicBezTo>
                      <a:pt x="58293" y="139541"/>
                      <a:pt x="55054" y="130588"/>
                      <a:pt x="55054" y="101156"/>
                    </a:cubicBezTo>
                    <a:cubicBezTo>
                      <a:pt x="55054" y="71723"/>
                      <a:pt x="57150" y="58103"/>
                      <a:pt x="60770" y="52292"/>
                    </a:cubicBezTo>
                    <a:cubicBezTo>
                      <a:pt x="67246" y="42005"/>
                      <a:pt x="77533" y="31242"/>
                      <a:pt x="101632" y="31242"/>
                    </a:cubicBezTo>
                    <a:cubicBezTo>
                      <a:pt x="103060" y="31242"/>
                      <a:pt x="113919" y="31242"/>
                      <a:pt x="115348" y="31242"/>
                    </a:cubicBezTo>
                    <a:cubicBezTo>
                      <a:pt x="143161" y="31147"/>
                      <a:pt x="149733" y="41910"/>
                      <a:pt x="156210" y="52292"/>
                    </a:cubicBezTo>
                    <a:cubicBezTo>
                      <a:pt x="159829" y="58103"/>
                      <a:pt x="161925" y="71723"/>
                      <a:pt x="161925" y="101156"/>
                    </a:cubicBezTo>
                    <a:cubicBezTo>
                      <a:pt x="161925" y="130588"/>
                      <a:pt x="158687" y="139541"/>
                      <a:pt x="156210" y="14659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89" name="Freeform 188">
                <a:extLst>
                  <a:ext uri="{FF2B5EF4-FFF2-40B4-BE49-F238E27FC236}">
                    <a16:creationId xmlns:a16="http://schemas.microsoft.com/office/drawing/2014/main" id="{7B78E7C6-09A1-3740-BF01-A1C9993F98C8}"/>
                  </a:ext>
                </a:extLst>
              </p:cNvPr>
              <p:cNvSpPr/>
              <p:nvPr/>
            </p:nvSpPr>
            <p:spPr>
              <a:xfrm>
                <a:off x="1215214" y="6440331"/>
                <a:ext cx="73917" cy="70291"/>
              </a:xfrm>
              <a:custGeom>
                <a:avLst/>
                <a:gdLst>
                  <a:gd name="connsiteX0" fmla="*/ 137160 w 166973"/>
                  <a:gd name="connsiteY0" fmla="*/ 11811 h 158781"/>
                  <a:gd name="connsiteX1" fmla="*/ 85439 w 166973"/>
                  <a:gd name="connsiteY1" fmla="*/ 95 h 158781"/>
                  <a:gd name="connsiteX2" fmla="*/ 85439 w 166973"/>
                  <a:gd name="connsiteY2" fmla="*/ 0 h 158781"/>
                  <a:gd name="connsiteX3" fmla="*/ 84296 w 166973"/>
                  <a:gd name="connsiteY3" fmla="*/ 0 h 158781"/>
                  <a:gd name="connsiteX4" fmla="*/ 83439 w 166973"/>
                  <a:gd name="connsiteY4" fmla="*/ 0 h 158781"/>
                  <a:gd name="connsiteX5" fmla="*/ 82582 w 166973"/>
                  <a:gd name="connsiteY5" fmla="*/ 0 h 158781"/>
                  <a:gd name="connsiteX6" fmla="*/ 81439 w 166973"/>
                  <a:gd name="connsiteY6" fmla="*/ 0 h 158781"/>
                  <a:gd name="connsiteX7" fmla="*/ 81439 w 166973"/>
                  <a:gd name="connsiteY7" fmla="*/ 95 h 158781"/>
                  <a:gd name="connsiteX8" fmla="*/ 29718 w 166973"/>
                  <a:gd name="connsiteY8" fmla="*/ 11811 h 158781"/>
                  <a:gd name="connsiteX9" fmla="*/ 0 w 166973"/>
                  <a:gd name="connsiteY9" fmla="*/ 75629 h 158781"/>
                  <a:gd name="connsiteX10" fmla="*/ 18859 w 166973"/>
                  <a:gd name="connsiteY10" fmla="*/ 137922 h 158781"/>
                  <a:gd name="connsiteX11" fmla="*/ 65722 w 166973"/>
                  <a:gd name="connsiteY11" fmla="*/ 157448 h 158781"/>
                  <a:gd name="connsiteX12" fmla="*/ 78867 w 166973"/>
                  <a:gd name="connsiteY12" fmla="*/ 158591 h 158781"/>
                  <a:gd name="connsiteX13" fmla="*/ 81534 w 166973"/>
                  <a:gd name="connsiteY13" fmla="*/ 158687 h 158781"/>
                  <a:gd name="connsiteX14" fmla="*/ 81534 w 166973"/>
                  <a:gd name="connsiteY14" fmla="*/ 158782 h 158781"/>
                  <a:gd name="connsiteX15" fmla="*/ 82963 w 166973"/>
                  <a:gd name="connsiteY15" fmla="*/ 158782 h 158781"/>
                  <a:gd name="connsiteX16" fmla="*/ 83534 w 166973"/>
                  <a:gd name="connsiteY16" fmla="*/ 158782 h 158781"/>
                  <a:gd name="connsiteX17" fmla="*/ 84106 w 166973"/>
                  <a:gd name="connsiteY17" fmla="*/ 158782 h 158781"/>
                  <a:gd name="connsiteX18" fmla="*/ 85534 w 166973"/>
                  <a:gd name="connsiteY18" fmla="*/ 158782 h 158781"/>
                  <a:gd name="connsiteX19" fmla="*/ 85534 w 166973"/>
                  <a:gd name="connsiteY19" fmla="*/ 158687 h 158781"/>
                  <a:gd name="connsiteX20" fmla="*/ 88201 w 166973"/>
                  <a:gd name="connsiteY20" fmla="*/ 158591 h 158781"/>
                  <a:gd name="connsiteX21" fmla="*/ 101251 w 166973"/>
                  <a:gd name="connsiteY21" fmla="*/ 157448 h 158781"/>
                  <a:gd name="connsiteX22" fmla="*/ 148114 w 166973"/>
                  <a:gd name="connsiteY22" fmla="*/ 137922 h 158781"/>
                  <a:gd name="connsiteX23" fmla="*/ 166973 w 166973"/>
                  <a:gd name="connsiteY23" fmla="*/ 75629 h 158781"/>
                  <a:gd name="connsiteX24" fmla="*/ 137160 w 166973"/>
                  <a:gd name="connsiteY24" fmla="*/ 11811 h 158781"/>
                  <a:gd name="connsiteX25" fmla="*/ 120110 w 166973"/>
                  <a:gd name="connsiteY25" fmla="*/ 112967 h 158781"/>
                  <a:gd name="connsiteX26" fmla="*/ 104394 w 166973"/>
                  <a:gd name="connsiteY26" fmla="*/ 130683 h 158781"/>
                  <a:gd name="connsiteX27" fmla="*/ 83344 w 166973"/>
                  <a:gd name="connsiteY27" fmla="*/ 134207 h 158781"/>
                  <a:gd name="connsiteX28" fmla="*/ 62294 w 166973"/>
                  <a:gd name="connsiteY28" fmla="*/ 130683 h 158781"/>
                  <a:gd name="connsiteX29" fmla="*/ 46577 w 166973"/>
                  <a:gd name="connsiteY29" fmla="*/ 112967 h 158781"/>
                  <a:gd name="connsiteX30" fmla="*/ 42196 w 166973"/>
                  <a:gd name="connsiteY30" fmla="*/ 78010 h 158781"/>
                  <a:gd name="connsiteX31" fmla="*/ 46577 w 166973"/>
                  <a:gd name="connsiteY31" fmla="*/ 40386 h 158781"/>
                  <a:gd name="connsiteX32" fmla="*/ 78010 w 166973"/>
                  <a:gd name="connsiteY32" fmla="*/ 24193 h 158781"/>
                  <a:gd name="connsiteX33" fmla="*/ 81248 w 166973"/>
                  <a:gd name="connsiteY33" fmla="*/ 24289 h 158781"/>
                  <a:gd name="connsiteX34" fmla="*/ 81248 w 166973"/>
                  <a:gd name="connsiteY34" fmla="*/ 24575 h 158781"/>
                  <a:gd name="connsiteX35" fmla="*/ 83344 w 166973"/>
                  <a:gd name="connsiteY35" fmla="*/ 24384 h 158781"/>
                  <a:gd name="connsiteX36" fmla="*/ 85439 w 166973"/>
                  <a:gd name="connsiteY36" fmla="*/ 24575 h 158781"/>
                  <a:gd name="connsiteX37" fmla="*/ 85439 w 166973"/>
                  <a:gd name="connsiteY37" fmla="*/ 24289 h 158781"/>
                  <a:gd name="connsiteX38" fmla="*/ 88678 w 166973"/>
                  <a:gd name="connsiteY38" fmla="*/ 24193 h 158781"/>
                  <a:gd name="connsiteX39" fmla="*/ 120110 w 166973"/>
                  <a:gd name="connsiteY39" fmla="*/ 40386 h 158781"/>
                  <a:gd name="connsiteX40" fmla="*/ 124492 w 166973"/>
                  <a:gd name="connsiteY40" fmla="*/ 78010 h 158781"/>
                  <a:gd name="connsiteX41" fmla="*/ 120110 w 166973"/>
                  <a:gd name="connsiteY41" fmla="*/ 112967 h 15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973" h="158781">
                    <a:moveTo>
                      <a:pt x="137160" y="11811"/>
                    </a:moveTo>
                    <a:cubicBezTo>
                      <a:pt x="127254" y="5620"/>
                      <a:pt x="108490" y="762"/>
                      <a:pt x="85439" y="95"/>
                    </a:cubicBezTo>
                    <a:lnTo>
                      <a:pt x="85439" y="0"/>
                    </a:lnTo>
                    <a:cubicBezTo>
                      <a:pt x="85058" y="0"/>
                      <a:pt x="84677" y="0"/>
                      <a:pt x="84296" y="0"/>
                    </a:cubicBezTo>
                    <a:cubicBezTo>
                      <a:pt x="84011" y="0"/>
                      <a:pt x="83725" y="0"/>
                      <a:pt x="83439" y="0"/>
                    </a:cubicBezTo>
                    <a:cubicBezTo>
                      <a:pt x="83153" y="0"/>
                      <a:pt x="82867" y="0"/>
                      <a:pt x="82582" y="0"/>
                    </a:cubicBezTo>
                    <a:cubicBezTo>
                      <a:pt x="82201" y="0"/>
                      <a:pt x="81820" y="0"/>
                      <a:pt x="81439" y="0"/>
                    </a:cubicBezTo>
                    <a:lnTo>
                      <a:pt x="81439" y="95"/>
                    </a:lnTo>
                    <a:cubicBezTo>
                      <a:pt x="58388" y="667"/>
                      <a:pt x="39529" y="5620"/>
                      <a:pt x="29718" y="11811"/>
                    </a:cubicBezTo>
                    <a:cubicBezTo>
                      <a:pt x="19431" y="18288"/>
                      <a:pt x="0" y="37052"/>
                      <a:pt x="0" y="75629"/>
                    </a:cubicBezTo>
                    <a:cubicBezTo>
                      <a:pt x="0" y="114109"/>
                      <a:pt x="8572" y="128302"/>
                      <a:pt x="18859" y="137922"/>
                    </a:cubicBezTo>
                    <a:cubicBezTo>
                      <a:pt x="27337" y="145923"/>
                      <a:pt x="40005" y="154305"/>
                      <a:pt x="65722" y="157448"/>
                    </a:cubicBezTo>
                    <a:cubicBezTo>
                      <a:pt x="66580" y="158115"/>
                      <a:pt x="73342" y="158591"/>
                      <a:pt x="78867" y="158591"/>
                    </a:cubicBezTo>
                    <a:cubicBezTo>
                      <a:pt x="79724" y="158591"/>
                      <a:pt x="80677" y="158687"/>
                      <a:pt x="81534" y="158687"/>
                    </a:cubicBezTo>
                    <a:lnTo>
                      <a:pt x="81534" y="158782"/>
                    </a:lnTo>
                    <a:cubicBezTo>
                      <a:pt x="82010" y="158782"/>
                      <a:pt x="82487" y="158782"/>
                      <a:pt x="82963" y="158782"/>
                    </a:cubicBezTo>
                    <a:cubicBezTo>
                      <a:pt x="83153" y="158782"/>
                      <a:pt x="83344" y="158782"/>
                      <a:pt x="83534" y="158782"/>
                    </a:cubicBezTo>
                    <a:cubicBezTo>
                      <a:pt x="83725" y="158782"/>
                      <a:pt x="83915" y="158782"/>
                      <a:pt x="84106" y="158782"/>
                    </a:cubicBezTo>
                    <a:cubicBezTo>
                      <a:pt x="84582" y="158782"/>
                      <a:pt x="85058" y="158782"/>
                      <a:pt x="85534" y="158782"/>
                    </a:cubicBezTo>
                    <a:lnTo>
                      <a:pt x="85534" y="158687"/>
                    </a:lnTo>
                    <a:cubicBezTo>
                      <a:pt x="86392" y="158687"/>
                      <a:pt x="87344" y="158591"/>
                      <a:pt x="88201" y="158591"/>
                    </a:cubicBezTo>
                    <a:cubicBezTo>
                      <a:pt x="93631" y="158591"/>
                      <a:pt x="100489" y="158115"/>
                      <a:pt x="101251" y="157448"/>
                    </a:cubicBezTo>
                    <a:cubicBezTo>
                      <a:pt x="126968" y="154210"/>
                      <a:pt x="139637" y="145828"/>
                      <a:pt x="148114" y="137922"/>
                    </a:cubicBezTo>
                    <a:cubicBezTo>
                      <a:pt x="158401" y="128207"/>
                      <a:pt x="166973" y="114109"/>
                      <a:pt x="166973" y="75629"/>
                    </a:cubicBezTo>
                    <a:cubicBezTo>
                      <a:pt x="166878" y="37052"/>
                      <a:pt x="147447" y="18288"/>
                      <a:pt x="137160" y="11811"/>
                    </a:cubicBezTo>
                    <a:close/>
                    <a:moveTo>
                      <a:pt x="120110" y="112967"/>
                    </a:moveTo>
                    <a:cubicBezTo>
                      <a:pt x="117443" y="120015"/>
                      <a:pt x="108775" y="128968"/>
                      <a:pt x="104394" y="130683"/>
                    </a:cubicBezTo>
                    <a:cubicBezTo>
                      <a:pt x="96679" y="133731"/>
                      <a:pt x="93916" y="133826"/>
                      <a:pt x="83344" y="134207"/>
                    </a:cubicBezTo>
                    <a:cubicBezTo>
                      <a:pt x="72866" y="133826"/>
                      <a:pt x="70009" y="133826"/>
                      <a:pt x="62294" y="130683"/>
                    </a:cubicBezTo>
                    <a:cubicBezTo>
                      <a:pt x="57912" y="128968"/>
                      <a:pt x="49244" y="120015"/>
                      <a:pt x="46577" y="112967"/>
                    </a:cubicBezTo>
                    <a:cubicBezTo>
                      <a:pt x="44672" y="107537"/>
                      <a:pt x="42196" y="100584"/>
                      <a:pt x="42196" y="78010"/>
                    </a:cubicBezTo>
                    <a:cubicBezTo>
                      <a:pt x="42196" y="55340"/>
                      <a:pt x="43815" y="44863"/>
                      <a:pt x="46577" y="40386"/>
                    </a:cubicBezTo>
                    <a:cubicBezTo>
                      <a:pt x="51530" y="32480"/>
                      <a:pt x="59531" y="24193"/>
                      <a:pt x="78010" y="24193"/>
                    </a:cubicBezTo>
                    <a:cubicBezTo>
                      <a:pt x="79153" y="24193"/>
                      <a:pt x="80200" y="24193"/>
                      <a:pt x="81248" y="24289"/>
                    </a:cubicBezTo>
                    <a:lnTo>
                      <a:pt x="81248" y="24575"/>
                    </a:lnTo>
                    <a:cubicBezTo>
                      <a:pt x="81915" y="24479"/>
                      <a:pt x="82582" y="24479"/>
                      <a:pt x="83344" y="24384"/>
                    </a:cubicBezTo>
                    <a:cubicBezTo>
                      <a:pt x="84011" y="24479"/>
                      <a:pt x="84772" y="24479"/>
                      <a:pt x="85439" y="24575"/>
                    </a:cubicBezTo>
                    <a:lnTo>
                      <a:pt x="85439" y="24289"/>
                    </a:lnTo>
                    <a:cubicBezTo>
                      <a:pt x="86487" y="24193"/>
                      <a:pt x="87535" y="24193"/>
                      <a:pt x="88678" y="24193"/>
                    </a:cubicBezTo>
                    <a:cubicBezTo>
                      <a:pt x="107156" y="24193"/>
                      <a:pt x="115157" y="32385"/>
                      <a:pt x="120110" y="40386"/>
                    </a:cubicBezTo>
                    <a:cubicBezTo>
                      <a:pt x="122968" y="44863"/>
                      <a:pt x="124492" y="55340"/>
                      <a:pt x="124492" y="78010"/>
                    </a:cubicBezTo>
                    <a:cubicBezTo>
                      <a:pt x="124492" y="100584"/>
                      <a:pt x="122015" y="107537"/>
                      <a:pt x="120110" y="11296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0" name="Freeform 189">
                <a:extLst>
                  <a:ext uri="{FF2B5EF4-FFF2-40B4-BE49-F238E27FC236}">
                    <a16:creationId xmlns:a16="http://schemas.microsoft.com/office/drawing/2014/main" id="{E3B575F5-447E-F840-865D-C0DD953D70BA}"/>
                  </a:ext>
                </a:extLst>
              </p:cNvPr>
              <p:cNvSpPr/>
              <p:nvPr/>
            </p:nvSpPr>
            <p:spPr>
              <a:xfrm>
                <a:off x="1830333" y="6302911"/>
                <a:ext cx="37992" cy="86904"/>
              </a:xfrm>
              <a:custGeom>
                <a:avLst/>
                <a:gdLst>
                  <a:gd name="connsiteX0" fmla="*/ 85439 w 85820"/>
                  <a:gd name="connsiteY0" fmla="*/ 168592 h 196310"/>
                  <a:gd name="connsiteX1" fmla="*/ 83534 w 85820"/>
                  <a:gd name="connsiteY1" fmla="*/ 167830 h 196310"/>
                  <a:gd name="connsiteX2" fmla="*/ 64484 w 85820"/>
                  <a:gd name="connsiteY2" fmla="*/ 157067 h 196310"/>
                  <a:gd name="connsiteX3" fmla="*/ 64484 w 85820"/>
                  <a:gd name="connsiteY3" fmla="*/ 114586 h 196310"/>
                  <a:gd name="connsiteX4" fmla="*/ 64484 w 85820"/>
                  <a:gd name="connsiteY4" fmla="*/ 83248 h 196310"/>
                  <a:gd name="connsiteX5" fmla="*/ 64484 w 85820"/>
                  <a:gd name="connsiteY5" fmla="*/ 39243 h 196310"/>
                  <a:gd name="connsiteX6" fmla="*/ 83534 w 85820"/>
                  <a:gd name="connsiteY6" fmla="*/ 28480 h 196310"/>
                  <a:gd name="connsiteX7" fmla="*/ 85439 w 85820"/>
                  <a:gd name="connsiteY7" fmla="*/ 27718 h 196310"/>
                  <a:gd name="connsiteX8" fmla="*/ 85820 w 85820"/>
                  <a:gd name="connsiteY8" fmla="*/ 25813 h 196310"/>
                  <a:gd name="connsiteX9" fmla="*/ 85630 w 85820"/>
                  <a:gd name="connsiteY9" fmla="*/ 1810 h 196310"/>
                  <a:gd name="connsiteX10" fmla="*/ 83820 w 85820"/>
                  <a:gd name="connsiteY10" fmla="*/ 0 h 196310"/>
                  <a:gd name="connsiteX11" fmla="*/ 2000 w 85820"/>
                  <a:gd name="connsiteY11" fmla="*/ 0 h 196310"/>
                  <a:gd name="connsiteX12" fmla="*/ 190 w 85820"/>
                  <a:gd name="connsiteY12" fmla="*/ 1810 h 196310"/>
                  <a:gd name="connsiteX13" fmla="*/ 0 w 85820"/>
                  <a:gd name="connsiteY13" fmla="*/ 25813 h 196310"/>
                  <a:gd name="connsiteX14" fmla="*/ 381 w 85820"/>
                  <a:gd name="connsiteY14" fmla="*/ 27718 h 196310"/>
                  <a:gd name="connsiteX15" fmla="*/ 2286 w 85820"/>
                  <a:gd name="connsiteY15" fmla="*/ 28480 h 196310"/>
                  <a:gd name="connsiteX16" fmla="*/ 21336 w 85820"/>
                  <a:gd name="connsiteY16" fmla="*/ 39243 h 196310"/>
                  <a:gd name="connsiteX17" fmla="*/ 21336 w 85820"/>
                  <a:gd name="connsiteY17" fmla="*/ 83248 h 196310"/>
                  <a:gd name="connsiteX18" fmla="*/ 21336 w 85820"/>
                  <a:gd name="connsiteY18" fmla="*/ 114586 h 196310"/>
                  <a:gd name="connsiteX19" fmla="*/ 21336 w 85820"/>
                  <a:gd name="connsiteY19" fmla="*/ 157067 h 196310"/>
                  <a:gd name="connsiteX20" fmla="*/ 2286 w 85820"/>
                  <a:gd name="connsiteY20" fmla="*/ 167830 h 196310"/>
                  <a:gd name="connsiteX21" fmla="*/ 381 w 85820"/>
                  <a:gd name="connsiteY21" fmla="*/ 168592 h 196310"/>
                  <a:gd name="connsiteX22" fmla="*/ 0 w 85820"/>
                  <a:gd name="connsiteY22" fmla="*/ 170497 h 196310"/>
                  <a:gd name="connsiteX23" fmla="*/ 190 w 85820"/>
                  <a:gd name="connsiteY23" fmla="*/ 194500 h 196310"/>
                  <a:gd name="connsiteX24" fmla="*/ 2000 w 85820"/>
                  <a:gd name="connsiteY24" fmla="*/ 196310 h 196310"/>
                  <a:gd name="connsiteX25" fmla="*/ 83820 w 85820"/>
                  <a:gd name="connsiteY25" fmla="*/ 196310 h 196310"/>
                  <a:gd name="connsiteX26" fmla="*/ 85630 w 85820"/>
                  <a:gd name="connsiteY26" fmla="*/ 194500 h 196310"/>
                  <a:gd name="connsiteX27" fmla="*/ 85820 w 85820"/>
                  <a:gd name="connsiteY27" fmla="*/ 170497 h 196310"/>
                  <a:gd name="connsiteX28" fmla="*/ 85439 w 85820"/>
                  <a:gd name="connsiteY28" fmla="*/ 168592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820" h="196310">
                    <a:moveTo>
                      <a:pt x="85439" y="168592"/>
                    </a:moveTo>
                    <a:cubicBezTo>
                      <a:pt x="84868" y="167735"/>
                      <a:pt x="83534" y="167830"/>
                      <a:pt x="83534" y="167830"/>
                    </a:cubicBezTo>
                    <a:cubicBezTo>
                      <a:pt x="75247" y="166497"/>
                      <a:pt x="64484" y="161734"/>
                      <a:pt x="64484" y="157067"/>
                    </a:cubicBezTo>
                    <a:lnTo>
                      <a:pt x="64484" y="114586"/>
                    </a:lnTo>
                    <a:lnTo>
                      <a:pt x="64484" y="83248"/>
                    </a:lnTo>
                    <a:lnTo>
                      <a:pt x="64484" y="39243"/>
                    </a:lnTo>
                    <a:cubicBezTo>
                      <a:pt x="64484" y="34576"/>
                      <a:pt x="75343" y="29813"/>
                      <a:pt x="83534" y="28480"/>
                    </a:cubicBezTo>
                    <a:cubicBezTo>
                      <a:pt x="83534" y="28480"/>
                      <a:pt x="84868" y="28575"/>
                      <a:pt x="85439" y="27718"/>
                    </a:cubicBezTo>
                    <a:cubicBezTo>
                      <a:pt x="86011" y="26860"/>
                      <a:pt x="85725" y="25813"/>
                      <a:pt x="85820" y="25813"/>
                    </a:cubicBezTo>
                    <a:lnTo>
                      <a:pt x="85630" y="1810"/>
                    </a:lnTo>
                    <a:cubicBezTo>
                      <a:pt x="85630" y="762"/>
                      <a:pt x="84772" y="0"/>
                      <a:pt x="83820" y="0"/>
                    </a:cubicBezTo>
                    <a:lnTo>
                      <a:pt x="2000" y="0"/>
                    </a:lnTo>
                    <a:cubicBezTo>
                      <a:pt x="952" y="0"/>
                      <a:pt x="190" y="857"/>
                      <a:pt x="190" y="1810"/>
                    </a:cubicBezTo>
                    <a:lnTo>
                      <a:pt x="0" y="25813"/>
                    </a:lnTo>
                    <a:cubicBezTo>
                      <a:pt x="95" y="25813"/>
                      <a:pt x="-191" y="26860"/>
                      <a:pt x="381" y="27718"/>
                    </a:cubicBezTo>
                    <a:cubicBezTo>
                      <a:pt x="952" y="28575"/>
                      <a:pt x="2286" y="28480"/>
                      <a:pt x="2286" y="28480"/>
                    </a:cubicBezTo>
                    <a:cubicBezTo>
                      <a:pt x="10573" y="29813"/>
                      <a:pt x="21336" y="34576"/>
                      <a:pt x="21336" y="39243"/>
                    </a:cubicBezTo>
                    <a:lnTo>
                      <a:pt x="21336" y="83248"/>
                    </a:lnTo>
                    <a:lnTo>
                      <a:pt x="21336" y="114586"/>
                    </a:lnTo>
                    <a:lnTo>
                      <a:pt x="21336" y="157067"/>
                    </a:lnTo>
                    <a:cubicBezTo>
                      <a:pt x="21336" y="161734"/>
                      <a:pt x="10477" y="166497"/>
                      <a:pt x="2286" y="167830"/>
                    </a:cubicBezTo>
                    <a:cubicBezTo>
                      <a:pt x="2286" y="167830"/>
                      <a:pt x="952" y="167735"/>
                      <a:pt x="381" y="168592"/>
                    </a:cubicBezTo>
                    <a:cubicBezTo>
                      <a:pt x="-191" y="169450"/>
                      <a:pt x="95" y="170497"/>
                      <a:pt x="0" y="170497"/>
                    </a:cubicBezTo>
                    <a:lnTo>
                      <a:pt x="190" y="194500"/>
                    </a:lnTo>
                    <a:cubicBezTo>
                      <a:pt x="190" y="195548"/>
                      <a:pt x="1048" y="196310"/>
                      <a:pt x="2000" y="196310"/>
                    </a:cubicBezTo>
                    <a:lnTo>
                      <a:pt x="83820" y="196310"/>
                    </a:lnTo>
                    <a:cubicBezTo>
                      <a:pt x="84868" y="196310"/>
                      <a:pt x="85630" y="195453"/>
                      <a:pt x="85630" y="194500"/>
                    </a:cubicBezTo>
                    <a:lnTo>
                      <a:pt x="85820" y="170497"/>
                    </a:lnTo>
                    <a:cubicBezTo>
                      <a:pt x="85725" y="170497"/>
                      <a:pt x="86011" y="169450"/>
                      <a:pt x="85439" y="16859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1" name="Freeform 190">
                <a:extLst>
                  <a:ext uri="{FF2B5EF4-FFF2-40B4-BE49-F238E27FC236}">
                    <a16:creationId xmlns:a16="http://schemas.microsoft.com/office/drawing/2014/main" id="{A1070FED-E70B-1A42-B5DB-C3026B3A5F90}"/>
                  </a:ext>
                </a:extLst>
              </p:cNvPr>
              <p:cNvSpPr/>
              <p:nvPr/>
            </p:nvSpPr>
            <p:spPr>
              <a:xfrm>
                <a:off x="1672784" y="6441216"/>
                <a:ext cx="29339" cy="66917"/>
              </a:xfrm>
              <a:custGeom>
                <a:avLst/>
                <a:gdLst>
                  <a:gd name="connsiteX0" fmla="*/ 65951 w 66274"/>
                  <a:gd name="connsiteY0" fmla="*/ 129826 h 151161"/>
                  <a:gd name="connsiteX1" fmla="*/ 64427 w 66274"/>
                  <a:gd name="connsiteY1" fmla="*/ 129254 h 151161"/>
                  <a:gd name="connsiteX2" fmla="*/ 49758 w 66274"/>
                  <a:gd name="connsiteY2" fmla="*/ 120967 h 151161"/>
                  <a:gd name="connsiteX3" fmla="*/ 49758 w 66274"/>
                  <a:gd name="connsiteY3" fmla="*/ 88201 h 151161"/>
                  <a:gd name="connsiteX4" fmla="*/ 49758 w 66274"/>
                  <a:gd name="connsiteY4" fmla="*/ 64103 h 151161"/>
                  <a:gd name="connsiteX5" fmla="*/ 49758 w 66274"/>
                  <a:gd name="connsiteY5" fmla="*/ 30194 h 151161"/>
                  <a:gd name="connsiteX6" fmla="*/ 64427 w 66274"/>
                  <a:gd name="connsiteY6" fmla="*/ 21907 h 151161"/>
                  <a:gd name="connsiteX7" fmla="*/ 65951 w 66274"/>
                  <a:gd name="connsiteY7" fmla="*/ 21336 h 151161"/>
                  <a:gd name="connsiteX8" fmla="*/ 66236 w 66274"/>
                  <a:gd name="connsiteY8" fmla="*/ 19907 h 151161"/>
                  <a:gd name="connsiteX9" fmla="*/ 66046 w 66274"/>
                  <a:gd name="connsiteY9" fmla="*/ 1429 h 151161"/>
                  <a:gd name="connsiteX10" fmla="*/ 64617 w 66274"/>
                  <a:gd name="connsiteY10" fmla="*/ 0 h 151161"/>
                  <a:gd name="connsiteX11" fmla="*/ 1657 w 66274"/>
                  <a:gd name="connsiteY11" fmla="*/ 0 h 151161"/>
                  <a:gd name="connsiteX12" fmla="*/ 228 w 66274"/>
                  <a:gd name="connsiteY12" fmla="*/ 1429 h 151161"/>
                  <a:gd name="connsiteX13" fmla="*/ 38 w 66274"/>
                  <a:gd name="connsiteY13" fmla="*/ 19907 h 151161"/>
                  <a:gd name="connsiteX14" fmla="*/ 323 w 66274"/>
                  <a:gd name="connsiteY14" fmla="*/ 21336 h 151161"/>
                  <a:gd name="connsiteX15" fmla="*/ 1752 w 66274"/>
                  <a:gd name="connsiteY15" fmla="*/ 21907 h 151161"/>
                  <a:gd name="connsiteX16" fmla="*/ 16421 w 66274"/>
                  <a:gd name="connsiteY16" fmla="*/ 30194 h 151161"/>
                  <a:gd name="connsiteX17" fmla="*/ 16421 w 66274"/>
                  <a:gd name="connsiteY17" fmla="*/ 64103 h 151161"/>
                  <a:gd name="connsiteX18" fmla="*/ 16421 w 66274"/>
                  <a:gd name="connsiteY18" fmla="*/ 88201 h 151161"/>
                  <a:gd name="connsiteX19" fmla="*/ 16421 w 66274"/>
                  <a:gd name="connsiteY19" fmla="*/ 120967 h 151161"/>
                  <a:gd name="connsiteX20" fmla="*/ 1752 w 66274"/>
                  <a:gd name="connsiteY20" fmla="*/ 129254 h 151161"/>
                  <a:gd name="connsiteX21" fmla="*/ 323 w 66274"/>
                  <a:gd name="connsiteY21" fmla="*/ 129826 h 151161"/>
                  <a:gd name="connsiteX22" fmla="*/ 38 w 66274"/>
                  <a:gd name="connsiteY22" fmla="*/ 131254 h 151161"/>
                  <a:gd name="connsiteX23" fmla="*/ 228 w 66274"/>
                  <a:gd name="connsiteY23" fmla="*/ 149733 h 151161"/>
                  <a:gd name="connsiteX24" fmla="*/ 1657 w 66274"/>
                  <a:gd name="connsiteY24" fmla="*/ 151162 h 151161"/>
                  <a:gd name="connsiteX25" fmla="*/ 64617 w 66274"/>
                  <a:gd name="connsiteY25" fmla="*/ 151162 h 151161"/>
                  <a:gd name="connsiteX26" fmla="*/ 66046 w 66274"/>
                  <a:gd name="connsiteY26" fmla="*/ 149733 h 151161"/>
                  <a:gd name="connsiteX27" fmla="*/ 66236 w 66274"/>
                  <a:gd name="connsiteY27" fmla="*/ 131254 h 151161"/>
                  <a:gd name="connsiteX28" fmla="*/ 65951 w 66274"/>
                  <a:gd name="connsiteY28" fmla="*/ 129826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274" h="151161">
                    <a:moveTo>
                      <a:pt x="65951" y="129826"/>
                    </a:moveTo>
                    <a:cubicBezTo>
                      <a:pt x="65474" y="129159"/>
                      <a:pt x="64427" y="129254"/>
                      <a:pt x="64427" y="129254"/>
                    </a:cubicBezTo>
                    <a:cubicBezTo>
                      <a:pt x="58045" y="128206"/>
                      <a:pt x="49758" y="124587"/>
                      <a:pt x="49758" y="120967"/>
                    </a:cubicBezTo>
                    <a:lnTo>
                      <a:pt x="49758" y="88201"/>
                    </a:lnTo>
                    <a:lnTo>
                      <a:pt x="49758" y="64103"/>
                    </a:lnTo>
                    <a:lnTo>
                      <a:pt x="49758" y="30194"/>
                    </a:lnTo>
                    <a:cubicBezTo>
                      <a:pt x="49758" y="26575"/>
                      <a:pt x="58045" y="22955"/>
                      <a:pt x="64427" y="21907"/>
                    </a:cubicBezTo>
                    <a:cubicBezTo>
                      <a:pt x="64427" y="21907"/>
                      <a:pt x="65474" y="21907"/>
                      <a:pt x="65951" y="21336"/>
                    </a:cubicBezTo>
                    <a:cubicBezTo>
                      <a:pt x="66427" y="20669"/>
                      <a:pt x="66236" y="19907"/>
                      <a:pt x="66236" y="19907"/>
                    </a:cubicBezTo>
                    <a:lnTo>
                      <a:pt x="66046" y="1429"/>
                    </a:lnTo>
                    <a:cubicBezTo>
                      <a:pt x="66046" y="667"/>
                      <a:pt x="65379" y="0"/>
                      <a:pt x="64617" y="0"/>
                    </a:cubicBezTo>
                    <a:lnTo>
                      <a:pt x="1657" y="0"/>
                    </a:lnTo>
                    <a:cubicBezTo>
                      <a:pt x="895" y="0"/>
                      <a:pt x="228" y="667"/>
                      <a:pt x="228" y="1429"/>
                    </a:cubicBezTo>
                    <a:lnTo>
                      <a:pt x="38" y="19907"/>
                    </a:lnTo>
                    <a:cubicBezTo>
                      <a:pt x="133" y="19907"/>
                      <a:pt x="-153" y="20764"/>
                      <a:pt x="323" y="21336"/>
                    </a:cubicBezTo>
                    <a:cubicBezTo>
                      <a:pt x="800" y="22003"/>
                      <a:pt x="1752" y="21907"/>
                      <a:pt x="1752" y="21907"/>
                    </a:cubicBezTo>
                    <a:cubicBezTo>
                      <a:pt x="8134" y="22955"/>
                      <a:pt x="16421" y="26575"/>
                      <a:pt x="16421" y="30194"/>
                    </a:cubicBezTo>
                    <a:lnTo>
                      <a:pt x="16421" y="64103"/>
                    </a:lnTo>
                    <a:lnTo>
                      <a:pt x="16421" y="88201"/>
                    </a:lnTo>
                    <a:lnTo>
                      <a:pt x="16421" y="120967"/>
                    </a:lnTo>
                    <a:cubicBezTo>
                      <a:pt x="16421" y="124587"/>
                      <a:pt x="8134" y="128206"/>
                      <a:pt x="1752" y="129254"/>
                    </a:cubicBezTo>
                    <a:cubicBezTo>
                      <a:pt x="1752" y="129254"/>
                      <a:pt x="704" y="129254"/>
                      <a:pt x="323" y="129826"/>
                    </a:cubicBezTo>
                    <a:cubicBezTo>
                      <a:pt x="-153" y="130492"/>
                      <a:pt x="38" y="131254"/>
                      <a:pt x="38" y="131254"/>
                    </a:cubicBezTo>
                    <a:lnTo>
                      <a:pt x="228" y="149733"/>
                    </a:lnTo>
                    <a:cubicBezTo>
                      <a:pt x="228" y="150495"/>
                      <a:pt x="895" y="151162"/>
                      <a:pt x="1657" y="151162"/>
                    </a:cubicBezTo>
                    <a:lnTo>
                      <a:pt x="64617" y="151162"/>
                    </a:lnTo>
                    <a:cubicBezTo>
                      <a:pt x="65379" y="151162"/>
                      <a:pt x="66046" y="150495"/>
                      <a:pt x="66046" y="149733"/>
                    </a:cubicBezTo>
                    <a:lnTo>
                      <a:pt x="66236" y="131254"/>
                    </a:lnTo>
                    <a:cubicBezTo>
                      <a:pt x="66236" y="131350"/>
                      <a:pt x="66427" y="130492"/>
                      <a:pt x="65951" y="1298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2" name="Freeform 191">
                <a:extLst>
                  <a:ext uri="{FF2B5EF4-FFF2-40B4-BE49-F238E27FC236}">
                    <a16:creationId xmlns:a16="http://schemas.microsoft.com/office/drawing/2014/main" id="{7225172B-BC3B-C846-B1E4-9E4ED7B7A80F}"/>
                  </a:ext>
                </a:extLst>
              </p:cNvPr>
              <p:cNvSpPr/>
              <p:nvPr/>
            </p:nvSpPr>
            <p:spPr>
              <a:xfrm>
                <a:off x="1874228" y="6302785"/>
                <a:ext cx="94795" cy="87073"/>
              </a:xfrm>
              <a:custGeom>
                <a:avLst/>
                <a:gdLst>
                  <a:gd name="connsiteX0" fmla="*/ 213741 w 214135"/>
                  <a:gd name="connsiteY0" fmla="*/ 168878 h 196691"/>
                  <a:gd name="connsiteX1" fmla="*/ 211836 w 214135"/>
                  <a:gd name="connsiteY1" fmla="*/ 168116 h 196691"/>
                  <a:gd name="connsiteX2" fmla="*/ 192786 w 214135"/>
                  <a:gd name="connsiteY2" fmla="*/ 157353 h 196691"/>
                  <a:gd name="connsiteX3" fmla="*/ 192691 w 214135"/>
                  <a:gd name="connsiteY3" fmla="*/ 130492 h 196691"/>
                  <a:gd name="connsiteX4" fmla="*/ 153352 w 214135"/>
                  <a:gd name="connsiteY4" fmla="*/ 92678 h 196691"/>
                  <a:gd name="connsiteX5" fmla="*/ 152209 w 214135"/>
                  <a:gd name="connsiteY5" fmla="*/ 92678 h 196691"/>
                  <a:gd name="connsiteX6" fmla="*/ 152209 w 214135"/>
                  <a:gd name="connsiteY6" fmla="*/ 92392 h 196691"/>
                  <a:gd name="connsiteX7" fmla="*/ 151924 w 214135"/>
                  <a:gd name="connsiteY7" fmla="*/ 92392 h 196691"/>
                  <a:gd name="connsiteX8" fmla="*/ 149638 w 214135"/>
                  <a:gd name="connsiteY8" fmla="*/ 90106 h 196691"/>
                  <a:gd name="connsiteX9" fmla="*/ 151924 w 214135"/>
                  <a:gd name="connsiteY9" fmla="*/ 87821 h 196691"/>
                  <a:gd name="connsiteX10" fmla="*/ 157543 w 214135"/>
                  <a:gd name="connsiteY10" fmla="*/ 87821 h 196691"/>
                  <a:gd name="connsiteX11" fmla="*/ 191071 w 214135"/>
                  <a:gd name="connsiteY11" fmla="*/ 48768 h 196691"/>
                  <a:gd name="connsiteX12" fmla="*/ 191071 w 214135"/>
                  <a:gd name="connsiteY12" fmla="*/ 37719 h 196691"/>
                  <a:gd name="connsiteX13" fmla="*/ 153257 w 214135"/>
                  <a:gd name="connsiteY13" fmla="*/ 0 h 196691"/>
                  <a:gd name="connsiteX14" fmla="*/ 71342 w 214135"/>
                  <a:gd name="connsiteY14" fmla="*/ 95 h 196691"/>
                  <a:gd name="connsiteX15" fmla="*/ 71342 w 214135"/>
                  <a:gd name="connsiteY15" fmla="*/ 286 h 196691"/>
                  <a:gd name="connsiteX16" fmla="*/ 2000 w 214135"/>
                  <a:gd name="connsiteY16" fmla="*/ 286 h 196691"/>
                  <a:gd name="connsiteX17" fmla="*/ 190 w 214135"/>
                  <a:gd name="connsiteY17" fmla="*/ 2096 h 196691"/>
                  <a:gd name="connsiteX18" fmla="*/ 0 w 214135"/>
                  <a:gd name="connsiteY18" fmla="*/ 26098 h 196691"/>
                  <a:gd name="connsiteX19" fmla="*/ 381 w 214135"/>
                  <a:gd name="connsiteY19" fmla="*/ 28004 h 196691"/>
                  <a:gd name="connsiteX20" fmla="*/ 2286 w 214135"/>
                  <a:gd name="connsiteY20" fmla="*/ 28765 h 196691"/>
                  <a:gd name="connsiteX21" fmla="*/ 21336 w 214135"/>
                  <a:gd name="connsiteY21" fmla="*/ 39529 h 196691"/>
                  <a:gd name="connsiteX22" fmla="*/ 21336 w 214135"/>
                  <a:gd name="connsiteY22" fmla="*/ 83534 h 196691"/>
                  <a:gd name="connsiteX23" fmla="*/ 21336 w 214135"/>
                  <a:gd name="connsiteY23" fmla="*/ 114871 h 196691"/>
                  <a:gd name="connsiteX24" fmla="*/ 21336 w 214135"/>
                  <a:gd name="connsiteY24" fmla="*/ 157353 h 196691"/>
                  <a:gd name="connsiteX25" fmla="*/ 2286 w 214135"/>
                  <a:gd name="connsiteY25" fmla="*/ 168116 h 196691"/>
                  <a:gd name="connsiteX26" fmla="*/ 381 w 214135"/>
                  <a:gd name="connsiteY26" fmla="*/ 168878 h 196691"/>
                  <a:gd name="connsiteX27" fmla="*/ 0 w 214135"/>
                  <a:gd name="connsiteY27" fmla="*/ 170783 h 196691"/>
                  <a:gd name="connsiteX28" fmla="*/ 190 w 214135"/>
                  <a:gd name="connsiteY28" fmla="*/ 194786 h 196691"/>
                  <a:gd name="connsiteX29" fmla="*/ 2000 w 214135"/>
                  <a:gd name="connsiteY29" fmla="*/ 196596 h 196691"/>
                  <a:gd name="connsiteX30" fmla="*/ 83820 w 214135"/>
                  <a:gd name="connsiteY30" fmla="*/ 196596 h 196691"/>
                  <a:gd name="connsiteX31" fmla="*/ 85630 w 214135"/>
                  <a:gd name="connsiteY31" fmla="*/ 194786 h 196691"/>
                  <a:gd name="connsiteX32" fmla="*/ 85820 w 214135"/>
                  <a:gd name="connsiteY32" fmla="*/ 170783 h 196691"/>
                  <a:gd name="connsiteX33" fmla="*/ 85439 w 214135"/>
                  <a:gd name="connsiteY33" fmla="*/ 168878 h 196691"/>
                  <a:gd name="connsiteX34" fmla="*/ 83534 w 214135"/>
                  <a:gd name="connsiteY34" fmla="*/ 168116 h 196691"/>
                  <a:gd name="connsiteX35" fmla="*/ 64484 w 214135"/>
                  <a:gd name="connsiteY35" fmla="*/ 157353 h 196691"/>
                  <a:gd name="connsiteX36" fmla="*/ 64484 w 214135"/>
                  <a:gd name="connsiteY36" fmla="*/ 114871 h 196691"/>
                  <a:gd name="connsiteX37" fmla="*/ 64484 w 214135"/>
                  <a:gd name="connsiteY37" fmla="*/ 83534 h 196691"/>
                  <a:gd name="connsiteX38" fmla="*/ 64484 w 214135"/>
                  <a:gd name="connsiteY38" fmla="*/ 39529 h 196691"/>
                  <a:gd name="connsiteX39" fmla="*/ 71818 w 214135"/>
                  <a:gd name="connsiteY39" fmla="*/ 32480 h 196691"/>
                  <a:gd name="connsiteX40" fmla="*/ 118967 w 214135"/>
                  <a:gd name="connsiteY40" fmla="*/ 32480 h 196691"/>
                  <a:gd name="connsiteX41" fmla="*/ 137826 w 214135"/>
                  <a:gd name="connsiteY41" fmla="*/ 49435 h 196691"/>
                  <a:gd name="connsiteX42" fmla="*/ 137826 w 214135"/>
                  <a:gd name="connsiteY42" fmla="*/ 58007 h 196691"/>
                  <a:gd name="connsiteX43" fmla="*/ 118586 w 214135"/>
                  <a:gd name="connsiteY43" fmla="*/ 78296 h 196691"/>
                  <a:gd name="connsiteX44" fmla="*/ 117824 w 214135"/>
                  <a:gd name="connsiteY44" fmla="*/ 78486 h 196691"/>
                  <a:gd name="connsiteX45" fmla="*/ 89535 w 214135"/>
                  <a:gd name="connsiteY45" fmla="*/ 78486 h 196691"/>
                  <a:gd name="connsiteX46" fmla="*/ 83439 w 214135"/>
                  <a:gd name="connsiteY46" fmla="*/ 84582 h 196691"/>
                  <a:gd name="connsiteX47" fmla="*/ 83439 w 214135"/>
                  <a:gd name="connsiteY47" fmla="*/ 106013 h 196691"/>
                  <a:gd name="connsiteX48" fmla="*/ 89535 w 214135"/>
                  <a:gd name="connsiteY48" fmla="*/ 112109 h 196691"/>
                  <a:gd name="connsiteX49" fmla="*/ 120872 w 214135"/>
                  <a:gd name="connsiteY49" fmla="*/ 112109 h 196691"/>
                  <a:gd name="connsiteX50" fmla="*/ 140970 w 214135"/>
                  <a:gd name="connsiteY50" fmla="*/ 130397 h 196691"/>
                  <a:gd name="connsiteX51" fmla="*/ 140494 w 214135"/>
                  <a:gd name="connsiteY51" fmla="*/ 185738 h 196691"/>
                  <a:gd name="connsiteX52" fmla="*/ 141256 w 214135"/>
                  <a:gd name="connsiteY52" fmla="*/ 192119 h 196691"/>
                  <a:gd name="connsiteX53" fmla="*/ 149923 w 214135"/>
                  <a:gd name="connsiteY53" fmla="*/ 196691 h 196691"/>
                  <a:gd name="connsiteX54" fmla="*/ 212026 w 214135"/>
                  <a:gd name="connsiteY54" fmla="*/ 196691 h 196691"/>
                  <a:gd name="connsiteX55" fmla="*/ 213836 w 214135"/>
                  <a:gd name="connsiteY55" fmla="*/ 194881 h 196691"/>
                  <a:gd name="connsiteX56" fmla="*/ 214026 w 214135"/>
                  <a:gd name="connsiteY56" fmla="*/ 170879 h 196691"/>
                  <a:gd name="connsiteX57" fmla="*/ 213741 w 214135"/>
                  <a:gd name="connsiteY57" fmla="*/ 168878 h 1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4135" h="196691">
                    <a:moveTo>
                      <a:pt x="213741" y="168878"/>
                    </a:moveTo>
                    <a:cubicBezTo>
                      <a:pt x="213169" y="168021"/>
                      <a:pt x="211836" y="168116"/>
                      <a:pt x="211836" y="168116"/>
                    </a:cubicBezTo>
                    <a:cubicBezTo>
                      <a:pt x="203549" y="166783"/>
                      <a:pt x="192786" y="162020"/>
                      <a:pt x="192786" y="157353"/>
                    </a:cubicBezTo>
                    <a:lnTo>
                      <a:pt x="192691" y="130492"/>
                    </a:lnTo>
                    <a:cubicBezTo>
                      <a:pt x="192691" y="109633"/>
                      <a:pt x="186976" y="92678"/>
                      <a:pt x="153352" y="92678"/>
                    </a:cubicBezTo>
                    <a:lnTo>
                      <a:pt x="152209" y="92678"/>
                    </a:lnTo>
                    <a:lnTo>
                      <a:pt x="152209" y="92392"/>
                    </a:lnTo>
                    <a:lnTo>
                      <a:pt x="151924" y="92392"/>
                    </a:lnTo>
                    <a:cubicBezTo>
                      <a:pt x="150685" y="92392"/>
                      <a:pt x="149638" y="91345"/>
                      <a:pt x="149638" y="90106"/>
                    </a:cubicBezTo>
                    <a:cubicBezTo>
                      <a:pt x="149638" y="88868"/>
                      <a:pt x="150685" y="87821"/>
                      <a:pt x="151924" y="87821"/>
                    </a:cubicBezTo>
                    <a:lnTo>
                      <a:pt x="157543" y="87821"/>
                    </a:lnTo>
                    <a:cubicBezTo>
                      <a:pt x="176403" y="85725"/>
                      <a:pt x="191071" y="68199"/>
                      <a:pt x="191071" y="48768"/>
                    </a:cubicBezTo>
                    <a:lnTo>
                      <a:pt x="191071" y="37719"/>
                    </a:lnTo>
                    <a:cubicBezTo>
                      <a:pt x="191071" y="16859"/>
                      <a:pt x="174117" y="0"/>
                      <a:pt x="153257" y="0"/>
                    </a:cubicBezTo>
                    <a:lnTo>
                      <a:pt x="71342" y="95"/>
                    </a:lnTo>
                    <a:lnTo>
                      <a:pt x="71342" y="286"/>
                    </a:lnTo>
                    <a:lnTo>
                      <a:pt x="2000" y="286"/>
                    </a:lnTo>
                    <a:cubicBezTo>
                      <a:pt x="952" y="286"/>
                      <a:pt x="190" y="1143"/>
                      <a:pt x="190" y="2096"/>
                    </a:cubicBezTo>
                    <a:lnTo>
                      <a:pt x="0" y="26098"/>
                    </a:lnTo>
                    <a:cubicBezTo>
                      <a:pt x="95" y="26098"/>
                      <a:pt x="-191" y="27146"/>
                      <a:pt x="381" y="28004"/>
                    </a:cubicBezTo>
                    <a:cubicBezTo>
                      <a:pt x="952" y="28861"/>
                      <a:pt x="2286" y="28765"/>
                      <a:pt x="2286" y="28765"/>
                    </a:cubicBezTo>
                    <a:cubicBezTo>
                      <a:pt x="10573" y="30099"/>
                      <a:pt x="21336" y="34861"/>
                      <a:pt x="21336" y="39529"/>
                    </a:cubicBezTo>
                    <a:lnTo>
                      <a:pt x="21336" y="83534"/>
                    </a:lnTo>
                    <a:lnTo>
                      <a:pt x="21336" y="114871"/>
                    </a:lnTo>
                    <a:lnTo>
                      <a:pt x="21336" y="157353"/>
                    </a:lnTo>
                    <a:cubicBezTo>
                      <a:pt x="21336" y="162020"/>
                      <a:pt x="10573" y="166783"/>
                      <a:pt x="2286" y="168116"/>
                    </a:cubicBezTo>
                    <a:cubicBezTo>
                      <a:pt x="2286" y="168116"/>
                      <a:pt x="952" y="168021"/>
                      <a:pt x="381" y="168878"/>
                    </a:cubicBezTo>
                    <a:cubicBezTo>
                      <a:pt x="-191" y="169735"/>
                      <a:pt x="95" y="170783"/>
                      <a:pt x="0" y="170783"/>
                    </a:cubicBezTo>
                    <a:lnTo>
                      <a:pt x="190" y="194786"/>
                    </a:lnTo>
                    <a:cubicBezTo>
                      <a:pt x="190" y="195834"/>
                      <a:pt x="1048" y="196596"/>
                      <a:pt x="2000" y="196596"/>
                    </a:cubicBezTo>
                    <a:lnTo>
                      <a:pt x="83820" y="196596"/>
                    </a:lnTo>
                    <a:cubicBezTo>
                      <a:pt x="84867" y="196596"/>
                      <a:pt x="85630" y="195739"/>
                      <a:pt x="85630" y="194786"/>
                    </a:cubicBezTo>
                    <a:lnTo>
                      <a:pt x="85820" y="170783"/>
                    </a:lnTo>
                    <a:cubicBezTo>
                      <a:pt x="85725" y="170783"/>
                      <a:pt x="86011" y="169735"/>
                      <a:pt x="85439" y="168878"/>
                    </a:cubicBezTo>
                    <a:cubicBezTo>
                      <a:pt x="84867" y="168021"/>
                      <a:pt x="83534" y="168116"/>
                      <a:pt x="83534" y="168116"/>
                    </a:cubicBezTo>
                    <a:cubicBezTo>
                      <a:pt x="75247" y="166783"/>
                      <a:pt x="64484" y="162020"/>
                      <a:pt x="64484" y="157353"/>
                    </a:cubicBezTo>
                    <a:lnTo>
                      <a:pt x="64484" y="114871"/>
                    </a:lnTo>
                    <a:lnTo>
                      <a:pt x="64484" y="83534"/>
                    </a:lnTo>
                    <a:lnTo>
                      <a:pt x="64484" y="39529"/>
                    </a:lnTo>
                    <a:cubicBezTo>
                      <a:pt x="64484" y="37052"/>
                      <a:pt x="67627" y="34480"/>
                      <a:pt x="71818" y="32480"/>
                    </a:cubicBezTo>
                    <a:lnTo>
                      <a:pt x="118967" y="32480"/>
                    </a:lnTo>
                    <a:cubicBezTo>
                      <a:pt x="128301" y="32480"/>
                      <a:pt x="137826" y="40100"/>
                      <a:pt x="137826" y="49435"/>
                    </a:cubicBezTo>
                    <a:lnTo>
                      <a:pt x="137826" y="58007"/>
                    </a:lnTo>
                    <a:cubicBezTo>
                      <a:pt x="138017" y="63341"/>
                      <a:pt x="129635" y="78962"/>
                      <a:pt x="118586" y="78296"/>
                    </a:cubicBezTo>
                    <a:lnTo>
                      <a:pt x="117824" y="78486"/>
                    </a:lnTo>
                    <a:lnTo>
                      <a:pt x="89535" y="78486"/>
                    </a:lnTo>
                    <a:cubicBezTo>
                      <a:pt x="86201" y="78486"/>
                      <a:pt x="83439" y="81248"/>
                      <a:pt x="83439" y="84582"/>
                    </a:cubicBezTo>
                    <a:lnTo>
                      <a:pt x="83439" y="106013"/>
                    </a:lnTo>
                    <a:cubicBezTo>
                      <a:pt x="83439" y="109347"/>
                      <a:pt x="86201" y="112109"/>
                      <a:pt x="89535" y="112109"/>
                    </a:cubicBezTo>
                    <a:lnTo>
                      <a:pt x="120872" y="112109"/>
                    </a:lnTo>
                    <a:cubicBezTo>
                      <a:pt x="141732" y="113347"/>
                      <a:pt x="140779" y="125254"/>
                      <a:pt x="140970" y="130397"/>
                    </a:cubicBezTo>
                    <a:lnTo>
                      <a:pt x="140494" y="185738"/>
                    </a:lnTo>
                    <a:cubicBezTo>
                      <a:pt x="140494" y="185738"/>
                      <a:pt x="140589" y="189833"/>
                      <a:pt x="141256" y="192119"/>
                    </a:cubicBezTo>
                    <a:cubicBezTo>
                      <a:pt x="142494" y="196215"/>
                      <a:pt x="149923" y="196691"/>
                      <a:pt x="149923" y="196691"/>
                    </a:cubicBezTo>
                    <a:lnTo>
                      <a:pt x="212026" y="196691"/>
                    </a:lnTo>
                    <a:cubicBezTo>
                      <a:pt x="213074" y="196691"/>
                      <a:pt x="213836" y="195834"/>
                      <a:pt x="213836" y="194881"/>
                    </a:cubicBezTo>
                    <a:lnTo>
                      <a:pt x="214026" y="170879"/>
                    </a:lnTo>
                    <a:cubicBezTo>
                      <a:pt x="214122" y="170783"/>
                      <a:pt x="214313" y="169735"/>
                      <a:pt x="213741" y="168878"/>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3" name="Freeform 192">
                <a:extLst>
                  <a:ext uri="{FF2B5EF4-FFF2-40B4-BE49-F238E27FC236}">
                    <a16:creationId xmlns:a16="http://schemas.microsoft.com/office/drawing/2014/main" id="{581571CB-EDF9-1247-BAD1-F710E6D34450}"/>
                  </a:ext>
                </a:extLst>
              </p:cNvPr>
              <p:cNvSpPr/>
              <p:nvPr/>
            </p:nvSpPr>
            <p:spPr>
              <a:xfrm>
                <a:off x="1596084" y="6441174"/>
                <a:ext cx="73091" cy="67002"/>
              </a:xfrm>
              <a:custGeom>
                <a:avLst/>
                <a:gdLst>
                  <a:gd name="connsiteX0" fmla="*/ 164535 w 165106"/>
                  <a:gd name="connsiteY0" fmla="*/ 130016 h 151352"/>
                  <a:gd name="connsiteX1" fmla="*/ 163106 w 165106"/>
                  <a:gd name="connsiteY1" fmla="*/ 129445 h 151352"/>
                  <a:gd name="connsiteX2" fmla="*/ 148437 w 165106"/>
                  <a:gd name="connsiteY2" fmla="*/ 121158 h 151352"/>
                  <a:gd name="connsiteX3" fmla="*/ 148342 w 165106"/>
                  <a:gd name="connsiteY3" fmla="*/ 100489 h 151352"/>
                  <a:gd name="connsiteX4" fmla="*/ 118052 w 165106"/>
                  <a:gd name="connsiteY4" fmla="*/ 71438 h 151352"/>
                  <a:gd name="connsiteX5" fmla="*/ 117195 w 165106"/>
                  <a:gd name="connsiteY5" fmla="*/ 71438 h 151352"/>
                  <a:gd name="connsiteX6" fmla="*/ 117195 w 165106"/>
                  <a:gd name="connsiteY6" fmla="*/ 71152 h 151352"/>
                  <a:gd name="connsiteX7" fmla="*/ 117005 w 165106"/>
                  <a:gd name="connsiteY7" fmla="*/ 71152 h 151352"/>
                  <a:gd name="connsiteX8" fmla="*/ 115195 w 165106"/>
                  <a:gd name="connsiteY8" fmla="*/ 69342 h 151352"/>
                  <a:gd name="connsiteX9" fmla="*/ 117005 w 165106"/>
                  <a:gd name="connsiteY9" fmla="*/ 67628 h 151352"/>
                  <a:gd name="connsiteX10" fmla="*/ 121291 w 165106"/>
                  <a:gd name="connsiteY10" fmla="*/ 67628 h 151352"/>
                  <a:gd name="connsiteX11" fmla="*/ 147104 w 165106"/>
                  <a:gd name="connsiteY11" fmla="*/ 37529 h 151352"/>
                  <a:gd name="connsiteX12" fmla="*/ 147104 w 165106"/>
                  <a:gd name="connsiteY12" fmla="*/ 29051 h 151352"/>
                  <a:gd name="connsiteX13" fmla="*/ 118052 w 165106"/>
                  <a:gd name="connsiteY13" fmla="*/ 0 h 151352"/>
                  <a:gd name="connsiteX14" fmla="*/ 54997 w 165106"/>
                  <a:gd name="connsiteY14" fmla="*/ 0 h 151352"/>
                  <a:gd name="connsiteX15" fmla="*/ 54997 w 165106"/>
                  <a:gd name="connsiteY15" fmla="*/ 191 h 151352"/>
                  <a:gd name="connsiteX16" fmla="*/ 1657 w 165106"/>
                  <a:gd name="connsiteY16" fmla="*/ 191 h 151352"/>
                  <a:gd name="connsiteX17" fmla="*/ 228 w 165106"/>
                  <a:gd name="connsiteY17" fmla="*/ 1619 h 151352"/>
                  <a:gd name="connsiteX18" fmla="*/ 38 w 165106"/>
                  <a:gd name="connsiteY18" fmla="*/ 20098 h 151352"/>
                  <a:gd name="connsiteX19" fmla="*/ 323 w 165106"/>
                  <a:gd name="connsiteY19" fmla="*/ 21527 h 151352"/>
                  <a:gd name="connsiteX20" fmla="*/ 1752 w 165106"/>
                  <a:gd name="connsiteY20" fmla="*/ 22098 h 151352"/>
                  <a:gd name="connsiteX21" fmla="*/ 16421 w 165106"/>
                  <a:gd name="connsiteY21" fmla="*/ 30385 h 151352"/>
                  <a:gd name="connsiteX22" fmla="*/ 16421 w 165106"/>
                  <a:gd name="connsiteY22" fmla="*/ 64294 h 151352"/>
                  <a:gd name="connsiteX23" fmla="*/ 16421 w 165106"/>
                  <a:gd name="connsiteY23" fmla="*/ 88392 h 151352"/>
                  <a:gd name="connsiteX24" fmla="*/ 16421 w 165106"/>
                  <a:gd name="connsiteY24" fmla="*/ 121158 h 151352"/>
                  <a:gd name="connsiteX25" fmla="*/ 1752 w 165106"/>
                  <a:gd name="connsiteY25" fmla="*/ 129445 h 151352"/>
                  <a:gd name="connsiteX26" fmla="*/ 323 w 165106"/>
                  <a:gd name="connsiteY26" fmla="*/ 130016 h 151352"/>
                  <a:gd name="connsiteX27" fmla="*/ 38 w 165106"/>
                  <a:gd name="connsiteY27" fmla="*/ 131445 h 151352"/>
                  <a:gd name="connsiteX28" fmla="*/ 228 w 165106"/>
                  <a:gd name="connsiteY28" fmla="*/ 149924 h 151352"/>
                  <a:gd name="connsiteX29" fmla="*/ 1657 w 165106"/>
                  <a:gd name="connsiteY29" fmla="*/ 151352 h 151352"/>
                  <a:gd name="connsiteX30" fmla="*/ 64617 w 165106"/>
                  <a:gd name="connsiteY30" fmla="*/ 151352 h 151352"/>
                  <a:gd name="connsiteX31" fmla="*/ 66046 w 165106"/>
                  <a:gd name="connsiteY31" fmla="*/ 149924 h 151352"/>
                  <a:gd name="connsiteX32" fmla="*/ 66236 w 165106"/>
                  <a:gd name="connsiteY32" fmla="*/ 131445 h 151352"/>
                  <a:gd name="connsiteX33" fmla="*/ 65951 w 165106"/>
                  <a:gd name="connsiteY33" fmla="*/ 130016 h 151352"/>
                  <a:gd name="connsiteX34" fmla="*/ 64522 w 165106"/>
                  <a:gd name="connsiteY34" fmla="*/ 129445 h 151352"/>
                  <a:gd name="connsiteX35" fmla="*/ 49853 w 165106"/>
                  <a:gd name="connsiteY35" fmla="*/ 121158 h 151352"/>
                  <a:gd name="connsiteX36" fmla="*/ 49853 w 165106"/>
                  <a:gd name="connsiteY36" fmla="*/ 88392 h 151352"/>
                  <a:gd name="connsiteX37" fmla="*/ 49853 w 165106"/>
                  <a:gd name="connsiteY37" fmla="*/ 64294 h 151352"/>
                  <a:gd name="connsiteX38" fmla="*/ 49853 w 165106"/>
                  <a:gd name="connsiteY38" fmla="*/ 30385 h 151352"/>
                  <a:gd name="connsiteX39" fmla="*/ 55473 w 165106"/>
                  <a:gd name="connsiteY39" fmla="*/ 24956 h 151352"/>
                  <a:gd name="connsiteX40" fmla="*/ 91763 w 165106"/>
                  <a:gd name="connsiteY40" fmla="*/ 24956 h 151352"/>
                  <a:gd name="connsiteX41" fmla="*/ 106241 w 165106"/>
                  <a:gd name="connsiteY41" fmla="*/ 38005 h 151352"/>
                  <a:gd name="connsiteX42" fmla="*/ 106241 w 165106"/>
                  <a:gd name="connsiteY42" fmla="*/ 44577 h 151352"/>
                  <a:gd name="connsiteX43" fmla="*/ 91478 w 165106"/>
                  <a:gd name="connsiteY43" fmla="*/ 60198 h 151352"/>
                  <a:gd name="connsiteX44" fmla="*/ 90906 w 165106"/>
                  <a:gd name="connsiteY44" fmla="*/ 60388 h 151352"/>
                  <a:gd name="connsiteX45" fmla="*/ 69094 w 165106"/>
                  <a:gd name="connsiteY45" fmla="*/ 60388 h 151352"/>
                  <a:gd name="connsiteX46" fmla="*/ 64427 w 165106"/>
                  <a:gd name="connsiteY46" fmla="*/ 65056 h 151352"/>
                  <a:gd name="connsiteX47" fmla="*/ 64427 w 165106"/>
                  <a:gd name="connsiteY47" fmla="*/ 81534 h 151352"/>
                  <a:gd name="connsiteX48" fmla="*/ 69094 w 165106"/>
                  <a:gd name="connsiteY48" fmla="*/ 86201 h 151352"/>
                  <a:gd name="connsiteX49" fmla="*/ 93287 w 165106"/>
                  <a:gd name="connsiteY49" fmla="*/ 86201 h 151352"/>
                  <a:gd name="connsiteX50" fmla="*/ 108813 w 165106"/>
                  <a:gd name="connsiteY50" fmla="*/ 100298 h 151352"/>
                  <a:gd name="connsiteX51" fmla="*/ 108432 w 165106"/>
                  <a:gd name="connsiteY51" fmla="*/ 142875 h 151352"/>
                  <a:gd name="connsiteX52" fmla="*/ 109004 w 165106"/>
                  <a:gd name="connsiteY52" fmla="*/ 147828 h 151352"/>
                  <a:gd name="connsiteX53" fmla="*/ 115671 w 165106"/>
                  <a:gd name="connsiteY53" fmla="*/ 151352 h 151352"/>
                  <a:gd name="connsiteX54" fmla="*/ 163487 w 165106"/>
                  <a:gd name="connsiteY54" fmla="*/ 151352 h 151352"/>
                  <a:gd name="connsiteX55" fmla="*/ 164915 w 165106"/>
                  <a:gd name="connsiteY55" fmla="*/ 149924 h 151352"/>
                  <a:gd name="connsiteX56" fmla="*/ 165106 w 165106"/>
                  <a:gd name="connsiteY56" fmla="*/ 131445 h 151352"/>
                  <a:gd name="connsiteX57" fmla="*/ 164535 w 165106"/>
                  <a:gd name="connsiteY57" fmla="*/ 130016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5106" h="151352">
                    <a:moveTo>
                      <a:pt x="164535" y="130016"/>
                    </a:moveTo>
                    <a:cubicBezTo>
                      <a:pt x="164058" y="129350"/>
                      <a:pt x="163106" y="129445"/>
                      <a:pt x="163106" y="129445"/>
                    </a:cubicBezTo>
                    <a:cubicBezTo>
                      <a:pt x="156724" y="128397"/>
                      <a:pt x="148437" y="124778"/>
                      <a:pt x="148437" y="121158"/>
                    </a:cubicBezTo>
                    <a:lnTo>
                      <a:pt x="148342" y="100489"/>
                    </a:lnTo>
                    <a:cubicBezTo>
                      <a:pt x="148342" y="84392"/>
                      <a:pt x="143961" y="71438"/>
                      <a:pt x="118052" y="71438"/>
                    </a:cubicBezTo>
                    <a:lnTo>
                      <a:pt x="117195" y="71438"/>
                    </a:lnTo>
                    <a:lnTo>
                      <a:pt x="117195" y="71152"/>
                    </a:lnTo>
                    <a:lnTo>
                      <a:pt x="117005" y="71152"/>
                    </a:lnTo>
                    <a:cubicBezTo>
                      <a:pt x="116052" y="71152"/>
                      <a:pt x="115195" y="70390"/>
                      <a:pt x="115195" y="69342"/>
                    </a:cubicBezTo>
                    <a:cubicBezTo>
                      <a:pt x="115195" y="68390"/>
                      <a:pt x="115957" y="67628"/>
                      <a:pt x="117005" y="67628"/>
                    </a:cubicBezTo>
                    <a:lnTo>
                      <a:pt x="121291" y="67628"/>
                    </a:lnTo>
                    <a:cubicBezTo>
                      <a:pt x="135769" y="66008"/>
                      <a:pt x="147104" y="52483"/>
                      <a:pt x="147104" y="37529"/>
                    </a:cubicBezTo>
                    <a:lnTo>
                      <a:pt x="147104" y="29051"/>
                    </a:lnTo>
                    <a:cubicBezTo>
                      <a:pt x="147104" y="12954"/>
                      <a:pt x="134054" y="0"/>
                      <a:pt x="118052" y="0"/>
                    </a:cubicBezTo>
                    <a:lnTo>
                      <a:pt x="54997" y="0"/>
                    </a:lnTo>
                    <a:lnTo>
                      <a:pt x="54997" y="191"/>
                    </a:lnTo>
                    <a:lnTo>
                      <a:pt x="1657" y="191"/>
                    </a:lnTo>
                    <a:cubicBezTo>
                      <a:pt x="895" y="191"/>
                      <a:pt x="228" y="857"/>
                      <a:pt x="228" y="1619"/>
                    </a:cubicBezTo>
                    <a:lnTo>
                      <a:pt x="38" y="20098"/>
                    </a:lnTo>
                    <a:cubicBezTo>
                      <a:pt x="38" y="20098"/>
                      <a:pt x="-153" y="20955"/>
                      <a:pt x="323" y="21527"/>
                    </a:cubicBezTo>
                    <a:cubicBezTo>
                      <a:pt x="800" y="22193"/>
                      <a:pt x="1752" y="22098"/>
                      <a:pt x="1752" y="22098"/>
                    </a:cubicBezTo>
                    <a:cubicBezTo>
                      <a:pt x="8134" y="23146"/>
                      <a:pt x="16421" y="26765"/>
                      <a:pt x="16421" y="30385"/>
                    </a:cubicBezTo>
                    <a:lnTo>
                      <a:pt x="16421" y="64294"/>
                    </a:lnTo>
                    <a:lnTo>
                      <a:pt x="16421" y="88392"/>
                    </a:lnTo>
                    <a:lnTo>
                      <a:pt x="16421" y="121158"/>
                    </a:lnTo>
                    <a:cubicBezTo>
                      <a:pt x="16421" y="124778"/>
                      <a:pt x="8134" y="128397"/>
                      <a:pt x="1752" y="129445"/>
                    </a:cubicBezTo>
                    <a:cubicBezTo>
                      <a:pt x="1752" y="129445"/>
                      <a:pt x="704" y="129445"/>
                      <a:pt x="323" y="130016"/>
                    </a:cubicBezTo>
                    <a:cubicBezTo>
                      <a:pt x="-153" y="130683"/>
                      <a:pt x="38" y="131445"/>
                      <a:pt x="38" y="131445"/>
                    </a:cubicBezTo>
                    <a:lnTo>
                      <a:pt x="228" y="149924"/>
                    </a:lnTo>
                    <a:cubicBezTo>
                      <a:pt x="228" y="150686"/>
                      <a:pt x="895" y="151352"/>
                      <a:pt x="1657" y="151352"/>
                    </a:cubicBezTo>
                    <a:lnTo>
                      <a:pt x="64617" y="151352"/>
                    </a:lnTo>
                    <a:cubicBezTo>
                      <a:pt x="65379" y="151352"/>
                      <a:pt x="66046" y="150686"/>
                      <a:pt x="66046" y="149924"/>
                    </a:cubicBezTo>
                    <a:lnTo>
                      <a:pt x="66236" y="131445"/>
                    </a:lnTo>
                    <a:cubicBezTo>
                      <a:pt x="66236" y="131445"/>
                      <a:pt x="66427" y="130588"/>
                      <a:pt x="65951" y="130016"/>
                    </a:cubicBezTo>
                    <a:cubicBezTo>
                      <a:pt x="65474" y="129350"/>
                      <a:pt x="64522" y="129445"/>
                      <a:pt x="64522" y="129445"/>
                    </a:cubicBezTo>
                    <a:cubicBezTo>
                      <a:pt x="58140" y="128397"/>
                      <a:pt x="49853" y="124778"/>
                      <a:pt x="49853" y="121158"/>
                    </a:cubicBezTo>
                    <a:lnTo>
                      <a:pt x="49853" y="88392"/>
                    </a:lnTo>
                    <a:lnTo>
                      <a:pt x="49853" y="64294"/>
                    </a:lnTo>
                    <a:lnTo>
                      <a:pt x="49853" y="30385"/>
                    </a:lnTo>
                    <a:cubicBezTo>
                      <a:pt x="49853" y="28480"/>
                      <a:pt x="52235" y="26479"/>
                      <a:pt x="55473" y="24956"/>
                    </a:cubicBezTo>
                    <a:lnTo>
                      <a:pt x="91763" y="24956"/>
                    </a:lnTo>
                    <a:cubicBezTo>
                      <a:pt x="99002" y="24956"/>
                      <a:pt x="106241" y="30766"/>
                      <a:pt x="106241" y="38005"/>
                    </a:cubicBezTo>
                    <a:lnTo>
                      <a:pt x="106241" y="44577"/>
                    </a:lnTo>
                    <a:cubicBezTo>
                      <a:pt x="106432" y="48673"/>
                      <a:pt x="99955" y="60770"/>
                      <a:pt x="91478" y="60198"/>
                    </a:cubicBezTo>
                    <a:lnTo>
                      <a:pt x="90906" y="60388"/>
                    </a:lnTo>
                    <a:lnTo>
                      <a:pt x="69094" y="60388"/>
                    </a:lnTo>
                    <a:cubicBezTo>
                      <a:pt x="66522" y="60388"/>
                      <a:pt x="64427" y="62484"/>
                      <a:pt x="64427" y="65056"/>
                    </a:cubicBezTo>
                    <a:lnTo>
                      <a:pt x="64427" y="81534"/>
                    </a:lnTo>
                    <a:cubicBezTo>
                      <a:pt x="64427" y="84106"/>
                      <a:pt x="66522" y="86201"/>
                      <a:pt x="69094" y="86201"/>
                    </a:cubicBezTo>
                    <a:lnTo>
                      <a:pt x="93287" y="86201"/>
                    </a:lnTo>
                    <a:cubicBezTo>
                      <a:pt x="109385" y="87154"/>
                      <a:pt x="108623" y="96298"/>
                      <a:pt x="108813" y="100298"/>
                    </a:cubicBezTo>
                    <a:lnTo>
                      <a:pt x="108432" y="142875"/>
                    </a:lnTo>
                    <a:cubicBezTo>
                      <a:pt x="108432" y="142875"/>
                      <a:pt x="108432" y="146018"/>
                      <a:pt x="109004" y="147828"/>
                    </a:cubicBezTo>
                    <a:cubicBezTo>
                      <a:pt x="109956" y="150971"/>
                      <a:pt x="115671" y="151352"/>
                      <a:pt x="115671" y="151352"/>
                    </a:cubicBezTo>
                    <a:lnTo>
                      <a:pt x="163487" y="151352"/>
                    </a:lnTo>
                    <a:cubicBezTo>
                      <a:pt x="164249" y="151352"/>
                      <a:pt x="164915" y="150686"/>
                      <a:pt x="164915" y="149924"/>
                    </a:cubicBezTo>
                    <a:lnTo>
                      <a:pt x="165106" y="131445"/>
                    </a:lnTo>
                    <a:cubicBezTo>
                      <a:pt x="164820" y="131445"/>
                      <a:pt x="165011" y="130588"/>
                      <a:pt x="164535" y="13001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4" name="Freeform 193">
                <a:extLst>
                  <a:ext uri="{FF2B5EF4-FFF2-40B4-BE49-F238E27FC236}">
                    <a16:creationId xmlns:a16="http://schemas.microsoft.com/office/drawing/2014/main" id="{4EE10C1D-3294-5749-9F45-8B21DFF32DB4}"/>
                  </a:ext>
                </a:extLst>
              </p:cNvPr>
              <p:cNvSpPr/>
              <p:nvPr/>
            </p:nvSpPr>
            <p:spPr>
              <a:xfrm>
                <a:off x="1489022"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3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054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3" y="134971"/>
                      <a:pt x="2803"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438" y="77250"/>
                      <a:pt x="99197" y="73154"/>
                      <a:pt x="80147" y="70106"/>
                    </a:cubicBezTo>
                    <a:cubicBezTo>
                      <a:pt x="61097" y="67058"/>
                      <a:pt x="44999" y="64010"/>
                      <a:pt x="44999" y="47246"/>
                    </a:cubicBezTo>
                    <a:cubicBezTo>
                      <a:pt x="44999" y="30482"/>
                      <a:pt x="67097" y="27434"/>
                      <a:pt x="77194" y="27148"/>
                    </a:cubicBezTo>
                    <a:cubicBezTo>
                      <a:pt x="77194" y="27148"/>
                      <a:pt x="90148" y="26005"/>
                      <a:pt x="100054" y="29720"/>
                    </a:cubicBezTo>
                    <a:cubicBezTo>
                      <a:pt x="104150" y="31244"/>
                      <a:pt x="107959"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5" name="Freeform 194">
                <a:extLst>
                  <a:ext uri="{FF2B5EF4-FFF2-40B4-BE49-F238E27FC236}">
                    <a16:creationId xmlns:a16="http://schemas.microsoft.com/office/drawing/2014/main" id="{7E1D57E3-91B8-CC4C-8DFC-58CF2170BC69}"/>
                  </a:ext>
                </a:extLst>
              </p:cNvPr>
              <p:cNvSpPr/>
              <p:nvPr/>
            </p:nvSpPr>
            <p:spPr>
              <a:xfrm>
                <a:off x="2048229" y="6302067"/>
                <a:ext cx="71630" cy="8847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4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149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4" y="134971"/>
                      <a:pt x="2804"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533" y="77250"/>
                      <a:pt x="99197" y="73154"/>
                      <a:pt x="80147" y="70106"/>
                    </a:cubicBezTo>
                    <a:cubicBezTo>
                      <a:pt x="61097" y="67058"/>
                      <a:pt x="44999" y="64010"/>
                      <a:pt x="44999" y="47246"/>
                    </a:cubicBezTo>
                    <a:cubicBezTo>
                      <a:pt x="44999" y="30482"/>
                      <a:pt x="67192" y="27434"/>
                      <a:pt x="77194" y="27148"/>
                    </a:cubicBezTo>
                    <a:cubicBezTo>
                      <a:pt x="77194" y="27148"/>
                      <a:pt x="90148"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6" name="Freeform 195">
                <a:extLst>
                  <a:ext uri="{FF2B5EF4-FFF2-40B4-BE49-F238E27FC236}">
                    <a16:creationId xmlns:a16="http://schemas.microsoft.com/office/drawing/2014/main" id="{07A732BE-A22A-454C-A28B-196244371428}"/>
                  </a:ext>
                </a:extLst>
              </p:cNvPr>
              <p:cNvSpPr/>
              <p:nvPr/>
            </p:nvSpPr>
            <p:spPr>
              <a:xfrm>
                <a:off x="2511339" y="6302067"/>
                <a:ext cx="71672" cy="88472"/>
              </a:xfrm>
              <a:custGeom>
                <a:avLst/>
                <a:gdLst>
                  <a:gd name="connsiteX0" fmla="*/ 31379 w 161901"/>
                  <a:gd name="connsiteY0" fmla="*/ 103539 h 199852"/>
                  <a:gd name="connsiteX1" fmla="*/ 93957 w 161901"/>
                  <a:gd name="connsiteY1" fmla="*/ 119540 h 199852"/>
                  <a:gd name="connsiteX2" fmla="*/ 118437 w 161901"/>
                  <a:gd name="connsiteY2" fmla="*/ 148592 h 199852"/>
                  <a:gd name="connsiteX3" fmla="*/ 86242 w 161901"/>
                  <a:gd name="connsiteY3" fmla="*/ 168689 h 199852"/>
                  <a:gd name="connsiteX4" fmla="*/ 51857 w 161901"/>
                  <a:gd name="connsiteY4" fmla="*/ 166118 h 199852"/>
                  <a:gd name="connsiteX5" fmla="*/ 34331 w 161901"/>
                  <a:gd name="connsiteY5" fmla="*/ 148020 h 199852"/>
                  <a:gd name="connsiteX6" fmla="*/ 30330 w 161901"/>
                  <a:gd name="connsiteY6" fmla="*/ 138305 h 199852"/>
                  <a:gd name="connsiteX7" fmla="*/ 24806 w 161901"/>
                  <a:gd name="connsiteY7" fmla="*/ 135066 h 199852"/>
                  <a:gd name="connsiteX8" fmla="*/ 7375 w 161901"/>
                  <a:gd name="connsiteY8" fmla="*/ 135066 h 199852"/>
                  <a:gd name="connsiteX9" fmla="*/ 2898 w 161901"/>
                  <a:gd name="connsiteY9" fmla="*/ 138305 h 199852"/>
                  <a:gd name="connsiteX10" fmla="*/ 2994 w 161901"/>
                  <a:gd name="connsiteY10" fmla="*/ 176500 h 199852"/>
                  <a:gd name="connsiteX11" fmla="*/ 2994 w 161901"/>
                  <a:gd name="connsiteY11" fmla="*/ 193359 h 199852"/>
                  <a:gd name="connsiteX12" fmla="*/ 32807 w 161901"/>
                  <a:gd name="connsiteY12" fmla="*/ 199836 h 199852"/>
                  <a:gd name="connsiteX13" fmla="*/ 91100 w 161901"/>
                  <a:gd name="connsiteY13" fmla="*/ 199836 h 199852"/>
                  <a:gd name="connsiteX14" fmla="*/ 134344 w 161901"/>
                  <a:gd name="connsiteY14" fmla="*/ 189930 h 199852"/>
                  <a:gd name="connsiteX15" fmla="*/ 161871 w 161901"/>
                  <a:gd name="connsiteY15" fmla="*/ 139543 h 199852"/>
                  <a:gd name="connsiteX16" fmla="*/ 142821 w 161901"/>
                  <a:gd name="connsiteY16" fmla="*/ 86108 h 199852"/>
                  <a:gd name="connsiteX17" fmla="*/ 80241 w 161901"/>
                  <a:gd name="connsiteY17" fmla="*/ 70106 h 199852"/>
                  <a:gd name="connsiteX18" fmla="*/ 45094 w 161901"/>
                  <a:gd name="connsiteY18" fmla="*/ 47246 h 199852"/>
                  <a:gd name="connsiteX19" fmla="*/ 77289 w 161901"/>
                  <a:gd name="connsiteY19" fmla="*/ 27148 h 199852"/>
                  <a:gd name="connsiteX20" fmla="*/ 100149 w 161901"/>
                  <a:gd name="connsiteY20" fmla="*/ 29720 h 199852"/>
                  <a:gd name="connsiteX21" fmla="*/ 113770 w 161901"/>
                  <a:gd name="connsiteY21" fmla="*/ 39626 h 199852"/>
                  <a:gd name="connsiteX22" fmla="*/ 121009 w 161901"/>
                  <a:gd name="connsiteY22" fmla="*/ 54199 h 199852"/>
                  <a:gd name="connsiteX23" fmla="*/ 127105 w 161901"/>
                  <a:gd name="connsiteY23" fmla="*/ 60295 h 199852"/>
                  <a:gd name="connsiteX24" fmla="*/ 142916 w 161901"/>
                  <a:gd name="connsiteY24" fmla="*/ 60295 h 199852"/>
                  <a:gd name="connsiteX25" fmla="*/ 149012 w 161901"/>
                  <a:gd name="connsiteY25" fmla="*/ 54199 h 199852"/>
                  <a:gd name="connsiteX26" fmla="*/ 148917 w 161901"/>
                  <a:gd name="connsiteY26" fmla="*/ 3335 h 199852"/>
                  <a:gd name="connsiteX27" fmla="*/ 119103 w 161901"/>
                  <a:gd name="connsiteY27" fmla="*/ 2 h 199852"/>
                  <a:gd name="connsiteX28" fmla="*/ 54714 w 161901"/>
                  <a:gd name="connsiteY28" fmla="*/ 2 h 199852"/>
                  <a:gd name="connsiteX29" fmla="*/ 19091 w 161901"/>
                  <a:gd name="connsiteY29" fmla="*/ 12956 h 199852"/>
                  <a:gd name="connsiteX30" fmla="*/ 41 w 161901"/>
                  <a:gd name="connsiteY30" fmla="*/ 58009 h 199852"/>
                  <a:gd name="connsiteX31" fmla="*/ 31379 w 161901"/>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901" h="199852">
                    <a:moveTo>
                      <a:pt x="31379" y="103539"/>
                    </a:moveTo>
                    <a:cubicBezTo>
                      <a:pt x="47381" y="108396"/>
                      <a:pt x="74907" y="116493"/>
                      <a:pt x="93957" y="119540"/>
                    </a:cubicBezTo>
                    <a:cubicBezTo>
                      <a:pt x="113007" y="122589"/>
                      <a:pt x="121485" y="131732"/>
                      <a:pt x="118437" y="148592"/>
                    </a:cubicBezTo>
                    <a:cubicBezTo>
                      <a:pt x="115389" y="165165"/>
                      <a:pt x="96244" y="168404"/>
                      <a:pt x="86242" y="168689"/>
                    </a:cubicBezTo>
                    <a:cubicBezTo>
                      <a:pt x="86242" y="168689"/>
                      <a:pt x="61858" y="169832"/>
                      <a:pt x="51857" y="166118"/>
                    </a:cubicBezTo>
                    <a:cubicBezTo>
                      <a:pt x="47761" y="164594"/>
                      <a:pt x="36427" y="151640"/>
                      <a:pt x="34331" y="148020"/>
                    </a:cubicBezTo>
                    <a:lnTo>
                      <a:pt x="30330" y="138305"/>
                    </a:lnTo>
                    <a:cubicBezTo>
                      <a:pt x="30330" y="136685"/>
                      <a:pt x="28235" y="135066"/>
                      <a:pt x="24806" y="135066"/>
                    </a:cubicBezTo>
                    <a:lnTo>
                      <a:pt x="7375" y="135066"/>
                    </a:lnTo>
                    <a:cubicBezTo>
                      <a:pt x="4041" y="135066"/>
                      <a:pt x="2898" y="134971"/>
                      <a:pt x="2898" y="138305"/>
                    </a:cubicBezTo>
                    <a:lnTo>
                      <a:pt x="2994" y="176500"/>
                    </a:lnTo>
                    <a:lnTo>
                      <a:pt x="2994" y="193359"/>
                    </a:lnTo>
                    <a:cubicBezTo>
                      <a:pt x="2994" y="198598"/>
                      <a:pt x="10900" y="199836"/>
                      <a:pt x="32807" y="199836"/>
                    </a:cubicBezTo>
                    <a:lnTo>
                      <a:pt x="91100" y="199836"/>
                    </a:lnTo>
                    <a:cubicBezTo>
                      <a:pt x="91100" y="199836"/>
                      <a:pt x="115960" y="200693"/>
                      <a:pt x="134344" y="189930"/>
                    </a:cubicBezTo>
                    <a:cubicBezTo>
                      <a:pt x="149393" y="181072"/>
                      <a:pt x="162633" y="157069"/>
                      <a:pt x="161871" y="139543"/>
                    </a:cubicBezTo>
                    <a:cubicBezTo>
                      <a:pt x="160632" y="111254"/>
                      <a:pt x="158823" y="96014"/>
                      <a:pt x="142821" y="86108"/>
                    </a:cubicBezTo>
                    <a:cubicBezTo>
                      <a:pt x="128533" y="77250"/>
                      <a:pt x="99291" y="73154"/>
                      <a:pt x="80241" y="70106"/>
                    </a:cubicBezTo>
                    <a:cubicBezTo>
                      <a:pt x="61191" y="67058"/>
                      <a:pt x="45094" y="64010"/>
                      <a:pt x="45094" y="47246"/>
                    </a:cubicBezTo>
                    <a:cubicBezTo>
                      <a:pt x="45094" y="30482"/>
                      <a:pt x="67192" y="27434"/>
                      <a:pt x="77289" y="27148"/>
                    </a:cubicBezTo>
                    <a:cubicBezTo>
                      <a:pt x="77289" y="27148"/>
                      <a:pt x="90243"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3" y="2"/>
                    </a:cubicBezTo>
                    <a:lnTo>
                      <a:pt x="54714" y="2"/>
                    </a:lnTo>
                    <a:cubicBezTo>
                      <a:pt x="54714" y="2"/>
                      <a:pt x="32522" y="192"/>
                      <a:pt x="19091" y="12956"/>
                    </a:cubicBezTo>
                    <a:cubicBezTo>
                      <a:pt x="9281" y="22290"/>
                      <a:pt x="-721" y="40483"/>
                      <a:pt x="41" y="58009"/>
                    </a:cubicBezTo>
                    <a:cubicBezTo>
                      <a:pt x="803" y="75249"/>
                      <a:pt x="3851" y="95156"/>
                      <a:pt x="31379" y="103539"/>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7" name="Freeform 196">
                <a:extLst>
                  <a:ext uri="{FF2B5EF4-FFF2-40B4-BE49-F238E27FC236}">
                    <a16:creationId xmlns:a16="http://schemas.microsoft.com/office/drawing/2014/main" id="{1685E9DF-7FE6-3D4B-99A3-224DFB960E88}"/>
                  </a:ext>
                </a:extLst>
              </p:cNvPr>
              <p:cNvSpPr/>
              <p:nvPr/>
            </p:nvSpPr>
            <p:spPr>
              <a:xfrm>
                <a:off x="1597661" y="6300582"/>
                <a:ext cx="107687" cy="93355"/>
              </a:xfrm>
              <a:custGeom>
                <a:avLst/>
                <a:gdLst>
                  <a:gd name="connsiteX0" fmla="*/ 242507 w 243257"/>
                  <a:gd name="connsiteY0" fmla="*/ 186523 h 210883"/>
                  <a:gd name="connsiteX1" fmla="*/ 234125 w 243257"/>
                  <a:gd name="connsiteY1" fmla="*/ 184237 h 210883"/>
                  <a:gd name="connsiteX2" fmla="*/ 226504 w 243257"/>
                  <a:gd name="connsiteY2" fmla="*/ 181189 h 210883"/>
                  <a:gd name="connsiteX3" fmla="*/ 202597 w 243257"/>
                  <a:gd name="connsiteY3" fmla="*/ 164234 h 210883"/>
                  <a:gd name="connsiteX4" fmla="*/ 210503 w 243257"/>
                  <a:gd name="connsiteY4" fmla="*/ 147470 h 210883"/>
                  <a:gd name="connsiteX5" fmla="*/ 215075 w 243257"/>
                  <a:gd name="connsiteY5" fmla="*/ 110799 h 210883"/>
                  <a:gd name="connsiteX6" fmla="*/ 214122 w 243257"/>
                  <a:gd name="connsiteY6" fmla="*/ 87558 h 210883"/>
                  <a:gd name="connsiteX7" fmla="*/ 210312 w 243257"/>
                  <a:gd name="connsiteY7" fmla="*/ 86415 h 210883"/>
                  <a:gd name="connsiteX8" fmla="*/ 177641 w 243257"/>
                  <a:gd name="connsiteY8" fmla="*/ 86415 h 210883"/>
                  <a:gd name="connsiteX9" fmla="*/ 174593 w 243257"/>
                  <a:gd name="connsiteY9" fmla="*/ 87939 h 210883"/>
                  <a:gd name="connsiteX10" fmla="*/ 173831 w 243257"/>
                  <a:gd name="connsiteY10" fmla="*/ 93273 h 210883"/>
                  <a:gd name="connsiteX11" fmla="*/ 173831 w 243257"/>
                  <a:gd name="connsiteY11" fmla="*/ 109275 h 210883"/>
                  <a:gd name="connsiteX12" fmla="*/ 168593 w 243257"/>
                  <a:gd name="connsiteY12" fmla="*/ 136040 h 210883"/>
                  <a:gd name="connsiteX13" fmla="*/ 120301 w 243257"/>
                  <a:gd name="connsiteY13" fmla="*/ 95940 h 210883"/>
                  <a:gd name="connsiteX14" fmla="*/ 163830 w 243257"/>
                  <a:gd name="connsiteY14" fmla="*/ 46600 h 210883"/>
                  <a:gd name="connsiteX15" fmla="*/ 92012 w 243257"/>
                  <a:gd name="connsiteY15" fmla="*/ 23 h 210883"/>
                  <a:gd name="connsiteX16" fmla="*/ 14097 w 243257"/>
                  <a:gd name="connsiteY16" fmla="*/ 46600 h 210883"/>
                  <a:gd name="connsiteX17" fmla="*/ 20384 w 243257"/>
                  <a:gd name="connsiteY17" fmla="*/ 69270 h 210883"/>
                  <a:gd name="connsiteX18" fmla="*/ 20193 w 243257"/>
                  <a:gd name="connsiteY18" fmla="*/ 70222 h 210883"/>
                  <a:gd name="connsiteX19" fmla="*/ 21908 w 243257"/>
                  <a:gd name="connsiteY19" fmla="*/ 71651 h 210883"/>
                  <a:gd name="connsiteX20" fmla="*/ 33242 w 243257"/>
                  <a:gd name="connsiteY20" fmla="*/ 83462 h 210883"/>
                  <a:gd name="connsiteX21" fmla="*/ 0 w 243257"/>
                  <a:gd name="connsiteY21" fmla="*/ 139755 h 210883"/>
                  <a:gd name="connsiteX22" fmla="*/ 97346 w 243257"/>
                  <a:gd name="connsiteY22" fmla="*/ 210811 h 210883"/>
                  <a:gd name="connsiteX23" fmla="*/ 172688 w 243257"/>
                  <a:gd name="connsiteY23" fmla="*/ 193000 h 210883"/>
                  <a:gd name="connsiteX24" fmla="*/ 180594 w 243257"/>
                  <a:gd name="connsiteY24" fmla="*/ 196524 h 210883"/>
                  <a:gd name="connsiteX25" fmla="*/ 192977 w 243257"/>
                  <a:gd name="connsiteY25" fmla="*/ 202620 h 210883"/>
                  <a:gd name="connsiteX26" fmla="*/ 237839 w 243257"/>
                  <a:gd name="connsiteY26" fmla="*/ 202429 h 210883"/>
                  <a:gd name="connsiteX27" fmla="*/ 242983 w 243257"/>
                  <a:gd name="connsiteY27" fmla="*/ 198048 h 210883"/>
                  <a:gd name="connsiteX28" fmla="*/ 243078 w 243257"/>
                  <a:gd name="connsiteY28" fmla="*/ 195571 h 210883"/>
                  <a:gd name="connsiteX29" fmla="*/ 242507 w 243257"/>
                  <a:gd name="connsiteY29" fmla="*/ 186523 h 210883"/>
                  <a:gd name="connsiteX30" fmla="*/ 92107 w 243257"/>
                  <a:gd name="connsiteY30" fmla="*/ 28217 h 210883"/>
                  <a:gd name="connsiteX31" fmla="*/ 120396 w 243257"/>
                  <a:gd name="connsiteY31" fmla="*/ 46505 h 210883"/>
                  <a:gd name="connsiteX32" fmla="*/ 89821 w 243257"/>
                  <a:gd name="connsiteY32" fmla="*/ 67079 h 210883"/>
                  <a:gd name="connsiteX33" fmla="*/ 85916 w 243257"/>
                  <a:gd name="connsiteY33" fmla="*/ 66317 h 210883"/>
                  <a:gd name="connsiteX34" fmla="*/ 77534 w 243257"/>
                  <a:gd name="connsiteY34" fmla="*/ 62983 h 210883"/>
                  <a:gd name="connsiteX35" fmla="*/ 61817 w 243257"/>
                  <a:gd name="connsiteY35" fmla="*/ 46505 h 210883"/>
                  <a:gd name="connsiteX36" fmla="*/ 92107 w 243257"/>
                  <a:gd name="connsiteY36" fmla="*/ 28217 h 210883"/>
                  <a:gd name="connsiteX37" fmla="*/ 102013 w 243257"/>
                  <a:gd name="connsiteY37" fmla="*/ 176426 h 210883"/>
                  <a:gd name="connsiteX38" fmla="*/ 51721 w 243257"/>
                  <a:gd name="connsiteY38" fmla="*/ 136135 h 210883"/>
                  <a:gd name="connsiteX39" fmla="*/ 65913 w 243257"/>
                  <a:gd name="connsiteY39" fmla="*/ 106989 h 210883"/>
                  <a:gd name="connsiteX40" fmla="*/ 142875 w 243257"/>
                  <a:gd name="connsiteY40" fmla="*/ 168901 h 210883"/>
                  <a:gd name="connsiteX41" fmla="*/ 102013 w 243257"/>
                  <a:gd name="connsiteY41" fmla="*/ 176426 h 2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3257" h="210883">
                    <a:moveTo>
                      <a:pt x="242507" y="186523"/>
                    </a:moveTo>
                    <a:cubicBezTo>
                      <a:pt x="240983" y="184237"/>
                      <a:pt x="238696" y="184999"/>
                      <a:pt x="234125" y="184237"/>
                    </a:cubicBezTo>
                    <a:cubicBezTo>
                      <a:pt x="229553" y="183475"/>
                      <a:pt x="226504" y="181189"/>
                      <a:pt x="226504" y="181189"/>
                    </a:cubicBezTo>
                    <a:lnTo>
                      <a:pt x="202597" y="164234"/>
                    </a:lnTo>
                    <a:cubicBezTo>
                      <a:pt x="205931" y="158233"/>
                      <a:pt x="208502" y="151947"/>
                      <a:pt x="210503" y="147470"/>
                    </a:cubicBezTo>
                    <a:cubicBezTo>
                      <a:pt x="213551" y="140612"/>
                      <a:pt x="215075" y="118419"/>
                      <a:pt x="215075" y="110799"/>
                    </a:cubicBezTo>
                    <a:cubicBezTo>
                      <a:pt x="215075" y="103179"/>
                      <a:pt x="216789" y="89844"/>
                      <a:pt x="214122" y="87558"/>
                    </a:cubicBezTo>
                    <a:cubicBezTo>
                      <a:pt x="213360" y="86891"/>
                      <a:pt x="210312" y="86415"/>
                      <a:pt x="210312" y="86415"/>
                    </a:cubicBezTo>
                    <a:lnTo>
                      <a:pt x="177641" y="86415"/>
                    </a:lnTo>
                    <a:cubicBezTo>
                      <a:pt x="177641" y="86415"/>
                      <a:pt x="175736" y="86796"/>
                      <a:pt x="174593" y="87939"/>
                    </a:cubicBezTo>
                    <a:cubicBezTo>
                      <a:pt x="173641" y="88891"/>
                      <a:pt x="173831" y="93273"/>
                      <a:pt x="173831" y="93273"/>
                    </a:cubicBezTo>
                    <a:cubicBezTo>
                      <a:pt x="173831" y="93273"/>
                      <a:pt x="173450" y="103941"/>
                      <a:pt x="173831" y="109275"/>
                    </a:cubicBezTo>
                    <a:cubicBezTo>
                      <a:pt x="174498" y="119276"/>
                      <a:pt x="172021" y="128420"/>
                      <a:pt x="168593" y="136040"/>
                    </a:cubicBezTo>
                    <a:lnTo>
                      <a:pt x="120301" y="95940"/>
                    </a:lnTo>
                    <a:cubicBezTo>
                      <a:pt x="146876" y="85939"/>
                      <a:pt x="164211" y="63364"/>
                      <a:pt x="163830" y="46600"/>
                    </a:cubicBezTo>
                    <a:cubicBezTo>
                      <a:pt x="163068" y="13739"/>
                      <a:pt x="133826" y="690"/>
                      <a:pt x="92012" y="23"/>
                    </a:cubicBezTo>
                    <a:cubicBezTo>
                      <a:pt x="45434" y="-739"/>
                      <a:pt x="14097" y="17359"/>
                      <a:pt x="14097" y="46600"/>
                    </a:cubicBezTo>
                    <a:cubicBezTo>
                      <a:pt x="14097" y="54982"/>
                      <a:pt x="16383" y="62602"/>
                      <a:pt x="20384" y="69270"/>
                    </a:cubicBezTo>
                    <a:cubicBezTo>
                      <a:pt x="20288" y="69556"/>
                      <a:pt x="20193" y="69937"/>
                      <a:pt x="20193" y="70222"/>
                    </a:cubicBezTo>
                    <a:lnTo>
                      <a:pt x="21908" y="71651"/>
                    </a:lnTo>
                    <a:cubicBezTo>
                      <a:pt x="24956" y="76033"/>
                      <a:pt x="28766" y="79938"/>
                      <a:pt x="33242" y="83462"/>
                    </a:cubicBezTo>
                    <a:cubicBezTo>
                      <a:pt x="12573" y="97845"/>
                      <a:pt x="0" y="118228"/>
                      <a:pt x="0" y="139755"/>
                    </a:cubicBezTo>
                    <a:cubicBezTo>
                      <a:pt x="0" y="180331"/>
                      <a:pt x="18669" y="208430"/>
                      <a:pt x="97346" y="210811"/>
                    </a:cubicBezTo>
                    <a:cubicBezTo>
                      <a:pt x="125730" y="211669"/>
                      <a:pt x="152400" y="204811"/>
                      <a:pt x="172688" y="193000"/>
                    </a:cubicBezTo>
                    <a:lnTo>
                      <a:pt x="180594" y="196524"/>
                    </a:lnTo>
                    <a:cubicBezTo>
                      <a:pt x="183833" y="199191"/>
                      <a:pt x="186500" y="202429"/>
                      <a:pt x="192977" y="202620"/>
                    </a:cubicBezTo>
                    <a:lnTo>
                      <a:pt x="237839" y="202429"/>
                    </a:lnTo>
                    <a:cubicBezTo>
                      <a:pt x="241268" y="202429"/>
                      <a:pt x="242983" y="201382"/>
                      <a:pt x="242983" y="198048"/>
                    </a:cubicBezTo>
                    <a:lnTo>
                      <a:pt x="243078" y="195571"/>
                    </a:lnTo>
                    <a:cubicBezTo>
                      <a:pt x="243173" y="195476"/>
                      <a:pt x="243650" y="188142"/>
                      <a:pt x="242507" y="186523"/>
                    </a:cubicBezTo>
                    <a:close/>
                    <a:moveTo>
                      <a:pt x="92107" y="28217"/>
                    </a:moveTo>
                    <a:cubicBezTo>
                      <a:pt x="110490" y="28979"/>
                      <a:pt x="120396" y="37361"/>
                      <a:pt x="120396" y="46505"/>
                    </a:cubicBezTo>
                    <a:cubicBezTo>
                      <a:pt x="120396" y="57173"/>
                      <a:pt x="95917" y="67079"/>
                      <a:pt x="89821" y="67079"/>
                    </a:cubicBezTo>
                    <a:cubicBezTo>
                      <a:pt x="88868" y="67079"/>
                      <a:pt x="87535" y="66793"/>
                      <a:pt x="85916" y="66317"/>
                    </a:cubicBezTo>
                    <a:cubicBezTo>
                      <a:pt x="83439" y="64888"/>
                      <a:pt x="80105" y="63555"/>
                      <a:pt x="77534" y="62983"/>
                    </a:cubicBezTo>
                    <a:cubicBezTo>
                      <a:pt x="69818" y="59078"/>
                      <a:pt x="61817" y="52887"/>
                      <a:pt x="61817" y="46505"/>
                    </a:cubicBezTo>
                    <a:cubicBezTo>
                      <a:pt x="61722" y="37361"/>
                      <a:pt x="73724" y="27455"/>
                      <a:pt x="92107" y="28217"/>
                    </a:cubicBezTo>
                    <a:close/>
                    <a:moveTo>
                      <a:pt x="102013" y="176426"/>
                    </a:moveTo>
                    <a:cubicBezTo>
                      <a:pt x="58484" y="175664"/>
                      <a:pt x="51721" y="160519"/>
                      <a:pt x="51721" y="136135"/>
                    </a:cubicBezTo>
                    <a:cubicBezTo>
                      <a:pt x="51721" y="125372"/>
                      <a:pt x="56960" y="115085"/>
                      <a:pt x="65913" y="106989"/>
                    </a:cubicBezTo>
                    <a:lnTo>
                      <a:pt x="142875" y="168901"/>
                    </a:lnTo>
                    <a:cubicBezTo>
                      <a:pt x="134779" y="173950"/>
                      <a:pt x="118205" y="176712"/>
                      <a:pt x="102013" y="176426"/>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8" name="Freeform 197">
                <a:extLst>
                  <a:ext uri="{FF2B5EF4-FFF2-40B4-BE49-F238E27FC236}">
                    <a16:creationId xmlns:a16="http://schemas.microsoft.com/office/drawing/2014/main" id="{55F2D0B2-EFFD-2849-B3DE-E03AB27B2CE6}"/>
                  </a:ext>
                </a:extLst>
              </p:cNvPr>
              <p:cNvSpPr/>
              <p:nvPr/>
            </p:nvSpPr>
            <p:spPr>
              <a:xfrm>
                <a:off x="1530769" y="6441174"/>
                <a:ext cx="62802" cy="67002"/>
              </a:xfrm>
              <a:custGeom>
                <a:avLst/>
                <a:gdLst>
                  <a:gd name="connsiteX0" fmla="*/ 141198 w 141864"/>
                  <a:gd name="connsiteY0" fmla="*/ 108680 h 151352"/>
                  <a:gd name="connsiteX1" fmla="*/ 136531 w 141864"/>
                  <a:gd name="connsiteY1" fmla="*/ 104013 h 151352"/>
                  <a:gd name="connsiteX2" fmla="*/ 124339 w 141864"/>
                  <a:gd name="connsiteY2" fmla="*/ 104013 h 151352"/>
                  <a:gd name="connsiteX3" fmla="*/ 119672 w 141864"/>
                  <a:gd name="connsiteY3" fmla="*/ 108680 h 151352"/>
                  <a:gd name="connsiteX4" fmla="*/ 116814 w 141864"/>
                  <a:gd name="connsiteY4" fmla="*/ 116205 h 151352"/>
                  <a:gd name="connsiteX5" fmla="*/ 112337 w 141864"/>
                  <a:gd name="connsiteY5" fmla="*/ 122777 h 151352"/>
                  <a:gd name="connsiteX6" fmla="*/ 52711 w 141864"/>
                  <a:gd name="connsiteY6" fmla="*/ 125063 h 151352"/>
                  <a:gd name="connsiteX7" fmla="*/ 49663 w 141864"/>
                  <a:gd name="connsiteY7" fmla="*/ 121063 h 151352"/>
                  <a:gd name="connsiteX8" fmla="*/ 49663 w 141864"/>
                  <a:gd name="connsiteY8" fmla="*/ 82010 h 151352"/>
                  <a:gd name="connsiteX9" fmla="*/ 96145 w 141864"/>
                  <a:gd name="connsiteY9" fmla="*/ 82010 h 151352"/>
                  <a:gd name="connsiteX10" fmla="*/ 102717 w 141864"/>
                  <a:gd name="connsiteY10" fmla="*/ 90583 h 151352"/>
                  <a:gd name="connsiteX11" fmla="*/ 103193 w 141864"/>
                  <a:gd name="connsiteY11" fmla="*/ 91726 h 151352"/>
                  <a:gd name="connsiteX12" fmla="*/ 104336 w 141864"/>
                  <a:gd name="connsiteY12" fmla="*/ 91916 h 151352"/>
                  <a:gd name="connsiteX13" fmla="*/ 119005 w 141864"/>
                  <a:gd name="connsiteY13" fmla="*/ 91821 h 151352"/>
                  <a:gd name="connsiteX14" fmla="*/ 120148 w 141864"/>
                  <a:gd name="connsiteY14" fmla="*/ 90678 h 151352"/>
                  <a:gd name="connsiteX15" fmla="*/ 120148 w 141864"/>
                  <a:gd name="connsiteY15" fmla="*/ 57341 h 151352"/>
                  <a:gd name="connsiteX16" fmla="*/ 120148 w 141864"/>
                  <a:gd name="connsiteY16" fmla="*/ 45815 h 151352"/>
                  <a:gd name="connsiteX17" fmla="*/ 119005 w 141864"/>
                  <a:gd name="connsiteY17" fmla="*/ 44672 h 151352"/>
                  <a:gd name="connsiteX18" fmla="*/ 104336 w 141864"/>
                  <a:gd name="connsiteY18" fmla="*/ 44577 h 151352"/>
                  <a:gd name="connsiteX19" fmla="*/ 103193 w 141864"/>
                  <a:gd name="connsiteY19" fmla="*/ 44863 h 151352"/>
                  <a:gd name="connsiteX20" fmla="*/ 102717 w 141864"/>
                  <a:gd name="connsiteY20" fmla="*/ 46006 h 151352"/>
                  <a:gd name="connsiteX21" fmla="*/ 96145 w 141864"/>
                  <a:gd name="connsiteY21" fmla="*/ 54578 h 151352"/>
                  <a:gd name="connsiteX22" fmla="*/ 49663 w 141864"/>
                  <a:gd name="connsiteY22" fmla="*/ 54578 h 151352"/>
                  <a:gd name="connsiteX23" fmla="*/ 49663 w 141864"/>
                  <a:gd name="connsiteY23" fmla="*/ 30194 h 151352"/>
                  <a:gd name="connsiteX24" fmla="*/ 49949 w 141864"/>
                  <a:gd name="connsiteY24" fmla="*/ 25527 h 151352"/>
                  <a:gd name="connsiteX25" fmla="*/ 54235 w 141864"/>
                  <a:gd name="connsiteY25" fmla="*/ 24289 h 151352"/>
                  <a:gd name="connsiteX26" fmla="*/ 97574 w 141864"/>
                  <a:gd name="connsiteY26" fmla="*/ 24765 h 151352"/>
                  <a:gd name="connsiteX27" fmla="*/ 111671 w 141864"/>
                  <a:gd name="connsiteY27" fmla="*/ 27527 h 151352"/>
                  <a:gd name="connsiteX28" fmla="*/ 113671 w 141864"/>
                  <a:gd name="connsiteY28" fmla="*/ 32385 h 151352"/>
                  <a:gd name="connsiteX29" fmla="*/ 118338 w 141864"/>
                  <a:gd name="connsiteY29" fmla="*/ 37052 h 151352"/>
                  <a:gd name="connsiteX30" fmla="*/ 130530 w 141864"/>
                  <a:gd name="connsiteY30" fmla="*/ 37052 h 151352"/>
                  <a:gd name="connsiteX31" fmla="*/ 135197 w 141864"/>
                  <a:gd name="connsiteY31" fmla="*/ 32385 h 151352"/>
                  <a:gd name="connsiteX32" fmla="*/ 135674 w 141864"/>
                  <a:gd name="connsiteY32" fmla="*/ 4667 h 151352"/>
                  <a:gd name="connsiteX33" fmla="*/ 131006 w 141864"/>
                  <a:gd name="connsiteY33" fmla="*/ 0 h 151352"/>
                  <a:gd name="connsiteX34" fmla="*/ 64617 w 141864"/>
                  <a:gd name="connsiteY34" fmla="*/ 0 h 151352"/>
                  <a:gd name="connsiteX35" fmla="*/ 1657 w 141864"/>
                  <a:gd name="connsiteY35" fmla="*/ 0 h 151352"/>
                  <a:gd name="connsiteX36" fmla="*/ 228 w 141864"/>
                  <a:gd name="connsiteY36" fmla="*/ 1429 h 151352"/>
                  <a:gd name="connsiteX37" fmla="*/ 38 w 141864"/>
                  <a:gd name="connsiteY37" fmla="*/ 19907 h 151352"/>
                  <a:gd name="connsiteX38" fmla="*/ 323 w 141864"/>
                  <a:gd name="connsiteY38" fmla="*/ 21431 h 151352"/>
                  <a:gd name="connsiteX39" fmla="*/ 1752 w 141864"/>
                  <a:gd name="connsiteY39" fmla="*/ 22003 h 151352"/>
                  <a:gd name="connsiteX40" fmla="*/ 16421 w 141864"/>
                  <a:gd name="connsiteY40" fmla="*/ 30290 h 151352"/>
                  <a:gd name="connsiteX41" fmla="*/ 16421 w 141864"/>
                  <a:gd name="connsiteY41" fmla="*/ 121158 h 151352"/>
                  <a:gd name="connsiteX42" fmla="*/ 1752 w 141864"/>
                  <a:gd name="connsiteY42" fmla="*/ 129445 h 151352"/>
                  <a:gd name="connsiteX43" fmla="*/ 323 w 141864"/>
                  <a:gd name="connsiteY43" fmla="*/ 130016 h 151352"/>
                  <a:gd name="connsiteX44" fmla="*/ 38 w 141864"/>
                  <a:gd name="connsiteY44" fmla="*/ 131445 h 151352"/>
                  <a:gd name="connsiteX45" fmla="*/ 228 w 141864"/>
                  <a:gd name="connsiteY45" fmla="*/ 149924 h 151352"/>
                  <a:gd name="connsiteX46" fmla="*/ 1657 w 141864"/>
                  <a:gd name="connsiteY46" fmla="*/ 151352 h 151352"/>
                  <a:gd name="connsiteX47" fmla="*/ 52044 w 141864"/>
                  <a:gd name="connsiteY47" fmla="*/ 151352 h 151352"/>
                  <a:gd name="connsiteX48" fmla="*/ 52139 w 141864"/>
                  <a:gd name="connsiteY48" fmla="*/ 151352 h 151352"/>
                  <a:gd name="connsiteX49" fmla="*/ 137198 w 141864"/>
                  <a:gd name="connsiteY49" fmla="*/ 151352 h 151352"/>
                  <a:gd name="connsiteX50" fmla="*/ 141865 w 141864"/>
                  <a:gd name="connsiteY50" fmla="*/ 146685 h 151352"/>
                  <a:gd name="connsiteX51" fmla="*/ 141198 w 141864"/>
                  <a:gd name="connsiteY51" fmla="*/ 10868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1864" h="151352">
                    <a:moveTo>
                      <a:pt x="141198" y="108680"/>
                    </a:moveTo>
                    <a:cubicBezTo>
                      <a:pt x="141198" y="106108"/>
                      <a:pt x="139103" y="104013"/>
                      <a:pt x="136531" y="104013"/>
                    </a:cubicBezTo>
                    <a:lnTo>
                      <a:pt x="124339" y="104013"/>
                    </a:lnTo>
                    <a:cubicBezTo>
                      <a:pt x="121767" y="104013"/>
                      <a:pt x="119672" y="106108"/>
                      <a:pt x="119672" y="108680"/>
                    </a:cubicBezTo>
                    <a:lnTo>
                      <a:pt x="116814" y="116205"/>
                    </a:lnTo>
                    <a:cubicBezTo>
                      <a:pt x="116624" y="118967"/>
                      <a:pt x="113385" y="120587"/>
                      <a:pt x="112337" y="122777"/>
                    </a:cubicBezTo>
                    <a:cubicBezTo>
                      <a:pt x="109194" y="129064"/>
                      <a:pt x="52711" y="125063"/>
                      <a:pt x="52711" y="125063"/>
                    </a:cubicBezTo>
                    <a:cubicBezTo>
                      <a:pt x="50901" y="123825"/>
                      <a:pt x="49663" y="122492"/>
                      <a:pt x="49663" y="121063"/>
                    </a:cubicBezTo>
                    <a:lnTo>
                      <a:pt x="49663" y="82010"/>
                    </a:lnTo>
                    <a:lnTo>
                      <a:pt x="96145" y="82010"/>
                    </a:lnTo>
                    <a:cubicBezTo>
                      <a:pt x="99002" y="82010"/>
                      <a:pt x="101860" y="85534"/>
                      <a:pt x="102717" y="90583"/>
                    </a:cubicBezTo>
                    <a:cubicBezTo>
                      <a:pt x="102717" y="90583"/>
                      <a:pt x="102717" y="91440"/>
                      <a:pt x="103193" y="91726"/>
                    </a:cubicBezTo>
                    <a:cubicBezTo>
                      <a:pt x="103670" y="92107"/>
                      <a:pt x="104336" y="91916"/>
                      <a:pt x="104336" y="91916"/>
                    </a:cubicBezTo>
                    <a:lnTo>
                      <a:pt x="119005" y="91821"/>
                    </a:lnTo>
                    <a:cubicBezTo>
                      <a:pt x="119672" y="91821"/>
                      <a:pt x="120148" y="91345"/>
                      <a:pt x="120148" y="90678"/>
                    </a:cubicBezTo>
                    <a:lnTo>
                      <a:pt x="120148" y="57341"/>
                    </a:lnTo>
                    <a:lnTo>
                      <a:pt x="120148" y="45815"/>
                    </a:lnTo>
                    <a:cubicBezTo>
                      <a:pt x="120148" y="45149"/>
                      <a:pt x="119672" y="44672"/>
                      <a:pt x="119005" y="44672"/>
                    </a:cubicBezTo>
                    <a:lnTo>
                      <a:pt x="104336" y="44577"/>
                    </a:lnTo>
                    <a:cubicBezTo>
                      <a:pt x="104336" y="44577"/>
                      <a:pt x="103670" y="44482"/>
                      <a:pt x="103193" y="44863"/>
                    </a:cubicBezTo>
                    <a:cubicBezTo>
                      <a:pt x="102717" y="45244"/>
                      <a:pt x="102717" y="46006"/>
                      <a:pt x="102717" y="46006"/>
                    </a:cubicBezTo>
                    <a:cubicBezTo>
                      <a:pt x="101860" y="51054"/>
                      <a:pt x="99002" y="54578"/>
                      <a:pt x="96145" y="54578"/>
                    </a:cubicBezTo>
                    <a:lnTo>
                      <a:pt x="49663" y="54578"/>
                    </a:lnTo>
                    <a:lnTo>
                      <a:pt x="49663" y="30194"/>
                    </a:lnTo>
                    <a:lnTo>
                      <a:pt x="49949" y="25527"/>
                    </a:lnTo>
                    <a:cubicBezTo>
                      <a:pt x="51187" y="23527"/>
                      <a:pt x="54235" y="24289"/>
                      <a:pt x="54235" y="24289"/>
                    </a:cubicBezTo>
                    <a:cubicBezTo>
                      <a:pt x="54235" y="24289"/>
                      <a:pt x="89382" y="24289"/>
                      <a:pt x="97574" y="24765"/>
                    </a:cubicBezTo>
                    <a:cubicBezTo>
                      <a:pt x="101574" y="25051"/>
                      <a:pt x="109765" y="24479"/>
                      <a:pt x="111671" y="27527"/>
                    </a:cubicBezTo>
                    <a:cubicBezTo>
                      <a:pt x="113004" y="29623"/>
                      <a:pt x="113671" y="32385"/>
                      <a:pt x="113671" y="32385"/>
                    </a:cubicBezTo>
                    <a:cubicBezTo>
                      <a:pt x="113671" y="34957"/>
                      <a:pt x="115766" y="37052"/>
                      <a:pt x="118338" y="37052"/>
                    </a:cubicBezTo>
                    <a:lnTo>
                      <a:pt x="130530" y="37052"/>
                    </a:lnTo>
                    <a:cubicBezTo>
                      <a:pt x="133102" y="37052"/>
                      <a:pt x="135197" y="34957"/>
                      <a:pt x="135197" y="32385"/>
                    </a:cubicBezTo>
                    <a:lnTo>
                      <a:pt x="135674" y="4667"/>
                    </a:lnTo>
                    <a:cubicBezTo>
                      <a:pt x="135674" y="2096"/>
                      <a:pt x="133578" y="0"/>
                      <a:pt x="131006" y="0"/>
                    </a:cubicBezTo>
                    <a:lnTo>
                      <a:pt x="64617" y="0"/>
                    </a:lnTo>
                    <a:lnTo>
                      <a:pt x="1657" y="0"/>
                    </a:lnTo>
                    <a:cubicBezTo>
                      <a:pt x="895" y="0"/>
                      <a:pt x="228" y="667"/>
                      <a:pt x="228" y="1429"/>
                    </a:cubicBezTo>
                    <a:lnTo>
                      <a:pt x="38" y="19907"/>
                    </a:lnTo>
                    <a:cubicBezTo>
                      <a:pt x="38" y="19907"/>
                      <a:pt x="-153" y="20765"/>
                      <a:pt x="323" y="21431"/>
                    </a:cubicBezTo>
                    <a:cubicBezTo>
                      <a:pt x="799"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228" y="149924"/>
                    </a:lnTo>
                    <a:cubicBezTo>
                      <a:pt x="228" y="150686"/>
                      <a:pt x="895" y="151352"/>
                      <a:pt x="1657" y="151352"/>
                    </a:cubicBezTo>
                    <a:lnTo>
                      <a:pt x="52044" y="151352"/>
                    </a:lnTo>
                    <a:cubicBezTo>
                      <a:pt x="52044" y="151352"/>
                      <a:pt x="52139" y="151352"/>
                      <a:pt x="52139" y="151352"/>
                    </a:cubicBezTo>
                    <a:lnTo>
                      <a:pt x="137198" y="151352"/>
                    </a:lnTo>
                    <a:cubicBezTo>
                      <a:pt x="139769" y="151352"/>
                      <a:pt x="141865" y="149257"/>
                      <a:pt x="141865" y="146685"/>
                    </a:cubicBezTo>
                    <a:lnTo>
                      <a:pt x="141198" y="108680"/>
                    </a:ln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199" name="Freeform 198">
                <a:extLst>
                  <a:ext uri="{FF2B5EF4-FFF2-40B4-BE49-F238E27FC236}">
                    <a16:creationId xmlns:a16="http://schemas.microsoft.com/office/drawing/2014/main" id="{1C0AF11A-BB5C-A74C-8EE1-9458E0701590}"/>
                  </a:ext>
                </a:extLst>
              </p:cNvPr>
              <p:cNvSpPr/>
              <p:nvPr/>
            </p:nvSpPr>
            <p:spPr>
              <a:xfrm>
                <a:off x="1293289" y="6441174"/>
                <a:ext cx="57404" cy="67002"/>
              </a:xfrm>
              <a:custGeom>
                <a:avLst/>
                <a:gdLst>
                  <a:gd name="connsiteX0" fmla="*/ 124815 w 129672"/>
                  <a:gd name="connsiteY0" fmla="*/ 0 h 151352"/>
                  <a:gd name="connsiteX1" fmla="*/ 64522 w 129672"/>
                  <a:gd name="connsiteY1" fmla="*/ 0 h 151352"/>
                  <a:gd name="connsiteX2" fmla="*/ 1562 w 129672"/>
                  <a:gd name="connsiteY2" fmla="*/ 0 h 151352"/>
                  <a:gd name="connsiteX3" fmla="*/ 133 w 129672"/>
                  <a:gd name="connsiteY3" fmla="*/ 1429 h 151352"/>
                  <a:gd name="connsiteX4" fmla="*/ 38 w 129672"/>
                  <a:gd name="connsiteY4" fmla="*/ 19907 h 151352"/>
                  <a:gd name="connsiteX5" fmla="*/ 323 w 129672"/>
                  <a:gd name="connsiteY5" fmla="*/ 21431 h 151352"/>
                  <a:gd name="connsiteX6" fmla="*/ 1752 w 129672"/>
                  <a:gd name="connsiteY6" fmla="*/ 22003 h 151352"/>
                  <a:gd name="connsiteX7" fmla="*/ 16421 w 129672"/>
                  <a:gd name="connsiteY7" fmla="*/ 30290 h 151352"/>
                  <a:gd name="connsiteX8" fmla="*/ 16421 w 129672"/>
                  <a:gd name="connsiteY8" fmla="*/ 121158 h 151352"/>
                  <a:gd name="connsiteX9" fmla="*/ 1752 w 129672"/>
                  <a:gd name="connsiteY9" fmla="*/ 129445 h 151352"/>
                  <a:gd name="connsiteX10" fmla="*/ 323 w 129672"/>
                  <a:gd name="connsiteY10" fmla="*/ 130016 h 151352"/>
                  <a:gd name="connsiteX11" fmla="*/ 38 w 129672"/>
                  <a:gd name="connsiteY11" fmla="*/ 131445 h 151352"/>
                  <a:gd name="connsiteX12" fmla="*/ 133 w 129672"/>
                  <a:gd name="connsiteY12" fmla="*/ 149924 h 151352"/>
                  <a:gd name="connsiteX13" fmla="*/ 1562 w 129672"/>
                  <a:gd name="connsiteY13" fmla="*/ 151352 h 151352"/>
                  <a:gd name="connsiteX14" fmla="*/ 51949 w 129672"/>
                  <a:gd name="connsiteY14" fmla="*/ 151352 h 151352"/>
                  <a:gd name="connsiteX15" fmla="*/ 52044 w 129672"/>
                  <a:gd name="connsiteY15" fmla="*/ 151352 h 151352"/>
                  <a:gd name="connsiteX16" fmla="*/ 52044 w 129672"/>
                  <a:gd name="connsiteY16" fmla="*/ 151352 h 151352"/>
                  <a:gd name="connsiteX17" fmla="*/ 64522 w 129672"/>
                  <a:gd name="connsiteY17" fmla="*/ 151352 h 151352"/>
                  <a:gd name="connsiteX18" fmla="*/ 65951 w 129672"/>
                  <a:gd name="connsiteY18" fmla="*/ 149924 h 151352"/>
                  <a:gd name="connsiteX19" fmla="*/ 66141 w 129672"/>
                  <a:gd name="connsiteY19" fmla="*/ 131445 h 151352"/>
                  <a:gd name="connsiteX20" fmla="*/ 65855 w 129672"/>
                  <a:gd name="connsiteY20" fmla="*/ 130016 h 151352"/>
                  <a:gd name="connsiteX21" fmla="*/ 64427 w 129672"/>
                  <a:gd name="connsiteY21" fmla="*/ 129445 h 151352"/>
                  <a:gd name="connsiteX22" fmla="*/ 52616 w 129672"/>
                  <a:gd name="connsiteY22" fmla="*/ 124968 h 151352"/>
                  <a:gd name="connsiteX23" fmla="*/ 51758 w 129672"/>
                  <a:gd name="connsiteY23" fmla="*/ 124301 h 151352"/>
                  <a:gd name="connsiteX24" fmla="*/ 51377 w 129672"/>
                  <a:gd name="connsiteY24" fmla="*/ 124016 h 151352"/>
                  <a:gd name="connsiteX25" fmla="*/ 50711 w 129672"/>
                  <a:gd name="connsiteY25" fmla="*/ 123254 h 151352"/>
                  <a:gd name="connsiteX26" fmla="*/ 50615 w 129672"/>
                  <a:gd name="connsiteY26" fmla="*/ 123158 h 151352"/>
                  <a:gd name="connsiteX27" fmla="*/ 50044 w 129672"/>
                  <a:gd name="connsiteY27" fmla="*/ 122206 h 151352"/>
                  <a:gd name="connsiteX28" fmla="*/ 49949 w 129672"/>
                  <a:gd name="connsiteY28" fmla="*/ 122015 h 151352"/>
                  <a:gd name="connsiteX29" fmla="*/ 49758 w 129672"/>
                  <a:gd name="connsiteY29" fmla="*/ 121063 h 151352"/>
                  <a:gd name="connsiteX30" fmla="*/ 49758 w 129672"/>
                  <a:gd name="connsiteY30" fmla="*/ 82010 h 151352"/>
                  <a:gd name="connsiteX31" fmla="*/ 91478 w 129672"/>
                  <a:gd name="connsiteY31" fmla="*/ 82010 h 151352"/>
                  <a:gd name="connsiteX32" fmla="*/ 98050 w 129672"/>
                  <a:gd name="connsiteY32" fmla="*/ 90583 h 151352"/>
                  <a:gd name="connsiteX33" fmla="*/ 98526 w 129672"/>
                  <a:gd name="connsiteY33" fmla="*/ 91726 h 151352"/>
                  <a:gd name="connsiteX34" fmla="*/ 99669 w 129672"/>
                  <a:gd name="connsiteY34" fmla="*/ 91916 h 151352"/>
                  <a:gd name="connsiteX35" fmla="*/ 114338 w 129672"/>
                  <a:gd name="connsiteY35" fmla="*/ 91821 h 151352"/>
                  <a:gd name="connsiteX36" fmla="*/ 115481 w 129672"/>
                  <a:gd name="connsiteY36" fmla="*/ 90678 h 151352"/>
                  <a:gd name="connsiteX37" fmla="*/ 115481 w 129672"/>
                  <a:gd name="connsiteY37" fmla="*/ 60388 h 151352"/>
                  <a:gd name="connsiteX38" fmla="*/ 115481 w 129672"/>
                  <a:gd name="connsiteY38" fmla="*/ 48863 h 151352"/>
                  <a:gd name="connsiteX39" fmla="*/ 114338 w 129672"/>
                  <a:gd name="connsiteY39" fmla="*/ 47720 h 151352"/>
                  <a:gd name="connsiteX40" fmla="*/ 99669 w 129672"/>
                  <a:gd name="connsiteY40" fmla="*/ 47625 h 151352"/>
                  <a:gd name="connsiteX41" fmla="*/ 98526 w 129672"/>
                  <a:gd name="connsiteY41" fmla="*/ 47816 h 151352"/>
                  <a:gd name="connsiteX42" fmla="*/ 98050 w 129672"/>
                  <a:gd name="connsiteY42" fmla="*/ 48958 h 151352"/>
                  <a:gd name="connsiteX43" fmla="*/ 91478 w 129672"/>
                  <a:gd name="connsiteY43" fmla="*/ 57531 h 151352"/>
                  <a:gd name="connsiteX44" fmla="*/ 49758 w 129672"/>
                  <a:gd name="connsiteY44" fmla="*/ 57531 h 151352"/>
                  <a:gd name="connsiteX45" fmla="*/ 49758 w 129672"/>
                  <a:gd name="connsiteY45" fmla="*/ 30099 h 151352"/>
                  <a:gd name="connsiteX46" fmla="*/ 50044 w 129672"/>
                  <a:gd name="connsiteY46" fmla="*/ 25432 h 151352"/>
                  <a:gd name="connsiteX47" fmla="*/ 54330 w 129672"/>
                  <a:gd name="connsiteY47" fmla="*/ 24194 h 151352"/>
                  <a:gd name="connsiteX48" fmla="*/ 91573 w 129672"/>
                  <a:gd name="connsiteY48" fmla="*/ 24670 h 151352"/>
                  <a:gd name="connsiteX49" fmla="*/ 105670 w 129672"/>
                  <a:gd name="connsiteY49" fmla="*/ 27432 h 151352"/>
                  <a:gd name="connsiteX50" fmla="*/ 107670 w 129672"/>
                  <a:gd name="connsiteY50" fmla="*/ 32290 h 151352"/>
                  <a:gd name="connsiteX51" fmla="*/ 112337 w 129672"/>
                  <a:gd name="connsiteY51" fmla="*/ 36957 h 151352"/>
                  <a:gd name="connsiteX52" fmla="*/ 124529 w 129672"/>
                  <a:gd name="connsiteY52" fmla="*/ 36957 h 151352"/>
                  <a:gd name="connsiteX53" fmla="*/ 129197 w 129672"/>
                  <a:gd name="connsiteY53" fmla="*/ 32290 h 151352"/>
                  <a:gd name="connsiteX54" fmla="*/ 129673 w 129672"/>
                  <a:gd name="connsiteY54" fmla="*/ 4572 h 151352"/>
                  <a:gd name="connsiteX55" fmla="*/ 124815 w 129672"/>
                  <a:gd name="connsiteY55" fmla="*/ 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672" h="151352">
                    <a:moveTo>
                      <a:pt x="124815" y="0"/>
                    </a:moveTo>
                    <a:lnTo>
                      <a:pt x="64522" y="0"/>
                    </a:lnTo>
                    <a:lnTo>
                      <a:pt x="1562" y="0"/>
                    </a:lnTo>
                    <a:cubicBezTo>
                      <a:pt x="800" y="0"/>
                      <a:pt x="133" y="667"/>
                      <a:pt x="133" y="1429"/>
                    </a:cubicBezTo>
                    <a:lnTo>
                      <a:pt x="38" y="19907"/>
                    </a:lnTo>
                    <a:cubicBezTo>
                      <a:pt x="38" y="19907"/>
                      <a:pt x="-153" y="20765"/>
                      <a:pt x="323" y="21431"/>
                    </a:cubicBezTo>
                    <a:cubicBezTo>
                      <a:pt x="800"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133" y="149924"/>
                    </a:lnTo>
                    <a:cubicBezTo>
                      <a:pt x="133" y="150686"/>
                      <a:pt x="800" y="151352"/>
                      <a:pt x="1562" y="151352"/>
                    </a:cubicBezTo>
                    <a:lnTo>
                      <a:pt x="51949" y="151352"/>
                    </a:lnTo>
                    <a:cubicBezTo>
                      <a:pt x="51949" y="151352"/>
                      <a:pt x="52044" y="151352"/>
                      <a:pt x="52044" y="151352"/>
                    </a:cubicBezTo>
                    <a:lnTo>
                      <a:pt x="52044" y="151352"/>
                    </a:lnTo>
                    <a:lnTo>
                      <a:pt x="64522" y="151352"/>
                    </a:lnTo>
                    <a:cubicBezTo>
                      <a:pt x="65284" y="151352"/>
                      <a:pt x="65951" y="150686"/>
                      <a:pt x="65951" y="149924"/>
                    </a:cubicBezTo>
                    <a:lnTo>
                      <a:pt x="66141" y="131445"/>
                    </a:lnTo>
                    <a:cubicBezTo>
                      <a:pt x="66046" y="131445"/>
                      <a:pt x="66332" y="130588"/>
                      <a:pt x="65855" y="130016"/>
                    </a:cubicBezTo>
                    <a:cubicBezTo>
                      <a:pt x="65379" y="129350"/>
                      <a:pt x="64427" y="129445"/>
                      <a:pt x="64427" y="129445"/>
                    </a:cubicBezTo>
                    <a:cubicBezTo>
                      <a:pt x="60426" y="128778"/>
                      <a:pt x="55569" y="127063"/>
                      <a:pt x="52616" y="124968"/>
                    </a:cubicBezTo>
                    <a:cubicBezTo>
                      <a:pt x="52330" y="124778"/>
                      <a:pt x="52044" y="124492"/>
                      <a:pt x="51758" y="124301"/>
                    </a:cubicBezTo>
                    <a:cubicBezTo>
                      <a:pt x="51663" y="124206"/>
                      <a:pt x="51568" y="124111"/>
                      <a:pt x="51377" y="124016"/>
                    </a:cubicBezTo>
                    <a:cubicBezTo>
                      <a:pt x="51092" y="123730"/>
                      <a:pt x="50901" y="123539"/>
                      <a:pt x="50711" y="123254"/>
                    </a:cubicBezTo>
                    <a:cubicBezTo>
                      <a:pt x="50711" y="123254"/>
                      <a:pt x="50615" y="123158"/>
                      <a:pt x="50615" y="123158"/>
                    </a:cubicBezTo>
                    <a:cubicBezTo>
                      <a:pt x="50330" y="122873"/>
                      <a:pt x="50235" y="122587"/>
                      <a:pt x="50044" y="122206"/>
                    </a:cubicBezTo>
                    <a:cubicBezTo>
                      <a:pt x="50044" y="122111"/>
                      <a:pt x="50044" y="122111"/>
                      <a:pt x="49949" y="122015"/>
                    </a:cubicBezTo>
                    <a:cubicBezTo>
                      <a:pt x="49853" y="121729"/>
                      <a:pt x="49758" y="121349"/>
                      <a:pt x="49758" y="121063"/>
                    </a:cubicBezTo>
                    <a:lnTo>
                      <a:pt x="49758" y="82010"/>
                    </a:lnTo>
                    <a:lnTo>
                      <a:pt x="91478" y="82010"/>
                    </a:lnTo>
                    <a:cubicBezTo>
                      <a:pt x="94335" y="82010"/>
                      <a:pt x="97193" y="85534"/>
                      <a:pt x="98050" y="90583"/>
                    </a:cubicBezTo>
                    <a:cubicBezTo>
                      <a:pt x="98050" y="90583"/>
                      <a:pt x="98050" y="91440"/>
                      <a:pt x="98526" y="91726"/>
                    </a:cubicBezTo>
                    <a:cubicBezTo>
                      <a:pt x="99002" y="92107"/>
                      <a:pt x="99669" y="91916"/>
                      <a:pt x="99669" y="91916"/>
                    </a:cubicBezTo>
                    <a:lnTo>
                      <a:pt x="114338" y="91821"/>
                    </a:lnTo>
                    <a:cubicBezTo>
                      <a:pt x="114909" y="91821"/>
                      <a:pt x="115481" y="91345"/>
                      <a:pt x="115481" y="90678"/>
                    </a:cubicBezTo>
                    <a:lnTo>
                      <a:pt x="115481" y="60388"/>
                    </a:lnTo>
                    <a:lnTo>
                      <a:pt x="115481" y="48863"/>
                    </a:lnTo>
                    <a:cubicBezTo>
                      <a:pt x="115481" y="48292"/>
                      <a:pt x="115004" y="47720"/>
                      <a:pt x="114338" y="47720"/>
                    </a:cubicBezTo>
                    <a:lnTo>
                      <a:pt x="99669" y="47625"/>
                    </a:lnTo>
                    <a:cubicBezTo>
                      <a:pt x="99669" y="47625"/>
                      <a:pt x="99002" y="47530"/>
                      <a:pt x="98526" y="47816"/>
                    </a:cubicBezTo>
                    <a:cubicBezTo>
                      <a:pt x="98050" y="48196"/>
                      <a:pt x="98050" y="48958"/>
                      <a:pt x="98050" y="48958"/>
                    </a:cubicBezTo>
                    <a:cubicBezTo>
                      <a:pt x="97193" y="54007"/>
                      <a:pt x="94335" y="57531"/>
                      <a:pt x="91478" y="57531"/>
                    </a:cubicBezTo>
                    <a:lnTo>
                      <a:pt x="49758" y="57531"/>
                    </a:lnTo>
                    <a:lnTo>
                      <a:pt x="49758" y="30099"/>
                    </a:lnTo>
                    <a:lnTo>
                      <a:pt x="50044" y="25432"/>
                    </a:lnTo>
                    <a:cubicBezTo>
                      <a:pt x="51282" y="23432"/>
                      <a:pt x="54330" y="24194"/>
                      <a:pt x="54330" y="24194"/>
                    </a:cubicBezTo>
                    <a:cubicBezTo>
                      <a:pt x="54330" y="24194"/>
                      <a:pt x="83381" y="24194"/>
                      <a:pt x="91573" y="24670"/>
                    </a:cubicBezTo>
                    <a:cubicBezTo>
                      <a:pt x="95573" y="24956"/>
                      <a:pt x="103765" y="24384"/>
                      <a:pt x="105670" y="27432"/>
                    </a:cubicBezTo>
                    <a:cubicBezTo>
                      <a:pt x="107003" y="29528"/>
                      <a:pt x="107670" y="32290"/>
                      <a:pt x="107670" y="32290"/>
                    </a:cubicBezTo>
                    <a:cubicBezTo>
                      <a:pt x="107670" y="34862"/>
                      <a:pt x="109766" y="36957"/>
                      <a:pt x="112337" y="36957"/>
                    </a:cubicBezTo>
                    <a:lnTo>
                      <a:pt x="124529" y="36957"/>
                    </a:lnTo>
                    <a:cubicBezTo>
                      <a:pt x="127101" y="36957"/>
                      <a:pt x="129197" y="34862"/>
                      <a:pt x="129197" y="32290"/>
                    </a:cubicBezTo>
                    <a:lnTo>
                      <a:pt x="129673" y="4572"/>
                    </a:lnTo>
                    <a:cubicBezTo>
                      <a:pt x="129482" y="2096"/>
                      <a:pt x="127387" y="0"/>
                      <a:pt x="124815" y="0"/>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200" name="Freeform 199">
                <a:extLst>
                  <a:ext uri="{FF2B5EF4-FFF2-40B4-BE49-F238E27FC236}">
                    <a16:creationId xmlns:a16="http://schemas.microsoft.com/office/drawing/2014/main" id="{3D7B88CF-D53F-524A-9048-7F0B5779C6CB}"/>
                  </a:ext>
                </a:extLst>
              </p:cNvPr>
              <p:cNvSpPr/>
              <p:nvPr/>
            </p:nvSpPr>
            <p:spPr>
              <a:xfrm>
                <a:off x="1398215" y="6441301"/>
                <a:ext cx="1771" cy="1602"/>
              </a:xfrm>
              <a:custGeom>
                <a:avLst/>
                <a:gdLst>
                  <a:gd name="connsiteX0" fmla="*/ 4001 w 4000"/>
                  <a:gd name="connsiteY0" fmla="*/ 0 h 3619"/>
                  <a:gd name="connsiteX1" fmla="*/ 1524 w 4000"/>
                  <a:gd name="connsiteY1" fmla="*/ 762 h 3619"/>
                  <a:gd name="connsiteX2" fmla="*/ 0 w 4000"/>
                  <a:gd name="connsiteY2" fmla="*/ 3620 h 3619"/>
                </a:gdLst>
                <a:ahLst/>
                <a:cxnLst>
                  <a:cxn ang="0">
                    <a:pos x="connsiteX0" y="connsiteY0"/>
                  </a:cxn>
                  <a:cxn ang="0">
                    <a:pos x="connsiteX1" y="connsiteY1"/>
                  </a:cxn>
                  <a:cxn ang="0">
                    <a:pos x="connsiteX2" y="connsiteY2"/>
                  </a:cxn>
                </a:cxnLst>
                <a:rect l="l" t="t" r="r" b="b"/>
                <a:pathLst>
                  <a:path w="4000" h="3619">
                    <a:moveTo>
                      <a:pt x="4001" y="0"/>
                    </a:moveTo>
                    <a:cubicBezTo>
                      <a:pt x="4001" y="0"/>
                      <a:pt x="2286" y="0"/>
                      <a:pt x="1524" y="762"/>
                    </a:cubicBezTo>
                    <a:cubicBezTo>
                      <a:pt x="762" y="1524"/>
                      <a:pt x="0" y="3620"/>
                      <a:pt x="0" y="3620"/>
                    </a:cubicBezTo>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201" name="Freeform 200">
                <a:extLst>
                  <a:ext uri="{FF2B5EF4-FFF2-40B4-BE49-F238E27FC236}">
                    <a16:creationId xmlns:a16="http://schemas.microsoft.com/office/drawing/2014/main" id="{1E034C25-36BF-384F-87D6-E9625B6E95CF}"/>
                  </a:ext>
                </a:extLst>
              </p:cNvPr>
              <p:cNvSpPr/>
              <p:nvPr/>
            </p:nvSpPr>
            <p:spPr>
              <a:xfrm>
                <a:off x="1370411" y="6441185"/>
                <a:ext cx="156916" cy="66991"/>
              </a:xfrm>
              <a:custGeom>
                <a:avLst/>
                <a:gdLst>
                  <a:gd name="connsiteX0" fmla="*/ 353510 w 354462"/>
                  <a:gd name="connsiteY0" fmla="*/ 131420 h 151327"/>
                  <a:gd name="connsiteX1" fmla="*/ 353224 w 354462"/>
                  <a:gd name="connsiteY1" fmla="*/ 129991 h 151327"/>
                  <a:gd name="connsiteX2" fmla="*/ 351796 w 354462"/>
                  <a:gd name="connsiteY2" fmla="*/ 129420 h 151327"/>
                  <a:gd name="connsiteX3" fmla="*/ 337127 w 354462"/>
                  <a:gd name="connsiteY3" fmla="*/ 121133 h 151327"/>
                  <a:gd name="connsiteX4" fmla="*/ 318363 w 354462"/>
                  <a:gd name="connsiteY4" fmla="*/ 30360 h 151327"/>
                  <a:gd name="connsiteX5" fmla="*/ 328269 w 354462"/>
                  <a:gd name="connsiteY5" fmla="*/ 22073 h 151327"/>
                  <a:gd name="connsiteX6" fmla="*/ 329698 w 354462"/>
                  <a:gd name="connsiteY6" fmla="*/ 21502 h 151327"/>
                  <a:gd name="connsiteX7" fmla="*/ 329983 w 354462"/>
                  <a:gd name="connsiteY7" fmla="*/ 20073 h 151327"/>
                  <a:gd name="connsiteX8" fmla="*/ 329793 w 354462"/>
                  <a:gd name="connsiteY8" fmla="*/ 1594 h 151327"/>
                  <a:gd name="connsiteX9" fmla="*/ 328364 w 354462"/>
                  <a:gd name="connsiteY9" fmla="*/ 166 h 151327"/>
                  <a:gd name="connsiteX10" fmla="*/ 281501 w 354462"/>
                  <a:gd name="connsiteY10" fmla="*/ 166 h 151327"/>
                  <a:gd name="connsiteX11" fmla="*/ 274929 w 354462"/>
                  <a:gd name="connsiteY11" fmla="*/ 642 h 151327"/>
                  <a:gd name="connsiteX12" fmla="*/ 271881 w 354462"/>
                  <a:gd name="connsiteY12" fmla="*/ 5690 h 151327"/>
                  <a:gd name="connsiteX13" fmla="*/ 261689 w 354462"/>
                  <a:gd name="connsiteY13" fmla="*/ 37218 h 151327"/>
                  <a:gd name="connsiteX14" fmla="*/ 254069 w 354462"/>
                  <a:gd name="connsiteY14" fmla="*/ 57601 h 151327"/>
                  <a:gd name="connsiteX15" fmla="*/ 247402 w 354462"/>
                  <a:gd name="connsiteY15" fmla="*/ 38266 h 151327"/>
                  <a:gd name="connsiteX16" fmla="*/ 237210 w 354462"/>
                  <a:gd name="connsiteY16" fmla="*/ 8262 h 151327"/>
                  <a:gd name="connsiteX17" fmla="*/ 233114 w 354462"/>
                  <a:gd name="connsiteY17" fmla="*/ 1118 h 151327"/>
                  <a:gd name="connsiteX18" fmla="*/ 225494 w 354462"/>
                  <a:gd name="connsiteY18" fmla="*/ 70 h 151327"/>
                  <a:gd name="connsiteX19" fmla="*/ 178727 w 354462"/>
                  <a:gd name="connsiteY19" fmla="*/ 70 h 151327"/>
                  <a:gd name="connsiteX20" fmla="*/ 177298 w 354462"/>
                  <a:gd name="connsiteY20" fmla="*/ 1499 h 151327"/>
                  <a:gd name="connsiteX21" fmla="*/ 177107 w 354462"/>
                  <a:gd name="connsiteY21" fmla="*/ 19978 h 151327"/>
                  <a:gd name="connsiteX22" fmla="*/ 177393 w 354462"/>
                  <a:gd name="connsiteY22" fmla="*/ 21406 h 151327"/>
                  <a:gd name="connsiteX23" fmla="*/ 178917 w 354462"/>
                  <a:gd name="connsiteY23" fmla="*/ 21978 h 151327"/>
                  <a:gd name="connsiteX24" fmla="*/ 188823 w 354462"/>
                  <a:gd name="connsiteY24" fmla="*/ 30265 h 151327"/>
                  <a:gd name="connsiteX25" fmla="*/ 170059 w 354462"/>
                  <a:gd name="connsiteY25" fmla="*/ 121038 h 151327"/>
                  <a:gd name="connsiteX26" fmla="*/ 164439 w 354462"/>
                  <a:gd name="connsiteY26" fmla="*/ 126467 h 151327"/>
                  <a:gd name="connsiteX27" fmla="*/ 158819 w 354462"/>
                  <a:gd name="connsiteY27" fmla="*/ 121038 h 151327"/>
                  <a:gd name="connsiteX28" fmla="*/ 112432 w 354462"/>
                  <a:gd name="connsiteY28" fmla="*/ 3880 h 151327"/>
                  <a:gd name="connsiteX29" fmla="*/ 110908 w 354462"/>
                  <a:gd name="connsiteY29" fmla="*/ 1023 h 151327"/>
                  <a:gd name="connsiteX30" fmla="*/ 108623 w 354462"/>
                  <a:gd name="connsiteY30" fmla="*/ 261 h 151327"/>
                  <a:gd name="connsiteX31" fmla="*/ 66808 w 354462"/>
                  <a:gd name="connsiteY31" fmla="*/ 261 h 151327"/>
                  <a:gd name="connsiteX32" fmla="*/ 64331 w 354462"/>
                  <a:gd name="connsiteY32" fmla="*/ 1023 h 151327"/>
                  <a:gd name="connsiteX33" fmla="*/ 62807 w 354462"/>
                  <a:gd name="connsiteY33" fmla="*/ 3880 h 151327"/>
                  <a:gd name="connsiteX34" fmla="*/ 16421 w 354462"/>
                  <a:gd name="connsiteY34" fmla="*/ 121038 h 151327"/>
                  <a:gd name="connsiteX35" fmla="*/ 1752 w 354462"/>
                  <a:gd name="connsiteY35" fmla="*/ 129325 h 151327"/>
                  <a:gd name="connsiteX36" fmla="*/ 323 w 354462"/>
                  <a:gd name="connsiteY36" fmla="*/ 129896 h 151327"/>
                  <a:gd name="connsiteX37" fmla="*/ 38 w 354462"/>
                  <a:gd name="connsiteY37" fmla="*/ 131325 h 151327"/>
                  <a:gd name="connsiteX38" fmla="*/ 228 w 354462"/>
                  <a:gd name="connsiteY38" fmla="*/ 149803 h 151327"/>
                  <a:gd name="connsiteX39" fmla="*/ 1657 w 354462"/>
                  <a:gd name="connsiteY39" fmla="*/ 151232 h 151327"/>
                  <a:gd name="connsiteX40" fmla="*/ 61569 w 354462"/>
                  <a:gd name="connsiteY40" fmla="*/ 151232 h 151327"/>
                  <a:gd name="connsiteX41" fmla="*/ 62998 w 354462"/>
                  <a:gd name="connsiteY41" fmla="*/ 149803 h 151327"/>
                  <a:gd name="connsiteX42" fmla="*/ 63188 w 354462"/>
                  <a:gd name="connsiteY42" fmla="*/ 131325 h 151327"/>
                  <a:gd name="connsiteX43" fmla="*/ 62903 w 354462"/>
                  <a:gd name="connsiteY43" fmla="*/ 129896 h 151327"/>
                  <a:gd name="connsiteX44" fmla="*/ 61474 w 354462"/>
                  <a:gd name="connsiteY44" fmla="*/ 129325 h 151327"/>
                  <a:gd name="connsiteX45" fmla="*/ 49853 w 354462"/>
                  <a:gd name="connsiteY45" fmla="*/ 121038 h 151327"/>
                  <a:gd name="connsiteX46" fmla="*/ 59283 w 354462"/>
                  <a:gd name="connsiteY46" fmla="*/ 97321 h 151327"/>
                  <a:gd name="connsiteX47" fmla="*/ 107575 w 354462"/>
                  <a:gd name="connsiteY47" fmla="*/ 97321 h 151327"/>
                  <a:gd name="connsiteX48" fmla="*/ 116814 w 354462"/>
                  <a:gd name="connsiteY48" fmla="*/ 121038 h 151327"/>
                  <a:gd name="connsiteX49" fmla="*/ 108241 w 354462"/>
                  <a:gd name="connsiteY49" fmla="*/ 129325 h 151327"/>
                  <a:gd name="connsiteX50" fmla="*/ 106813 w 354462"/>
                  <a:gd name="connsiteY50" fmla="*/ 129896 h 151327"/>
                  <a:gd name="connsiteX51" fmla="*/ 106527 w 354462"/>
                  <a:gd name="connsiteY51" fmla="*/ 131325 h 151327"/>
                  <a:gd name="connsiteX52" fmla="*/ 106432 w 354462"/>
                  <a:gd name="connsiteY52" fmla="*/ 149803 h 151327"/>
                  <a:gd name="connsiteX53" fmla="*/ 107861 w 354462"/>
                  <a:gd name="connsiteY53" fmla="*/ 151232 h 151327"/>
                  <a:gd name="connsiteX54" fmla="*/ 211874 w 354462"/>
                  <a:gd name="connsiteY54" fmla="*/ 151232 h 151327"/>
                  <a:gd name="connsiteX55" fmla="*/ 213302 w 354462"/>
                  <a:gd name="connsiteY55" fmla="*/ 149803 h 151327"/>
                  <a:gd name="connsiteX56" fmla="*/ 213302 w 354462"/>
                  <a:gd name="connsiteY56" fmla="*/ 131325 h 151327"/>
                  <a:gd name="connsiteX57" fmla="*/ 213016 w 354462"/>
                  <a:gd name="connsiteY57" fmla="*/ 129896 h 151327"/>
                  <a:gd name="connsiteX58" fmla="*/ 211588 w 354462"/>
                  <a:gd name="connsiteY58" fmla="*/ 129325 h 151327"/>
                  <a:gd name="connsiteX59" fmla="*/ 203777 w 354462"/>
                  <a:gd name="connsiteY59" fmla="*/ 121038 h 151327"/>
                  <a:gd name="connsiteX60" fmla="*/ 212350 w 354462"/>
                  <a:gd name="connsiteY60" fmla="*/ 57125 h 151327"/>
                  <a:gd name="connsiteX61" fmla="*/ 213874 w 354462"/>
                  <a:gd name="connsiteY61" fmla="*/ 51029 h 151327"/>
                  <a:gd name="connsiteX62" fmla="*/ 217970 w 354462"/>
                  <a:gd name="connsiteY62" fmla="*/ 60745 h 151327"/>
                  <a:gd name="connsiteX63" fmla="*/ 230733 w 354462"/>
                  <a:gd name="connsiteY63" fmla="*/ 106084 h 151327"/>
                  <a:gd name="connsiteX64" fmla="*/ 234257 w 354462"/>
                  <a:gd name="connsiteY64" fmla="*/ 112180 h 151327"/>
                  <a:gd name="connsiteX65" fmla="*/ 241401 w 354462"/>
                  <a:gd name="connsiteY65" fmla="*/ 115704 h 151327"/>
                  <a:gd name="connsiteX66" fmla="*/ 252069 w 354462"/>
                  <a:gd name="connsiteY66" fmla="*/ 115704 h 151327"/>
                  <a:gd name="connsiteX67" fmla="*/ 260737 w 354462"/>
                  <a:gd name="connsiteY67" fmla="*/ 115704 h 151327"/>
                  <a:gd name="connsiteX68" fmla="*/ 265309 w 354462"/>
                  <a:gd name="connsiteY68" fmla="*/ 113704 h 151327"/>
                  <a:gd name="connsiteX69" fmla="*/ 270357 w 354462"/>
                  <a:gd name="connsiteY69" fmla="*/ 104560 h 151327"/>
                  <a:gd name="connsiteX70" fmla="*/ 284645 w 354462"/>
                  <a:gd name="connsiteY70" fmla="*/ 55220 h 151327"/>
                  <a:gd name="connsiteX71" fmla="*/ 287216 w 354462"/>
                  <a:gd name="connsiteY71" fmla="*/ 50648 h 151327"/>
                  <a:gd name="connsiteX72" fmla="*/ 289693 w 354462"/>
                  <a:gd name="connsiteY72" fmla="*/ 57220 h 151327"/>
                  <a:gd name="connsiteX73" fmla="*/ 298265 w 354462"/>
                  <a:gd name="connsiteY73" fmla="*/ 121133 h 151327"/>
                  <a:gd name="connsiteX74" fmla="*/ 290455 w 354462"/>
                  <a:gd name="connsiteY74" fmla="*/ 129420 h 151327"/>
                  <a:gd name="connsiteX75" fmla="*/ 289026 w 354462"/>
                  <a:gd name="connsiteY75" fmla="*/ 129991 h 151327"/>
                  <a:gd name="connsiteX76" fmla="*/ 288740 w 354462"/>
                  <a:gd name="connsiteY76" fmla="*/ 131420 h 151327"/>
                  <a:gd name="connsiteX77" fmla="*/ 288359 w 354462"/>
                  <a:gd name="connsiteY77" fmla="*/ 149899 h 151327"/>
                  <a:gd name="connsiteX78" fmla="*/ 289788 w 354462"/>
                  <a:gd name="connsiteY78" fmla="*/ 151327 h 151327"/>
                  <a:gd name="connsiteX79" fmla="*/ 353034 w 354462"/>
                  <a:gd name="connsiteY79" fmla="*/ 151327 h 151327"/>
                  <a:gd name="connsiteX80" fmla="*/ 354463 w 354462"/>
                  <a:gd name="connsiteY80" fmla="*/ 149899 h 151327"/>
                  <a:gd name="connsiteX81" fmla="*/ 353510 w 354462"/>
                  <a:gd name="connsiteY81" fmla="*/ 131420 h 151327"/>
                  <a:gd name="connsiteX82" fmla="*/ 96621 w 354462"/>
                  <a:gd name="connsiteY82" fmla="*/ 71317 h 151327"/>
                  <a:gd name="connsiteX83" fmla="*/ 94145 w 354462"/>
                  <a:gd name="connsiteY83" fmla="*/ 71889 h 151327"/>
                  <a:gd name="connsiteX84" fmla="*/ 72047 w 354462"/>
                  <a:gd name="connsiteY84" fmla="*/ 71889 h 151327"/>
                  <a:gd name="connsiteX85" fmla="*/ 69761 w 354462"/>
                  <a:gd name="connsiteY85" fmla="*/ 71508 h 151327"/>
                  <a:gd name="connsiteX86" fmla="*/ 70332 w 354462"/>
                  <a:gd name="connsiteY86" fmla="*/ 69031 h 151327"/>
                  <a:gd name="connsiteX87" fmla="*/ 83286 w 354462"/>
                  <a:gd name="connsiteY87" fmla="*/ 35027 h 151327"/>
                  <a:gd name="connsiteX88" fmla="*/ 95859 w 354462"/>
                  <a:gd name="connsiteY88" fmla="*/ 68079 h 151327"/>
                  <a:gd name="connsiteX89" fmla="*/ 96621 w 354462"/>
                  <a:gd name="connsiteY89" fmla="*/ 71317 h 1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4462" h="151327">
                    <a:moveTo>
                      <a:pt x="353510" y="131420"/>
                    </a:moveTo>
                    <a:cubicBezTo>
                      <a:pt x="353415" y="131420"/>
                      <a:pt x="353606" y="130563"/>
                      <a:pt x="353224" y="129991"/>
                    </a:cubicBezTo>
                    <a:cubicBezTo>
                      <a:pt x="352748" y="129325"/>
                      <a:pt x="351796" y="129420"/>
                      <a:pt x="351796" y="129420"/>
                    </a:cubicBezTo>
                    <a:cubicBezTo>
                      <a:pt x="345414" y="128372"/>
                      <a:pt x="337127" y="124753"/>
                      <a:pt x="337127" y="121133"/>
                    </a:cubicBezTo>
                    <a:lnTo>
                      <a:pt x="318363" y="30360"/>
                    </a:lnTo>
                    <a:cubicBezTo>
                      <a:pt x="318363" y="26740"/>
                      <a:pt x="321887" y="23121"/>
                      <a:pt x="328269" y="22073"/>
                    </a:cubicBezTo>
                    <a:cubicBezTo>
                      <a:pt x="328269" y="22073"/>
                      <a:pt x="329317" y="22073"/>
                      <a:pt x="329698" y="21502"/>
                    </a:cubicBezTo>
                    <a:cubicBezTo>
                      <a:pt x="330174" y="20835"/>
                      <a:pt x="329983" y="20073"/>
                      <a:pt x="329983" y="20073"/>
                    </a:cubicBezTo>
                    <a:lnTo>
                      <a:pt x="329793" y="1594"/>
                    </a:lnTo>
                    <a:cubicBezTo>
                      <a:pt x="329793" y="832"/>
                      <a:pt x="329126" y="166"/>
                      <a:pt x="328364" y="166"/>
                    </a:cubicBezTo>
                    <a:lnTo>
                      <a:pt x="281501" y="166"/>
                    </a:lnTo>
                    <a:cubicBezTo>
                      <a:pt x="281501" y="166"/>
                      <a:pt x="276453" y="-311"/>
                      <a:pt x="274929" y="642"/>
                    </a:cubicBezTo>
                    <a:cubicBezTo>
                      <a:pt x="273405" y="1690"/>
                      <a:pt x="271881" y="5690"/>
                      <a:pt x="271881" y="5690"/>
                    </a:cubicBezTo>
                    <a:lnTo>
                      <a:pt x="261689" y="37218"/>
                    </a:lnTo>
                    <a:cubicBezTo>
                      <a:pt x="261689" y="37218"/>
                      <a:pt x="255593" y="57601"/>
                      <a:pt x="254069" y="57601"/>
                    </a:cubicBezTo>
                    <a:cubicBezTo>
                      <a:pt x="252545" y="57601"/>
                      <a:pt x="247402" y="38266"/>
                      <a:pt x="247402" y="38266"/>
                    </a:cubicBezTo>
                    <a:lnTo>
                      <a:pt x="237210" y="8262"/>
                    </a:lnTo>
                    <a:cubicBezTo>
                      <a:pt x="237210" y="8262"/>
                      <a:pt x="235210" y="2642"/>
                      <a:pt x="233114" y="1118"/>
                    </a:cubicBezTo>
                    <a:cubicBezTo>
                      <a:pt x="231114" y="-406"/>
                      <a:pt x="225494" y="70"/>
                      <a:pt x="225494" y="70"/>
                    </a:cubicBezTo>
                    <a:lnTo>
                      <a:pt x="178727" y="70"/>
                    </a:lnTo>
                    <a:cubicBezTo>
                      <a:pt x="177965" y="70"/>
                      <a:pt x="177298" y="737"/>
                      <a:pt x="177298" y="1499"/>
                    </a:cubicBezTo>
                    <a:lnTo>
                      <a:pt x="177107" y="19978"/>
                    </a:lnTo>
                    <a:cubicBezTo>
                      <a:pt x="177107" y="19978"/>
                      <a:pt x="176917" y="20835"/>
                      <a:pt x="177393" y="21406"/>
                    </a:cubicBezTo>
                    <a:cubicBezTo>
                      <a:pt x="177869" y="22073"/>
                      <a:pt x="178917" y="21978"/>
                      <a:pt x="178917" y="21978"/>
                    </a:cubicBezTo>
                    <a:cubicBezTo>
                      <a:pt x="185299" y="23026"/>
                      <a:pt x="188823" y="26645"/>
                      <a:pt x="188823" y="30265"/>
                    </a:cubicBezTo>
                    <a:lnTo>
                      <a:pt x="170059" y="121038"/>
                    </a:lnTo>
                    <a:cubicBezTo>
                      <a:pt x="169297" y="124753"/>
                      <a:pt x="167773" y="126467"/>
                      <a:pt x="164439" y="126467"/>
                    </a:cubicBezTo>
                    <a:cubicBezTo>
                      <a:pt x="161677" y="126467"/>
                      <a:pt x="160724" y="124943"/>
                      <a:pt x="158819" y="121038"/>
                    </a:cubicBezTo>
                    <a:lnTo>
                      <a:pt x="112432" y="3880"/>
                    </a:lnTo>
                    <a:cubicBezTo>
                      <a:pt x="112432" y="3880"/>
                      <a:pt x="111671" y="1785"/>
                      <a:pt x="110908" y="1023"/>
                    </a:cubicBezTo>
                    <a:cubicBezTo>
                      <a:pt x="110147" y="261"/>
                      <a:pt x="108623" y="261"/>
                      <a:pt x="108623" y="261"/>
                    </a:cubicBezTo>
                    <a:lnTo>
                      <a:pt x="66808" y="261"/>
                    </a:lnTo>
                    <a:cubicBezTo>
                      <a:pt x="66808" y="261"/>
                      <a:pt x="65093" y="261"/>
                      <a:pt x="64331" y="1023"/>
                    </a:cubicBezTo>
                    <a:cubicBezTo>
                      <a:pt x="63569" y="1785"/>
                      <a:pt x="62807" y="3880"/>
                      <a:pt x="62807" y="3880"/>
                    </a:cubicBezTo>
                    <a:lnTo>
                      <a:pt x="16421" y="121038"/>
                    </a:lnTo>
                    <a:cubicBezTo>
                      <a:pt x="16421" y="124657"/>
                      <a:pt x="8134" y="128277"/>
                      <a:pt x="1752" y="129325"/>
                    </a:cubicBezTo>
                    <a:cubicBezTo>
                      <a:pt x="1752" y="129325"/>
                      <a:pt x="704" y="129325"/>
                      <a:pt x="323" y="129896"/>
                    </a:cubicBezTo>
                    <a:cubicBezTo>
                      <a:pt x="-153" y="130563"/>
                      <a:pt x="38" y="131325"/>
                      <a:pt x="38" y="131325"/>
                    </a:cubicBezTo>
                    <a:lnTo>
                      <a:pt x="228" y="149803"/>
                    </a:lnTo>
                    <a:cubicBezTo>
                      <a:pt x="228" y="150565"/>
                      <a:pt x="895" y="151232"/>
                      <a:pt x="1657" y="151232"/>
                    </a:cubicBezTo>
                    <a:lnTo>
                      <a:pt x="61569" y="151232"/>
                    </a:lnTo>
                    <a:cubicBezTo>
                      <a:pt x="62331" y="151232"/>
                      <a:pt x="62998" y="150565"/>
                      <a:pt x="62998" y="149803"/>
                    </a:cubicBezTo>
                    <a:lnTo>
                      <a:pt x="63188" y="131325"/>
                    </a:lnTo>
                    <a:cubicBezTo>
                      <a:pt x="63188" y="131325"/>
                      <a:pt x="63379" y="130468"/>
                      <a:pt x="62903" y="129896"/>
                    </a:cubicBezTo>
                    <a:cubicBezTo>
                      <a:pt x="62426" y="129229"/>
                      <a:pt x="61474" y="129325"/>
                      <a:pt x="61474" y="129325"/>
                    </a:cubicBezTo>
                    <a:cubicBezTo>
                      <a:pt x="55092" y="128277"/>
                      <a:pt x="48710" y="126277"/>
                      <a:pt x="49853" y="121038"/>
                    </a:cubicBezTo>
                    <a:lnTo>
                      <a:pt x="59283" y="97321"/>
                    </a:lnTo>
                    <a:lnTo>
                      <a:pt x="107575" y="97321"/>
                    </a:lnTo>
                    <a:lnTo>
                      <a:pt x="116814" y="121038"/>
                    </a:lnTo>
                    <a:cubicBezTo>
                      <a:pt x="119100" y="125134"/>
                      <a:pt x="114623" y="128277"/>
                      <a:pt x="108241" y="129325"/>
                    </a:cubicBezTo>
                    <a:cubicBezTo>
                      <a:pt x="108241" y="129325"/>
                      <a:pt x="107194" y="129325"/>
                      <a:pt x="106813" y="129896"/>
                    </a:cubicBezTo>
                    <a:cubicBezTo>
                      <a:pt x="106337" y="130563"/>
                      <a:pt x="106527" y="131325"/>
                      <a:pt x="106527" y="131325"/>
                    </a:cubicBezTo>
                    <a:lnTo>
                      <a:pt x="106432" y="149803"/>
                    </a:lnTo>
                    <a:cubicBezTo>
                      <a:pt x="106432" y="150565"/>
                      <a:pt x="107099" y="151232"/>
                      <a:pt x="107861" y="151232"/>
                    </a:cubicBezTo>
                    <a:lnTo>
                      <a:pt x="211874" y="151232"/>
                    </a:lnTo>
                    <a:cubicBezTo>
                      <a:pt x="212636" y="151232"/>
                      <a:pt x="213302" y="150565"/>
                      <a:pt x="213302" y="149803"/>
                    </a:cubicBezTo>
                    <a:lnTo>
                      <a:pt x="213302" y="131325"/>
                    </a:lnTo>
                    <a:cubicBezTo>
                      <a:pt x="213302" y="131325"/>
                      <a:pt x="213493" y="130468"/>
                      <a:pt x="213016" y="129896"/>
                    </a:cubicBezTo>
                    <a:cubicBezTo>
                      <a:pt x="212540" y="129229"/>
                      <a:pt x="211588" y="129325"/>
                      <a:pt x="211588" y="129325"/>
                    </a:cubicBezTo>
                    <a:cubicBezTo>
                      <a:pt x="205206" y="128277"/>
                      <a:pt x="203777" y="124657"/>
                      <a:pt x="203777" y="121038"/>
                    </a:cubicBezTo>
                    <a:lnTo>
                      <a:pt x="212350" y="57125"/>
                    </a:lnTo>
                    <a:cubicBezTo>
                      <a:pt x="212350" y="57125"/>
                      <a:pt x="212350" y="51029"/>
                      <a:pt x="213874" y="51029"/>
                    </a:cubicBezTo>
                    <a:cubicBezTo>
                      <a:pt x="215398" y="51029"/>
                      <a:pt x="217970" y="60745"/>
                      <a:pt x="217970" y="60745"/>
                    </a:cubicBezTo>
                    <a:lnTo>
                      <a:pt x="230733" y="106084"/>
                    </a:lnTo>
                    <a:cubicBezTo>
                      <a:pt x="230733" y="106084"/>
                      <a:pt x="232733" y="110656"/>
                      <a:pt x="234257" y="112180"/>
                    </a:cubicBezTo>
                    <a:cubicBezTo>
                      <a:pt x="235781" y="113704"/>
                      <a:pt x="241401" y="115704"/>
                      <a:pt x="241401" y="115704"/>
                    </a:cubicBezTo>
                    <a:lnTo>
                      <a:pt x="252069" y="115704"/>
                    </a:lnTo>
                    <a:lnTo>
                      <a:pt x="260737" y="115704"/>
                    </a:lnTo>
                    <a:cubicBezTo>
                      <a:pt x="260737" y="115704"/>
                      <a:pt x="262737" y="115704"/>
                      <a:pt x="265309" y="113704"/>
                    </a:cubicBezTo>
                    <a:cubicBezTo>
                      <a:pt x="267881" y="111703"/>
                      <a:pt x="270357" y="104560"/>
                      <a:pt x="270357" y="104560"/>
                    </a:cubicBezTo>
                    <a:lnTo>
                      <a:pt x="284645" y="55220"/>
                    </a:lnTo>
                    <a:cubicBezTo>
                      <a:pt x="284645" y="55220"/>
                      <a:pt x="285692" y="50648"/>
                      <a:pt x="287216" y="50648"/>
                    </a:cubicBezTo>
                    <a:cubicBezTo>
                      <a:pt x="289216" y="50648"/>
                      <a:pt x="289693" y="57220"/>
                      <a:pt x="289693" y="57220"/>
                    </a:cubicBezTo>
                    <a:lnTo>
                      <a:pt x="298265" y="121133"/>
                    </a:lnTo>
                    <a:cubicBezTo>
                      <a:pt x="298265" y="124753"/>
                      <a:pt x="296837" y="128372"/>
                      <a:pt x="290455" y="129420"/>
                    </a:cubicBezTo>
                    <a:cubicBezTo>
                      <a:pt x="290455" y="129420"/>
                      <a:pt x="289407" y="129420"/>
                      <a:pt x="289026" y="129991"/>
                    </a:cubicBezTo>
                    <a:cubicBezTo>
                      <a:pt x="288550" y="130658"/>
                      <a:pt x="288740" y="131420"/>
                      <a:pt x="288740" y="131420"/>
                    </a:cubicBezTo>
                    <a:lnTo>
                      <a:pt x="288359" y="149899"/>
                    </a:lnTo>
                    <a:cubicBezTo>
                      <a:pt x="288359" y="150661"/>
                      <a:pt x="289026" y="151327"/>
                      <a:pt x="289788" y="151327"/>
                    </a:cubicBezTo>
                    <a:lnTo>
                      <a:pt x="353034" y="151327"/>
                    </a:lnTo>
                    <a:cubicBezTo>
                      <a:pt x="353796" y="151327"/>
                      <a:pt x="354463" y="150661"/>
                      <a:pt x="354463" y="149899"/>
                    </a:cubicBezTo>
                    <a:lnTo>
                      <a:pt x="353510" y="131420"/>
                    </a:lnTo>
                    <a:close/>
                    <a:moveTo>
                      <a:pt x="96621" y="71317"/>
                    </a:moveTo>
                    <a:cubicBezTo>
                      <a:pt x="96240" y="72270"/>
                      <a:pt x="94145" y="71889"/>
                      <a:pt x="94145" y="71889"/>
                    </a:cubicBezTo>
                    <a:lnTo>
                      <a:pt x="72047" y="71889"/>
                    </a:lnTo>
                    <a:cubicBezTo>
                      <a:pt x="72047" y="71889"/>
                      <a:pt x="70523" y="72079"/>
                      <a:pt x="69761" y="71508"/>
                    </a:cubicBezTo>
                    <a:cubicBezTo>
                      <a:pt x="69189" y="71127"/>
                      <a:pt x="70332" y="69031"/>
                      <a:pt x="70332" y="69031"/>
                    </a:cubicBezTo>
                    <a:lnTo>
                      <a:pt x="83286" y="35027"/>
                    </a:lnTo>
                    <a:lnTo>
                      <a:pt x="95859" y="68079"/>
                    </a:lnTo>
                    <a:cubicBezTo>
                      <a:pt x="95859" y="67984"/>
                      <a:pt x="96907" y="70460"/>
                      <a:pt x="96621" y="71317"/>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sp>
            <p:nvSpPr>
              <p:cNvPr id="202" name="Freeform 201">
                <a:extLst>
                  <a:ext uri="{FF2B5EF4-FFF2-40B4-BE49-F238E27FC236}">
                    <a16:creationId xmlns:a16="http://schemas.microsoft.com/office/drawing/2014/main" id="{0709F74B-1907-024C-A79D-9774D6BEBEFF}"/>
                  </a:ext>
                </a:extLst>
              </p:cNvPr>
              <p:cNvSpPr/>
              <p:nvPr/>
            </p:nvSpPr>
            <p:spPr>
              <a:xfrm>
                <a:off x="1701895" y="6439479"/>
                <a:ext cx="125275" cy="68918"/>
              </a:xfrm>
              <a:custGeom>
                <a:avLst/>
                <a:gdLst>
                  <a:gd name="connsiteX0" fmla="*/ 282321 w 282987"/>
                  <a:gd name="connsiteY0" fmla="*/ 133750 h 155681"/>
                  <a:gd name="connsiteX1" fmla="*/ 280892 w 282987"/>
                  <a:gd name="connsiteY1" fmla="*/ 133179 h 155681"/>
                  <a:gd name="connsiteX2" fmla="*/ 266224 w 282987"/>
                  <a:gd name="connsiteY2" fmla="*/ 124892 h 155681"/>
                  <a:gd name="connsiteX3" fmla="*/ 219837 w 282987"/>
                  <a:gd name="connsiteY3" fmla="*/ 7735 h 155681"/>
                  <a:gd name="connsiteX4" fmla="*/ 218313 w 282987"/>
                  <a:gd name="connsiteY4" fmla="*/ 4877 h 155681"/>
                  <a:gd name="connsiteX5" fmla="*/ 216027 w 282987"/>
                  <a:gd name="connsiteY5" fmla="*/ 4115 h 155681"/>
                  <a:gd name="connsiteX6" fmla="*/ 174212 w 282987"/>
                  <a:gd name="connsiteY6" fmla="*/ 4115 h 155681"/>
                  <a:gd name="connsiteX7" fmla="*/ 171736 w 282987"/>
                  <a:gd name="connsiteY7" fmla="*/ 4877 h 155681"/>
                  <a:gd name="connsiteX8" fmla="*/ 170212 w 282987"/>
                  <a:gd name="connsiteY8" fmla="*/ 7735 h 155681"/>
                  <a:gd name="connsiteX9" fmla="*/ 130493 w 282987"/>
                  <a:gd name="connsiteY9" fmla="*/ 107938 h 155681"/>
                  <a:gd name="connsiteX10" fmla="*/ 110681 w 282987"/>
                  <a:gd name="connsiteY10" fmla="*/ 130703 h 155681"/>
                  <a:gd name="connsiteX11" fmla="*/ 84487 w 282987"/>
                  <a:gd name="connsiteY11" fmla="*/ 134227 h 155681"/>
                  <a:gd name="connsiteX12" fmla="*/ 84011 w 282987"/>
                  <a:gd name="connsiteY12" fmla="*/ 134227 h 155681"/>
                  <a:gd name="connsiteX13" fmla="*/ 84011 w 282987"/>
                  <a:gd name="connsiteY13" fmla="*/ 134227 h 155681"/>
                  <a:gd name="connsiteX14" fmla="*/ 62484 w 282987"/>
                  <a:gd name="connsiteY14" fmla="*/ 130703 h 155681"/>
                  <a:gd name="connsiteX15" fmla="*/ 46768 w 282987"/>
                  <a:gd name="connsiteY15" fmla="*/ 112986 h 155681"/>
                  <a:gd name="connsiteX16" fmla="*/ 42386 w 282987"/>
                  <a:gd name="connsiteY16" fmla="*/ 78029 h 155681"/>
                  <a:gd name="connsiteX17" fmla="*/ 46768 w 282987"/>
                  <a:gd name="connsiteY17" fmla="*/ 40405 h 155681"/>
                  <a:gd name="connsiteX18" fmla="*/ 78200 w 282987"/>
                  <a:gd name="connsiteY18" fmla="*/ 24213 h 155681"/>
                  <a:gd name="connsiteX19" fmla="*/ 106775 w 282987"/>
                  <a:gd name="connsiteY19" fmla="*/ 35357 h 155681"/>
                  <a:gd name="connsiteX20" fmla="*/ 112109 w 282987"/>
                  <a:gd name="connsiteY20" fmla="*/ 45168 h 155681"/>
                  <a:gd name="connsiteX21" fmla="*/ 112109 w 282987"/>
                  <a:gd name="connsiteY21" fmla="*/ 46787 h 155681"/>
                  <a:gd name="connsiteX22" fmla="*/ 116777 w 282987"/>
                  <a:gd name="connsiteY22" fmla="*/ 51454 h 155681"/>
                  <a:gd name="connsiteX23" fmla="*/ 128969 w 282987"/>
                  <a:gd name="connsiteY23" fmla="*/ 51454 h 155681"/>
                  <a:gd name="connsiteX24" fmla="*/ 133636 w 282987"/>
                  <a:gd name="connsiteY24" fmla="*/ 46787 h 155681"/>
                  <a:gd name="connsiteX25" fmla="*/ 134017 w 282987"/>
                  <a:gd name="connsiteY25" fmla="*/ 10307 h 155681"/>
                  <a:gd name="connsiteX26" fmla="*/ 131445 w 282987"/>
                  <a:gd name="connsiteY26" fmla="*/ 4973 h 155681"/>
                  <a:gd name="connsiteX27" fmla="*/ 84392 w 282987"/>
                  <a:gd name="connsiteY27" fmla="*/ 19 h 155681"/>
                  <a:gd name="connsiteX28" fmla="*/ 29718 w 282987"/>
                  <a:gd name="connsiteY28" fmla="*/ 11735 h 155681"/>
                  <a:gd name="connsiteX29" fmla="*/ 0 w 282987"/>
                  <a:gd name="connsiteY29" fmla="*/ 75553 h 155681"/>
                  <a:gd name="connsiteX30" fmla="*/ 18860 w 282987"/>
                  <a:gd name="connsiteY30" fmla="*/ 137846 h 155681"/>
                  <a:gd name="connsiteX31" fmla="*/ 59341 w 282987"/>
                  <a:gd name="connsiteY31" fmla="*/ 154515 h 155681"/>
                  <a:gd name="connsiteX32" fmla="*/ 78772 w 282987"/>
                  <a:gd name="connsiteY32" fmla="*/ 155467 h 155681"/>
                  <a:gd name="connsiteX33" fmla="*/ 84106 w 282987"/>
                  <a:gd name="connsiteY33" fmla="*/ 155658 h 155681"/>
                  <a:gd name="connsiteX34" fmla="*/ 98203 w 282987"/>
                  <a:gd name="connsiteY34" fmla="*/ 155086 h 155681"/>
                  <a:gd name="connsiteX35" fmla="*/ 131445 w 282987"/>
                  <a:gd name="connsiteY35" fmla="*/ 154991 h 155681"/>
                  <a:gd name="connsiteX36" fmla="*/ 168878 w 282987"/>
                  <a:gd name="connsiteY36" fmla="*/ 154991 h 155681"/>
                  <a:gd name="connsiteX37" fmla="*/ 170307 w 282987"/>
                  <a:gd name="connsiteY37" fmla="*/ 153562 h 155681"/>
                  <a:gd name="connsiteX38" fmla="*/ 170498 w 282987"/>
                  <a:gd name="connsiteY38" fmla="*/ 135084 h 155681"/>
                  <a:gd name="connsiteX39" fmla="*/ 170212 w 282987"/>
                  <a:gd name="connsiteY39" fmla="*/ 133655 h 155681"/>
                  <a:gd name="connsiteX40" fmla="*/ 168783 w 282987"/>
                  <a:gd name="connsiteY40" fmla="*/ 133084 h 155681"/>
                  <a:gd name="connsiteX41" fmla="*/ 157163 w 282987"/>
                  <a:gd name="connsiteY41" fmla="*/ 124797 h 155681"/>
                  <a:gd name="connsiteX42" fmla="*/ 166592 w 282987"/>
                  <a:gd name="connsiteY42" fmla="*/ 101080 h 155681"/>
                  <a:gd name="connsiteX43" fmla="*/ 214884 w 282987"/>
                  <a:gd name="connsiteY43" fmla="*/ 101080 h 155681"/>
                  <a:gd name="connsiteX44" fmla="*/ 224123 w 282987"/>
                  <a:gd name="connsiteY44" fmla="*/ 124797 h 155681"/>
                  <a:gd name="connsiteX45" fmla="*/ 215551 w 282987"/>
                  <a:gd name="connsiteY45" fmla="*/ 133084 h 155681"/>
                  <a:gd name="connsiteX46" fmla="*/ 214122 w 282987"/>
                  <a:gd name="connsiteY46" fmla="*/ 133655 h 155681"/>
                  <a:gd name="connsiteX47" fmla="*/ 213836 w 282987"/>
                  <a:gd name="connsiteY47" fmla="*/ 135084 h 155681"/>
                  <a:gd name="connsiteX48" fmla="*/ 213932 w 282987"/>
                  <a:gd name="connsiteY48" fmla="*/ 153562 h 155681"/>
                  <a:gd name="connsiteX49" fmla="*/ 215360 w 282987"/>
                  <a:gd name="connsiteY49" fmla="*/ 154991 h 155681"/>
                  <a:gd name="connsiteX50" fmla="*/ 281369 w 282987"/>
                  <a:gd name="connsiteY50" fmla="*/ 154991 h 155681"/>
                  <a:gd name="connsiteX51" fmla="*/ 282797 w 282987"/>
                  <a:gd name="connsiteY51" fmla="*/ 153562 h 155681"/>
                  <a:gd name="connsiteX52" fmla="*/ 282988 w 282987"/>
                  <a:gd name="connsiteY52" fmla="*/ 135084 h 155681"/>
                  <a:gd name="connsiteX53" fmla="*/ 282321 w 282987"/>
                  <a:gd name="connsiteY53" fmla="*/ 133750 h 155681"/>
                  <a:gd name="connsiteX54" fmla="*/ 203930 w 282987"/>
                  <a:gd name="connsiteY54" fmla="*/ 75172 h 155681"/>
                  <a:gd name="connsiteX55" fmla="*/ 201454 w 282987"/>
                  <a:gd name="connsiteY55" fmla="*/ 75743 h 155681"/>
                  <a:gd name="connsiteX56" fmla="*/ 179356 w 282987"/>
                  <a:gd name="connsiteY56" fmla="*/ 75743 h 155681"/>
                  <a:gd name="connsiteX57" fmla="*/ 177070 w 282987"/>
                  <a:gd name="connsiteY57" fmla="*/ 75362 h 155681"/>
                  <a:gd name="connsiteX58" fmla="*/ 177641 w 282987"/>
                  <a:gd name="connsiteY58" fmla="*/ 72886 h 155681"/>
                  <a:gd name="connsiteX59" fmla="*/ 190595 w 282987"/>
                  <a:gd name="connsiteY59" fmla="*/ 38882 h 155681"/>
                  <a:gd name="connsiteX60" fmla="*/ 203168 w 282987"/>
                  <a:gd name="connsiteY60" fmla="*/ 71933 h 155681"/>
                  <a:gd name="connsiteX61" fmla="*/ 203930 w 282987"/>
                  <a:gd name="connsiteY61" fmla="*/ 75172 h 15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987" h="155681">
                    <a:moveTo>
                      <a:pt x="282321" y="133750"/>
                    </a:moveTo>
                    <a:cubicBezTo>
                      <a:pt x="281845" y="133084"/>
                      <a:pt x="280892" y="133179"/>
                      <a:pt x="280892" y="133179"/>
                    </a:cubicBezTo>
                    <a:cubicBezTo>
                      <a:pt x="274511" y="132131"/>
                      <a:pt x="266224" y="128512"/>
                      <a:pt x="266224" y="124892"/>
                    </a:cubicBezTo>
                    <a:lnTo>
                      <a:pt x="219837" y="7735"/>
                    </a:lnTo>
                    <a:cubicBezTo>
                      <a:pt x="219837" y="7735"/>
                      <a:pt x="219075" y="5639"/>
                      <a:pt x="218313" y="4877"/>
                    </a:cubicBezTo>
                    <a:cubicBezTo>
                      <a:pt x="217551" y="4115"/>
                      <a:pt x="216027" y="4115"/>
                      <a:pt x="216027" y="4115"/>
                    </a:cubicBezTo>
                    <a:lnTo>
                      <a:pt x="174212" y="4115"/>
                    </a:lnTo>
                    <a:cubicBezTo>
                      <a:pt x="174212" y="4115"/>
                      <a:pt x="172498" y="4115"/>
                      <a:pt x="171736" y="4877"/>
                    </a:cubicBezTo>
                    <a:cubicBezTo>
                      <a:pt x="170974" y="5639"/>
                      <a:pt x="170212" y="7735"/>
                      <a:pt x="170212" y="7735"/>
                    </a:cubicBezTo>
                    <a:lnTo>
                      <a:pt x="130493" y="107938"/>
                    </a:lnTo>
                    <a:cubicBezTo>
                      <a:pt x="130493" y="107938"/>
                      <a:pt x="122777" y="127273"/>
                      <a:pt x="110681" y="130703"/>
                    </a:cubicBezTo>
                    <a:cubicBezTo>
                      <a:pt x="101537" y="133274"/>
                      <a:pt x="95441" y="133846"/>
                      <a:pt x="84487" y="134227"/>
                    </a:cubicBezTo>
                    <a:cubicBezTo>
                      <a:pt x="84296" y="134227"/>
                      <a:pt x="84201" y="134227"/>
                      <a:pt x="84011" y="134227"/>
                    </a:cubicBezTo>
                    <a:lnTo>
                      <a:pt x="84011" y="134227"/>
                    </a:lnTo>
                    <a:cubicBezTo>
                      <a:pt x="73057" y="133846"/>
                      <a:pt x="70295" y="133846"/>
                      <a:pt x="62484" y="130703"/>
                    </a:cubicBezTo>
                    <a:cubicBezTo>
                      <a:pt x="58103" y="128988"/>
                      <a:pt x="49435" y="120034"/>
                      <a:pt x="46768" y="112986"/>
                    </a:cubicBezTo>
                    <a:cubicBezTo>
                      <a:pt x="44863" y="107557"/>
                      <a:pt x="42386" y="100603"/>
                      <a:pt x="42386" y="78029"/>
                    </a:cubicBezTo>
                    <a:cubicBezTo>
                      <a:pt x="42386" y="55360"/>
                      <a:pt x="44006" y="44882"/>
                      <a:pt x="46768" y="40405"/>
                    </a:cubicBezTo>
                    <a:cubicBezTo>
                      <a:pt x="51816" y="32500"/>
                      <a:pt x="59722" y="24213"/>
                      <a:pt x="78200" y="24213"/>
                    </a:cubicBezTo>
                    <a:cubicBezTo>
                      <a:pt x="96679" y="24213"/>
                      <a:pt x="103537" y="30976"/>
                      <a:pt x="106775" y="35357"/>
                    </a:cubicBezTo>
                    <a:cubicBezTo>
                      <a:pt x="106775" y="35357"/>
                      <a:pt x="111728" y="39453"/>
                      <a:pt x="112109" y="45168"/>
                    </a:cubicBezTo>
                    <a:lnTo>
                      <a:pt x="112109" y="46787"/>
                    </a:lnTo>
                    <a:cubicBezTo>
                      <a:pt x="112109" y="49359"/>
                      <a:pt x="114205" y="51454"/>
                      <a:pt x="116777" y="51454"/>
                    </a:cubicBezTo>
                    <a:lnTo>
                      <a:pt x="128969" y="51454"/>
                    </a:lnTo>
                    <a:cubicBezTo>
                      <a:pt x="131540" y="51454"/>
                      <a:pt x="133636" y="49359"/>
                      <a:pt x="133636" y="46787"/>
                    </a:cubicBezTo>
                    <a:lnTo>
                      <a:pt x="134017" y="10307"/>
                    </a:lnTo>
                    <a:cubicBezTo>
                      <a:pt x="134017" y="10307"/>
                      <a:pt x="134684" y="7640"/>
                      <a:pt x="131445" y="4973"/>
                    </a:cubicBezTo>
                    <a:cubicBezTo>
                      <a:pt x="131445" y="4973"/>
                      <a:pt x="113824" y="-362"/>
                      <a:pt x="84392" y="19"/>
                    </a:cubicBezTo>
                    <a:cubicBezTo>
                      <a:pt x="60008" y="305"/>
                      <a:pt x="40005" y="5353"/>
                      <a:pt x="29718" y="11735"/>
                    </a:cubicBezTo>
                    <a:cubicBezTo>
                      <a:pt x="19431" y="18212"/>
                      <a:pt x="0" y="36976"/>
                      <a:pt x="0" y="75553"/>
                    </a:cubicBezTo>
                    <a:cubicBezTo>
                      <a:pt x="0" y="114034"/>
                      <a:pt x="8573" y="128131"/>
                      <a:pt x="18860" y="137846"/>
                    </a:cubicBezTo>
                    <a:cubicBezTo>
                      <a:pt x="27337" y="145847"/>
                      <a:pt x="36957" y="151467"/>
                      <a:pt x="59341" y="154515"/>
                    </a:cubicBezTo>
                    <a:cubicBezTo>
                      <a:pt x="60198" y="155182"/>
                      <a:pt x="73343" y="155467"/>
                      <a:pt x="78772" y="155467"/>
                    </a:cubicBezTo>
                    <a:cubicBezTo>
                      <a:pt x="80486" y="155563"/>
                      <a:pt x="82296" y="155658"/>
                      <a:pt x="84106" y="155658"/>
                    </a:cubicBezTo>
                    <a:cubicBezTo>
                      <a:pt x="89535" y="155753"/>
                      <a:pt x="94107" y="155563"/>
                      <a:pt x="98203" y="155086"/>
                    </a:cubicBezTo>
                    <a:cubicBezTo>
                      <a:pt x="116396" y="154420"/>
                      <a:pt x="126302" y="156039"/>
                      <a:pt x="131445" y="154991"/>
                    </a:cubicBezTo>
                    <a:lnTo>
                      <a:pt x="168878" y="154991"/>
                    </a:lnTo>
                    <a:cubicBezTo>
                      <a:pt x="169640" y="154991"/>
                      <a:pt x="170307" y="154324"/>
                      <a:pt x="170307" y="153562"/>
                    </a:cubicBezTo>
                    <a:lnTo>
                      <a:pt x="170498" y="135084"/>
                    </a:lnTo>
                    <a:cubicBezTo>
                      <a:pt x="170402" y="135084"/>
                      <a:pt x="170688" y="134227"/>
                      <a:pt x="170212" y="133655"/>
                    </a:cubicBezTo>
                    <a:cubicBezTo>
                      <a:pt x="169736" y="132988"/>
                      <a:pt x="168783" y="133084"/>
                      <a:pt x="168783" y="133084"/>
                    </a:cubicBezTo>
                    <a:cubicBezTo>
                      <a:pt x="162401" y="132036"/>
                      <a:pt x="156020" y="130036"/>
                      <a:pt x="157163" y="124797"/>
                    </a:cubicBezTo>
                    <a:lnTo>
                      <a:pt x="166592" y="101080"/>
                    </a:lnTo>
                    <a:lnTo>
                      <a:pt x="214884" y="101080"/>
                    </a:lnTo>
                    <a:lnTo>
                      <a:pt x="224123" y="124797"/>
                    </a:lnTo>
                    <a:cubicBezTo>
                      <a:pt x="226409" y="128893"/>
                      <a:pt x="221933" y="132036"/>
                      <a:pt x="215551" y="133084"/>
                    </a:cubicBezTo>
                    <a:cubicBezTo>
                      <a:pt x="215551" y="133084"/>
                      <a:pt x="214503" y="133084"/>
                      <a:pt x="214122" y="133655"/>
                    </a:cubicBezTo>
                    <a:cubicBezTo>
                      <a:pt x="213646" y="134322"/>
                      <a:pt x="213836" y="135084"/>
                      <a:pt x="213836" y="135084"/>
                    </a:cubicBezTo>
                    <a:lnTo>
                      <a:pt x="213932" y="153562"/>
                    </a:lnTo>
                    <a:cubicBezTo>
                      <a:pt x="213932" y="154324"/>
                      <a:pt x="214598" y="154991"/>
                      <a:pt x="215360" y="154991"/>
                    </a:cubicBezTo>
                    <a:lnTo>
                      <a:pt x="281369" y="154991"/>
                    </a:lnTo>
                    <a:cubicBezTo>
                      <a:pt x="282131" y="154991"/>
                      <a:pt x="282797" y="154324"/>
                      <a:pt x="282797" y="153562"/>
                    </a:cubicBezTo>
                    <a:lnTo>
                      <a:pt x="282988" y="135084"/>
                    </a:lnTo>
                    <a:cubicBezTo>
                      <a:pt x="282512" y="135274"/>
                      <a:pt x="282702" y="134417"/>
                      <a:pt x="282321" y="133750"/>
                    </a:cubicBezTo>
                    <a:close/>
                    <a:moveTo>
                      <a:pt x="203930" y="75172"/>
                    </a:moveTo>
                    <a:cubicBezTo>
                      <a:pt x="203550" y="76124"/>
                      <a:pt x="201454" y="75743"/>
                      <a:pt x="201454" y="75743"/>
                    </a:cubicBezTo>
                    <a:lnTo>
                      <a:pt x="179356" y="75743"/>
                    </a:lnTo>
                    <a:cubicBezTo>
                      <a:pt x="179356" y="75743"/>
                      <a:pt x="177832" y="75934"/>
                      <a:pt x="177070" y="75362"/>
                    </a:cubicBezTo>
                    <a:cubicBezTo>
                      <a:pt x="176498" y="74981"/>
                      <a:pt x="177641" y="72886"/>
                      <a:pt x="177641" y="72886"/>
                    </a:cubicBezTo>
                    <a:lnTo>
                      <a:pt x="190595" y="38882"/>
                    </a:lnTo>
                    <a:lnTo>
                      <a:pt x="203168" y="71933"/>
                    </a:lnTo>
                    <a:cubicBezTo>
                      <a:pt x="203168" y="71838"/>
                      <a:pt x="204216" y="74315"/>
                      <a:pt x="203930" y="75172"/>
                    </a:cubicBezTo>
                    <a:close/>
                  </a:path>
                </a:pathLst>
              </a:custGeom>
              <a:grpFill/>
              <a:ln w="9525" cap="flat">
                <a:noFill/>
                <a:prstDash val="solid"/>
                <a:miter/>
              </a:ln>
            </p:spPr>
            <p:txBody>
              <a:bodyPr rtlCol="0" anchor="ctr"/>
              <a:lstStyle/>
              <a:p>
                <a:endParaRPr lang="en-US" b="0" i="0">
                  <a:latin typeface="Arial" panose="020B0604020202020204" pitchFamily="34" charset="0"/>
                </a:endParaRPr>
              </a:p>
            </p:txBody>
          </p:sp>
        </p:grpSp>
      </p:grpSp>
      <p:sp>
        <p:nvSpPr>
          <p:cNvPr id="203" name="Rectangle 202">
            <a:extLst>
              <a:ext uri="{FF2B5EF4-FFF2-40B4-BE49-F238E27FC236}">
                <a16:creationId xmlns:a16="http://schemas.microsoft.com/office/drawing/2014/main" id="{7D32D4A4-675C-A24B-B40B-A601B2796282}"/>
              </a:ext>
            </a:extLst>
          </p:cNvPr>
          <p:cNvSpPr/>
          <p:nvPr userDrawn="1"/>
        </p:nvSpPr>
        <p:spPr>
          <a:xfrm>
            <a:off x="0" y="6720840"/>
            <a:ext cx="12188952" cy="1371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84835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p:tgtEl>
                                          <p:spTgt spid="5"/>
                                        </p:tgtEl>
                                        <p:attrNameLst>
                                          <p:attrName>ppt_y</p:attrName>
                                        </p:attrNameLst>
                                      </p:cBhvr>
                                      <p:tavLst>
                                        <p:tav tm="0">
                                          <p:val>
                                            <p:strVal val="#ppt_y-#ppt_h*1.125000"/>
                                          </p:val>
                                        </p:tav>
                                        <p:tav tm="100000">
                                          <p:val>
                                            <p:strVal val="#ppt_y"/>
                                          </p:val>
                                        </p:tav>
                                      </p:tavLst>
                                    </p:anim>
                                    <p:animEffect transition="in" filter="wipe(down)">
                                      <p:cBhvr>
                                        <p:cTn id="8" dur="500"/>
                                        <p:tgtEl>
                                          <p:spTgt spid="5"/>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guide id="4" orient="horz" pos="117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Larg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4AF8D1-7B22-BB47-A368-3ABCC8305ABB}"/>
              </a:ext>
            </a:extLst>
          </p:cNvPr>
          <p:cNvSpPr/>
          <p:nvPr userDrawn="1"/>
        </p:nvSpPr>
        <p:spPr>
          <a:xfrm>
            <a:off x="9372600" y="381000"/>
            <a:ext cx="282298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sp>
        <p:nvSpPr>
          <p:cNvPr id="6" name="Rectangle 5">
            <a:extLst>
              <a:ext uri="{FF2B5EF4-FFF2-40B4-BE49-F238E27FC236}">
                <a16:creationId xmlns:a16="http://schemas.microsoft.com/office/drawing/2014/main" id="{F68FB2F9-B374-9C40-8487-8D30014E527F}"/>
              </a:ext>
            </a:extLst>
          </p:cNvPr>
          <p:cNvSpPr/>
          <p:nvPr userDrawn="1"/>
        </p:nvSpPr>
        <p:spPr>
          <a:xfrm>
            <a:off x="0" y="381000"/>
            <a:ext cx="9144000" cy="6057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a:extLst>
              <a:ext uri="{FF2B5EF4-FFF2-40B4-BE49-F238E27FC236}">
                <a16:creationId xmlns:a16="http://schemas.microsoft.com/office/drawing/2014/main" id="{48DDBA14-7621-4043-91C8-14C0CA1EC1AD}"/>
              </a:ext>
            </a:extLst>
          </p:cNvPr>
          <p:cNvSpPr/>
          <p:nvPr userDrawn="1"/>
        </p:nvSpPr>
        <p:spPr>
          <a:xfrm>
            <a:off x="9144000" y="457199"/>
            <a:ext cx="228600" cy="594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sp>
        <p:nvSpPr>
          <p:cNvPr id="8" name="Content Placeholder 7">
            <a:extLst>
              <a:ext uri="{FF2B5EF4-FFF2-40B4-BE49-F238E27FC236}">
                <a16:creationId xmlns:a16="http://schemas.microsoft.com/office/drawing/2014/main" id="{11F0CED9-FD60-3A47-81B0-844B90E781D8}"/>
              </a:ext>
            </a:extLst>
          </p:cNvPr>
          <p:cNvSpPr>
            <a:spLocks noGrp="1"/>
          </p:cNvSpPr>
          <p:nvPr>
            <p:ph sz="quarter" idx="10"/>
          </p:nvPr>
        </p:nvSpPr>
        <p:spPr>
          <a:xfrm>
            <a:off x="381000" y="685800"/>
            <a:ext cx="8382000" cy="5257800"/>
          </a:xfrm>
        </p:spPr>
        <p:txBody>
          <a:bodyPr/>
          <a:lstStyle>
            <a:lvl1pPr>
              <a:buClr>
                <a:schemeClr val="accent1">
                  <a:lumMod val="20000"/>
                  <a:lumOff val="80000"/>
                </a:schemeClr>
              </a:buClr>
              <a:defRPr>
                <a:solidFill>
                  <a:schemeClr val="bg1"/>
                </a:solidFill>
              </a:defRPr>
            </a:lvl1pPr>
            <a:lvl2pPr>
              <a:buClr>
                <a:schemeClr val="accent1">
                  <a:lumMod val="20000"/>
                  <a:lumOff val="80000"/>
                </a:schemeClr>
              </a:buClr>
              <a:defRPr>
                <a:solidFill>
                  <a:schemeClr val="bg1"/>
                </a:solidFill>
              </a:defRPr>
            </a:lvl2pPr>
            <a:lvl3pPr>
              <a:buClr>
                <a:schemeClr val="accent1">
                  <a:lumMod val="20000"/>
                  <a:lumOff val="80000"/>
                </a:schemeClr>
              </a:buClr>
              <a:defRPr>
                <a:solidFill>
                  <a:schemeClr val="bg1"/>
                </a:solidFill>
              </a:defRPr>
            </a:lvl3pPr>
            <a:lvl4pPr>
              <a:buClr>
                <a:schemeClr val="accent1">
                  <a:lumMod val="20000"/>
                  <a:lumOff val="80000"/>
                </a:schemeClr>
              </a:buClr>
              <a:defRPr>
                <a:solidFill>
                  <a:schemeClr val="bg1"/>
                </a:solidFill>
              </a:defRPr>
            </a:lvl4pPr>
            <a:lvl5pPr>
              <a:buClr>
                <a:schemeClr val="accent1">
                  <a:lumMod val="20000"/>
                  <a:lumOff val="80000"/>
                </a:schemeClr>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DDD4B2C4-A6DD-154D-81A4-EB157D953185}"/>
              </a:ext>
            </a:extLst>
          </p:cNvPr>
          <p:cNvSpPr>
            <a:spLocks noGrp="1"/>
          </p:cNvSpPr>
          <p:nvPr>
            <p:ph sz="quarter" idx="11"/>
          </p:nvPr>
        </p:nvSpPr>
        <p:spPr>
          <a:xfrm>
            <a:off x="9732484" y="685800"/>
            <a:ext cx="2078516" cy="5257800"/>
          </a:xfrm>
        </p:spPr>
        <p:txBody>
          <a:bodyPr/>
          <a:lstStyle>
            <a:lvl1pPr>
              <a:buClr>
                <a:schemeClr val="accent1">
                  <a:lumMod val="20000"/>
                  <a:lumOff val="80000"/>
                </a:schemeClr>
              </a:buClr>
              <a:defRPr>
                <a:solidFill>
                  <a:schemeClr val="bg1"/>
                </a:solidFill>
              </a:defRPr>
            </a:lvl1pPr>
            <a:lvl2pPr>
              <a:buClr>
                <a:schemeClr val="accent1">
                  <a:lumMod val="20000"/>
                  <a:lumOff val="80000"/>
                </a:schemeClr>
              </a:buClr>
              <a:defRPr>
                <a:solidFill>
                  <a:schemeClr val="bg1"/>
                </a:solidFill>
              </a:defRPr>
            </a:lvl2pPr>
            <a:lvl3pPr>
              <a:buClr>
                <a:schemeClr val="accent1">
                  <a:lumMod val="20000"/>
                  <a:lumOff val="80000"/>
                </a:schemeClr>
              </a:buClr>
              <a:defRPr>
                <a:solidFill>
                  <a:schemeClr val="bg1"/>
                </a:solidFill>
              </a:defRPr>
            </a:lvl3pPr>
            <a:lvl4pPr>
              <a:buClr>
                <a:schemeClr val="accent1">
                  <a:lumMod val="20000"/>
                  <a:lumOff val="80000"/>
                </a:schemeClr>
              </a:buClr>
              <a:defRPr>
                <a:solidFill>
                  <a:schemeClr val="bg1"/>
                </a:solidFill>
              </a:defRPr>
            </a:lvl4pPr>
            <a:lvl5pPr>
              <a:buClr>
                <a:schemeClr val="accent1">
                  <a:lumMod val="20000"/>
                  <a:lumOff val="80000"/>
                </a:schemeClr>
              </a:buCl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7095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xEl>
                                              <p:pRg st="1" end="1"/>
                                            </p:txEl>
                                          </p:spTgt>
                                        </p:tgtEl>
                                        <p:attrNameLst>
                                          <p:attrName>style.visibility</p:attrName>
                                        </p:attrNameLst>
                                      </p:cBhvr>
                                      <p:to>
                                        <p:strVal val="visible"/>
                                      </p:to>
                                    </p:set>
                                    <p:animEffect transition="in" filter="fade">
                                      <p:cBhvr>
                                        <p:cTn id="14" dur="500"/>
                                        <p:tgtEl>
                                          <p:spTgt spid="8">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xEl>
                                              <p:pRg st="3" end="3"/>
                                            </p:txEl>
                                          </p:spTgt>
                                        </p:tgtEl>
                                        <p:attrNameLst>
                                          <p:attrName>style.visibility</p:attrName>
                                        </p:attrNameLst>
                                      </p:cBhvr>
                                      <p:to>
                                        <p:strVal val="visible"/>
                                      </p:to>
                                    </p:set>
                                    <p:animEffect transition="in" filter="fade">
                                      <p:cBhvr>
                                        <p:cTn id="20" dur="500"/>
                                        <p:tgtEl>
                                          <p:spTgt spid="8">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animEffect transition="in" filter="fade">
                                      <p:cBhvr>
                                        <p:cTn id="23" dur="500"/>
                                        <p:tgtEl>
                                          <p:spTgt spid="8">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xEl>
                                              <p:pRg st="0" end="0"/>
                                            </p:txEl>
                                          </p:spTgt>
                                        </p:tgtEl>
                                        <p:attrNameLst>
                                          <p:attrName>style.visibility</p:attrName>
                                        </p:attrNameLst>
                                      </p:cBhvr>
                                      <p:to>
                                        <p:strVal val="visible"/>
                                      </p:to>
                                    </p:set>
                                    <p:animEffect transition="in" filter="fade">
                                      <p:cBhvr>
                                        <p:cTn id="26"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extLst>
    <p:ext uri="{DCECCB84-F9BA-43D5-87BE-67443E8EF086}">
      <p15:sldGuideLst xmlns:p15="http://schemas.microsoft.com/office/powerpoint/2012/main">
        <p15:guide id="1" pos="7440">
          <p15:clr>
            <a:srgbClr val="FBAE40"/>
          </p15:clr>
        </p15:guide>
        <p15:guide id="2" orient="horz" pos="240">
          <p15:clr>
            <a:srgbClr val="FBAE40"/>
          </p15:clr>
        </p15:guide>
        <p15:guide id="3" orient="horz" pos="405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White Title Only">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5C58D1-81BF-014F-A341-AA3290FF874F}"/>
              </a:ext>
            </a:extLst>
          </p:cNvPr>
          <p:cNvSpPr/>
          <p:nvPr userDrawn="1"/>
        </p:nvSpPr>
        <p:spPr>
          <a:xfrm rot="5400000">
            <a:off x="3046476" y="-2665476"/>
            <a:ext cx="6099048" cy="12188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3">
            <a:extLst>
              <a:ext uri="{FF2B5EF4-FFF2-40B4-BE49-F238E27FC236}">
                <a16:creationId xmlns:a16="http://schemas.microsoft.com/office/drawing/2014/main" id="{51A8AD5A-086B-DD4E-9530-80D652D369EA}"/>
              </a:ext>
            </a:extLst>
          </p:cNvPr>
          <p:cNvSpPr>
            <a:spLocks noGrp="1"/>
          </p:cNvSpPr>
          <p:nvPr>
            <p:ph type="title"/>
          </p:nvPr>
        </p:nvSpPr>
        <p:spPr>
          <a:xfrm>
            <a:off x="381000" y="381000"/>
            <a:ext cx="11429999" cy="1084243"/>
          </a:xfrm>
        </p:spPr>
        <p:txBody>
          <a:bodyPr lIns="182880" tIns="274320" anchor="t"/>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2765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pos="7440">
          <p15:clr>
            <a:srgbClr val="FBAE40"/>
          </p15:clr>
        </p15:guide>
        <p15:guide id="4" orient="horz" pos="117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0.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8.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heme" Target="../theme/theme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8.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8.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5.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theme" Target="../theme/theme6.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theme" Target="../theme/theme7.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image" Target="../media/image1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5" Type="http://schemas.openxmlformats.org/officeDocument/2006/relationships/slideLayout" Target="../slideLayouts/slideLayout137.xml"/><Relationship Id="rId4" Type="http://schemas.openxmlformats.org/officeDocument/2006/relationships/slideLayout" Target="../slideLayouts/slideLayout136.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heme" Target="../theme/theme9.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5A3E08A-C830-0341-A2ED-4BB0BF1F1DDB}"/>
              </a:ext>
            </a:extLst>
          </p:cNvPr>
          <p:cNvSpPr/>
          <p:nvPr userDrawn="1"/>
        </p:nvSpPr>
        <p:spPr>
          <a:xfrm>
            <a:off x="0" y="6063916"/>
            <a:ext cx="12192000" cy="794084"/>
          </a:xfrm>
          <a:prstGeom prst="rect">
            <a:avLst/>
          </a:prstGeom>
          <a:solidFill>
            <a:srgbClr val="009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a:extLst>
              <a:ext uri="{FF2B5EF4-FFF2-40B4-BE49-F238E27FC236}">
                <a16:creationId xmlns:a16="http://schemas.microsoft.com/office/drawing/2014/main" id="{C8605D2C-A50B-4047-BF06-88C4689D6C94}"/>
              </a:ext>
            </a:extLst>
          </p:cNvPr>
          <p:cNvSpPr>
            <a:spLocks noGrp="1"/>
          </p:cNvSpPr>
          <p:nvPr>
            <p:ph type="title"/>
          </p:nvPr>
        </p:nvSpPr>
        <p:spPr>
          <a:xfrm>
            <a:off x="533402" y="236939"/>
            <a:ext cx="10134599" cy="812216"/>
          </a:xfrm>
          <a:prstGeom prst="rect">
            <a:avLst/>
          </a:prstGeom>
        </p:spPr>
        <p:txBody>
          <a:bodyPr vert="horz" lIns="91440" tIns="45720" rIns="91440" bIns="45720" rtlCol="0" anchor="b">
            <a:normAutofit/>
          </a:bodyPr>
          <a:lstStyle/>
          <a:p>
            <a:r>
              <a:rPr lang="en-US"/>
              <a:t>Click to Enter your Header</a:t>
            </a:r>
          </a:p>
        </p:txBody>
      </p:sp>
      <p:sp>
        <p:nvSpPr>
          <p:cNvPr id="3" name="Text Placeholder 2">
            <a:extLst>
              <a:ext uri="{FF2B5EF4-FFF2-40B4-BE49-F238E27FC236}">
                <a16:creationId xmlns:a16="http://schemas.microsoft.com/office/drawing/2014/main" id="{0E34458D-5564-DF47-99CB-EB34DE470B49}"/>
              </a:ext>
            </a:extLst>
          </p:cNvPr>
          <p:cNvSpPr>
            <a:spLocks noGrp="1"/>
          </p:cNvSpPr>
          <p:nvPr>
            <p:ph type="body" idx="1"/>
          </p:nvPr>
        </p:nvSpPr>
        <p:spPr>
          <a:xfrm>
            <a:off x="533400" y="1442447"/>
            <a:ext cx="11097427" cy="434233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7868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778" r:id="rId17"/>
    <p:sldLayoutId id="2147483661"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685800" rtl="0" eaLnBrk="1" latinLnBrk="0" hangingPunct="1">
        <a:lnSpc>
          <a:spcPct val="90000"/>
        </a:lnSpc>
        <a:spcBef>
          <a:spcPct val="0"/>
        </a:spcBef>
        <a:buNone/>
        <a:defRPr sz="2400" b="1" kern="1200">
          <a:solidFill>
            <a:srgbClr val="009DD8"/>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65000"/>
              <a:lumOff val="3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65000"/>
              <a:lumOff val="3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65000"/>
              <a:lumOff val="3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userDrawn="1">
          <p15:clr>
            <a:srgbClr val="F26B43"/>
          </p15:clr>
        </p15:guide>
        <p15:guide id="2" pos="96" userDrawn="1">
          <p15:clr>
            <a:srgbClr val="F26B43"/>
          </p15:clr>
        </p15:guide>
        <p15:guide id="3" orient="horz" pos="4248" userDrawn="1">
          <p15:clr>
            <a:srgbClr val="F26B43"/>
          </p15:clr>
        </p15:guide>
        <p15:guide id="4" pos="10112" userDrawn="1">
          <p15:clr>
            <a:srgbClr val="F26B43"/>
          </p15:clr>
        </p15:guide>
        <p15:guide id="5" orient="horz" pos="144" userDrawn="1">
          <p15:clr>
            <a:srgbClr val="F26B43"/>
          </p15:clr>
        </p15:guide>
        <p15:guide id="6" pos="229" userDrawn="1">
          <p15:clr>
            <a:srgbClr val="F26B43"/>
          </p15:clr>
        </p15:guide>
        <p15:guide id="7" pos="8960" userDrawn="1">
          <p15:clr>
            <a:srgbClr val="F26B43"/>
          </p15:clr>
        </p15:guide>
        <p15:guide id="8" pos="224" userDrawn="1">
          <p15:clr>
            <a:srgbClr val="F26B43"/>
          </p15:clr>
        </p15:guide>
        <p15:guide id="9" pos="3360" userDrawn="1">
          <p15:clr>
            <a:srgbClr val="F26B43"/>
          </p15:clr>
        </p15:guide>
        <p15:guide id="10" pos="3584" userDrawn="1">
          <p15:clr>
            <a:srgbClr val="F26B43"/>
          </p15:clr>
        </p15:guide>
        <p15:guide id="11" pos="9760" userDrawn="1">
          <p15:clr>
            <a:srgbClr val="F26B43"/>
          </p15:clr>
        </p15:guide>
        <p15:guide id="12" orient="horz" pos="4056" userDrawn="1">
          <p15:clr>
            <a:srgbClr val="F26B43"/>
          </p15:clr>
        </p15:guide>
        <p15:guide id="13" pos="448" userDrawn="1">
          <p15:clr>
            <a:srgbClr val="F26B43"/>
          </p15:clr>
        </p15:guide>
        <p15:guide id="14" pos="5120" userDrawn="1">
          <p15:clr>
            <a:srgbClr val="F26B43"/>
          </p15:clr>
        </p15:guide>
        <p15:guide id="15" orient="horz" pos="216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A1E201-98CC-B53C-8E25-933862D55D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2BB9B4-B513-BAF0-2085-52A9FE488A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B94620-5AA7-1B51-F48D-310653A574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86814B-AED6-48D7-8E04-D3E4134A7357}" type="datetimeFigureOut">
              <a:rPr lang="en-US" smtClean="0"/>
              <a:t>3/1/23</a:t>
            </a:fld>
            <a:endParaRPr lang="en-US"/>
          </a:p>
        </p:txBody>
      </p:sp>
      <p:sp>
        <p:nvSpPr>
          <p:cNvPr id="5" name="Footer Placeholder 4">
            <a:extLst>
              <a:ext uri="{FF2B5EF4-FFF2-40B4-BE49-F238E27FC236}">
                <a16:creationId xmlns:a16="http://schemas.microsoft.com/office/drawing/2014/main" id="{AAD6D2D8-987F-36E2-3B3E-27AD94F3A2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D262196-C157-A34B-981B-C7DF7D5BC8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296181-E345-4518-94AA-E19175446303}" type="slidenum">
              <a:rPr lang="en-US" smtClean="0"/>
              <a:t>‹#›</a:t>
            </a:fld>
            <a:endParaRPr lang="en-US"/>
          </a:p>
        </p:txBody>
      </p:sp>
    </p:spTree>
    <p:extLst>
      <p:ext uri="{BB962C8B-B14F-4D97-AF65-F5344CB8AC3E}">
        <p14:creationId xmlns:p14="http://schemas.microsoft.com/office/powerpoint/2010/main" val="808414917"/>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5A3E08A-C830-0341-A2ED-4BB0BF1F1DDB}"/>
              </a:ext>
            </a:extLst>
          </p:cNvPr>
          <p:cNvSpPr/>
          <p:nvPr userDrawn="1"/>
        </p:nvSpPr>
        <p:spPr>
          <a:xfrm>
            <a:off x="0" y="6063916"/>
            <a:ext cx="12192000" cy="794084"/>
          </a:xfrm>
          <a:prstGeom prst="rect">
            <a:avLst/>
          </a:prstGeom>
          <a:solidFill>
            <a:srgbClr val="009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a:extLst>
              <a:ext uri="{FF2B5EF4-FFF2-40B4-BE49-F238E27FC236}">
                <a16:creationId xmlns:a16="http://schemas.microsoft.com/office/drawing/2014/main" id="{C8605D2C-A50B-4047-BF06-88C4689D6C94}"/>
              </a:ext>
            </a:extLst>
          </p:cNvPr>
          <p:cNvSpPr>
            <a:spLocks noGrp="1"/>
          </p:cNvSpPr>
          <p:nvPr>
            <p:ph type="title"/>
          </p:nvPr>
        </p:nvSpPr>
        <p:spPr>
          <a:xfrm>
            <a:off x="533402" y="236939"/>
            <a:ext cx="10134599" cy="812216"/>
          </a:xfrm>
          <a:prstGeom prst="rect">
            <a:avLst/>
          </a:prstGeom>
        </p:spPr>
        <p:txBody>
          <a:bodyPr vert="horz" lIns="91440" tIns="45720" rIns="91440" bIns="45720" rtlCol="0" anchor="b">
            <a:normAutofit/>
          </a:bodyPr>
          <a:lstStyle/>
          <a:p>
            <a:r>
              <a:rPr lang="en-US"/>
              <a:t>Click to Enter your Header</a:t>
            </a:r>
          </a:p>
        </p:txBody>
      </p:sp>
      <p:sp>
        <p:nvSpPr>
          <p:cNvPr id="3" name="Text Placeholder 2">
            <a:extLst>
              <a:ext uri="{FF2B5EF4-FFF2-40B4-BE49-F238E27FC236}">
                <a16:creationId xmlns:a16="http://schemas.microsoft.com/office/drawing/2014/main" id="{0E34458D-5564-DF47-99CB-EB34DE470B49}"/>
              </a:ext>
            </a:extLst>
          </p:cNvPr>
          <p:cNvSpPr>
            <a:spLocks noGrp="1"/>
          </p:cNvSpPr>
          <p:nvPr>
            <p:ph type="body" idx="1"/>
          </p:nvPr>
        </p:nvSpPr>
        <p:spPr>
          <a:xfrm>
            <a:off x="533400" y="1442447"/>
            <a:ext cx="11097427" cy="434233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7CE52C-B981-AD44-ADDC-9E5167DAB9F4}"/>
              </a:ext>
            </a:extLst>
          </p:cNvPr>
          <p:cNvSpPr>
            <a:spLocks noGrp="1"/>
          </p:cNvSpPr>
          <p:nvPr>
            <p:ph type="dt" sz="half" idx="2"/>
          </p:nvPr>
        </p:nvSpPr>
        <p:spPr>
          <a:xfrm>
            <a:off x="8439006" y="6457208"/>
            <a:ext cx="2137911" cy="286492"/>
          </a:xfrm>
          <a:prstGeom prst="rect">
            <a:avLst/>
          </a:prstGeom>
        </p:spPr>
        <p:txBody>
          <a:bodyPr vert="horz" lIns="91440" tIns="45720" rIns="91440" bIns="45720" rtlCol="0" anchor="ctr"/>
          <a:lstStyle>
            <a:lvl1pPr algn="l">
              <a:defRPr sz="750">
                <a:solidFill>
                  <a:schemeClr val="bg1"/>
                </a:solidFill>
              </a:defRPr>
            </a:lvl1pPr>
          </a:lstStyle>
          <a:p>
            <a:pPr algn="r"/>
            <a:fld id="{7AF68CEF-5115-4840-8FF2-1FDC744FED60}" type="datetime2">
              <a:rPr lang="en-US" smtClean="0"/>
              <a:pPr algn="r"/>
              <a:t>Wednesday, March 1, 2023</a:t>
            </a:fld>
            <a:endParaRPr lang="en-US"/>
          </a:p>
        </p:txBody>
      </p:sp>
      <p:sp>
        <p:nvSpPr>
          <p:cNvPr id="5" name="Footer Placeholder 4">
            <a:extLst>
              <a:ext uri="{FF2B5EF4-FFF2-40B4-BE49-F238E27FC236}">
                <a16:creationId xmlns:a16="http://schemas.microsoft.com/office/drawing/2014/main" id="{04D307A9-101A-D74D-96CD-F93ECDDC68BB}"/>
              </a:ext>
            </a:extLst>
          </p:cNvPr>
          <p:cNvSpPr>
            <a:spLocks noGrp="1"/>
          </p:cNvSpPr>
          <p:nvPr>
            <p:ph type="ftr" sz="quarter" idx="3"/>
          </p:nvPr>
        </p:nvSpPr>
        <p:spPr>
          <a:xfrm>
            <a:off x="4278663" y="6460236"/>
            <a:ext cx="4114800" cy="283464"/>
          </a:xfrm>
          <a:prstGeom prst="rect">
            <a:avLst/>
          </a:prstGeom>
        </p:spPr>
        <p:txBody>
          <a:bodyPr vert="horz" lIns="91440" tIns="45720" rIns="91440" bIns="45720" rtlCol="0" anchor="ctr"/>
          <a:lstStyle>
            <a:lvl1pPr algn="l">
              <a:defRPr sz="75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36864856-53AA-B84B-B6D3-C94FDC988C1C}"/>
              </a:ext>
            </a:extLst>
          </p:cNvPr>
          <p:cNvSpPr>
            <a:spLocks noGrp="1"/>
          </p:cNvSpPr>
          <p:nvPr>
            <p:ph type="sldNum" sz="quarter" idx="4"/>
          </p:nvPr>
        </p:nvSpPr>
        <p:spPr>
          <a:xfrm>
            <a:off x="10668001" y="6457208"/>
            <a:ext cx="952499" cy="286492"/>
          </a:xfrm>
          <a:prstGeom prst="rect">
            <a:avLst/>
          </a:prstGeom>
        </p:spPr>
        <p:txBody>
          <a:bodyPr vert="horz" lIns="0" tIns="45720" rIns="91440" bIns="45720" rtlCol="0" anchor="ctr"/>
          <a:lstStyle>
            <a:lvl1pPr algn="r">
              <a:defRPr sz="750">
                <a:solidFill>
                  <a:schemeClr val="bg1"/>
                </a:solidFill>
              </a:defRPr>
            </a:lvl1pPr>
          </a:lstStyle>
          <a:p>
            <a:r>
              <a:rPr lang="en-US"/>
              <a:t>|   </a:t>
            </a:r>
            <a:fld id="{C2DDD5BA-F22B-BD42-8228-E4995F3E1D59}" type="slidenum">
              <a:rPr lang="en-US" smtClean="0"/>
              <a:pPr/>
              <a:t>‹#›</a:t>
            </a:fld>
            <a:endParaRPr lang="en-US"/>
          </a:p>
        </p:txBody>
      </p:sp>
      <p:pic>
        <p:nvPicPr>
          <p:cNvPr id="18" name="Picture 17">
            <a:extLst>
              <a:ext uri="{FF2B5EF4-FFF2-40B4-BE49-F238E27FC236}">
                <a16:creationId xmlns:a16="http://schemas.microsoft.com/office/drawing/2014/main" id="{81468981-B946-314D-A171-240F1624E6A4}"/>
              </a:ext>
            </a:extLst>
          </p:cNvPr>
          <p:cNvPicPr>
            <a:picLocks noChangeAspect="1"/>
          </p:cNvPicPr>
          <p:nvPr userDrawn="1"/>
        </p:nvPicPr>
        <p:blipFill>
          <a:blip r:embed="rId16"/>
          <a:stretch>
            <a:fillRect/>
          </a:stretch>
        </p:blipFill>
        <p:spPr>
          <a:xfrm>
            <a:off x="533400" y="6249821"/>
            <a:ext cx="2057400" cy="445770"/>
          </a:xfrm>
          <a:prstGeom prst="rect">
            <a:avLst/>
          </a:prstGeom>
        </p:spPr>
      </p:pic>
    </p:spTree>
    <p:extLst>
      <p:ext uri="{BB962C8B-B14F-4D97-AF65-F5344CB8AC3E}">
        <p14:creationId xmlns:p14="http://schemas.microsoft.com/office/powerpoint/2010/main" val="297316941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37" r:id="rId1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p:txStyles>
    <p:titleStyle>
      <a:lvl1pPr algn="l" defTabSz="685800" rtl="0" eaLnBrk="1" latinLnBrk="0" hangingPunct="1">
        <a:lnSpc>
          <a:spcPct val="90000"/>
        </a:lnSpc>
        <a:spcBef>
          <a:spcPct val="0"/>
        </a:spcBef>
        <a:buNone/>
        <a:defRPr sz="2400" b="1" kern="1200">
          <a:solidFill>
            <a:srgbClr val="009DD8"/>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65000"/>
              <a:lumOff val="3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65000"/>
              <a:lumOff val="3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65000"/>
              <a:lumOff val="3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userDrawn="1">
          <p15:clr>
            <a:srgbClr val="F26B43"/>
          </p15:clr>
        </p15:guide>
        <p15:guide id="2" pos="96" userDrawn="1">
          <p15:clr>
            <a:srgbClr val="F26B43"/>
          </p15:clr>
        </p15:guide>
        <p15:guide id="3" orient="horz" pos="4248" userDrawn="1">
          <p15:clr>
            <a:srgbClr val="F26B43"/>
          </p15:clr>
        </p15:guide>
        <p15:guide id="4" pos="10112" userDrawn="1">
          <p15:clr>
            <a:srgbClr val="F26B43"/>
          </p15:clr>
        </p15:guide>
        <p15:guide id="5" orient="horz" pos="144" userDrawn="1">
          <p15:clr>
            <a:srgbClr val="F26B43"/>
          </p15:clr>
        </p15:guide>
        <p15:guide id="6" pos="229" userDrawn="1">
          <p15:clr>
            <a:srgbClr val="F26B43"/>
          </p15:clr>
        </p15:guide>
        <p15:guide id="7" pos="8960" userDrawn="1">
          <p15:clr>
            <a:srgbClr val="F26B43"/>
          </p15:clr>
        </p15:guide>
        <p15:guide id="8" pos="224" userDrawn="1">
          <p15:clr>
            <a:srgbClr val="F26B43"/>
          </p15:clr>
        </p15:guide>
        <p15:guide id="9" pos="3360" userDrawn="1">
          <p15:clr>
            <a:srgbClr val="F26B43"/>
          </p15:clr>
        </p15:guide>
        <p15:guide id="10" pos="3584" userDrawn="1">
          <p15:clr>
            <a:srgbClr val="F26B43"/>
          </p15:clr>
        </p15:guide>
        <p15:guide id="11" pos="9760" userDrawn="1">
          <p15:clr>
            <a:srgbClr val="F26B43"/>
          </p15:clr>
        </p15:guide>
        <p15:guide id="12" orient="horz" pos="4056" userDrawn="1">
          <p15:clr>
            <a:srgbClr val="F26B43"/>
          </p15:clr>
        </p15:guide>
        <p15:guide id="13" pos="44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5A3E08A-C830-0341-A2ED-4BB0BF1F1DDB}"/>
              </a:ext>
            </a:extLst>
          </p:cNvPr>
          <p:cNvSpPr/>
          <p:nvPr userDrawn="1"/>
        </p:nvSpPr>
        <p:spPr>
          <a:xfrm>
            <a:off x="0" y="6063916"/>
            <a:ext cx="12192000" cy="794084"/>
          </a:xfrm>
          <a:prstGeom prst="rect">
            <a:avLst/>
          </a:prstGeom>
          <a:solidFill>
            <a:srgbClr val="009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a:extLst>
              <a:ext uri="{FF2B5EF4-FFF2-40B4-BE49-F238E27FC236}">
                <a16:creationId xmlns:a16="http://schemas.microsoft.com/office/drawing/2014/main" id="{C8605D2C-A50B-4047-BF06-88C4689D6C94}"/>
              </a:ext>
            </a:extLst>
          </p:cNvPr>
          <p:cNvSpPr>
            <a:spLocks noGrp="1"/>
          </p:cNvSpPr>
          <p:nvPr>
            <p:ph type="title"/>
          </p:nvPr>
        </p:nvSpPr>
        <p:spPr>
          <a:xfrm>
            <a:off x="533402" y="236939"/>
            <a:ext cx="10134599" cy="812216"/>
          </a:xfrm>
          <a:prstGeom prst="rect">
            <a:avLst/>
          </a:prstGeom>
        </p:spPr>
        <p:txBody>
          <a:bodyPr vert="horz" lIns="91440" tIns="45720" rIns="91440" bIns="45720" rtlCol="0" anchor="b">
            <a:normAutofit/>
          </a:bodyPr>
          <a:lstStyle/>
          <a:p>
            <a:r>
              <a:rPr lang="en-US"/>
              <a:t>Click to Enter your Header</a:t>
            </a:r>
          </a:p>
        </p:txBody>
      </p:sp>
      <p:sp>
        <p:nvSpPr>
          <p:cNvPr id="3" name="Text Placeholder 2">
            <a:extLst>
              <a:ext uri="{FF2B5EF4-FFF2-40B4-BE49-F238E27FC236}">
                <a16:creationId xmlns:a16="http://schemas.microsoft.com/office/drawing/2014/main" id="{0E34458D-5564-DF47-99CB-EB34DE470B49}"/>
              </a:ext>
            </a:extLst>
          </p:cNvPr>
          <p:cNvSpPr>
            <a:spLocks noGrp="1"/>
          </p:cNvSpPr>
          <p:nvPr>
            <p:ph type="body" idx="1"/>
          </p:nvPr>
        </p:nvSpPr>
        <p:spPr>
          <a:xfrm>
            <a:off x="533400" y="1442447"/>
            <a:ext cx="11097427" cy="434233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7CE52C-B981-AD44-ADDC-9E5167DAB9F4}"/>
              </a:ext>
            </a:extLst>
          </p:cNvPr>
          <p:cNvSpPr>
            <a:spLocks noGrp="1"/>
          </p:cNvSpPr>
          <p:nvPr>
            <p:ph type="dt" sz="half" idx="2"/>
          </p:nvPr>
        </p:nvSpPr>
        <p:spPr>
          <a:xfrm>
            <a:off x="8439006" y="6457208"/>
            <a:ext cx="2137911" cy="286492"/>
          </a:xfrm>
          <a:prstGeom prst="rect">
            <a:avLst/>
          </a:prstGeom>
        </p:spPr>
        <p:txBody>
          <a:bodyPr vert="horz" lIns="91440" tIns="45720" rIns="91440" bIns="45720" rtlCol="0" anchor="ctr"/>
          <a:lstStyle>
            <a:lvl1pPr algn="l">
              <a:defRPr sz="750">
                <a:solidFill>
                  <a:schemeClr val="bg1"/>
                </a:solidFill>
              </a:defRPr>
            </a:lvl1pPr>
          </a:lstStyle>
          <a:p>
            <a:pPr algn="r"/>
            <a:fld id="{7AF68CEF-5115-4840-8FF2-1FDC744FED60}" type="datetime2">
              <a:rPr lang="en-US" smtClean="0"/>
              <a:pPr algn="r"/>
              <a:t>Wednesday, March 1, 2023</a:t>
            </a:fld>
            <a:endParaRPr lang="en-US"/>
          </a:p>
        </p:txBody>
      </p:sp>
      <p:sp>
        <p:nvSpPr>
          <p:cNvPr id="5" name="Footer Placeholder 4">
            <a:extLst>
              <a:ext uri="{FF2B5EF4-FFF2-40B4-BE49-F238E27FC236}">
                <a16:creationId xmlns:a16="http://schemas.microsoft.com/office/drawing/2014/main" id="{04D307A9-101A-D74D-96CD-F93ECDDC68BB}"/>
              </a:ext>
            </a:extLst>
          </p:cNvPr>
          <p:cNvSpPr>
            <a:spLocks noGrp="1"/>
          </p:cNvSpPr>
          <p:nvPr>
            <p:ph type="ftr" sz="quarter" idx="3"/>
          </p:nvPr>
        </p:nvSpPr>
        <p:spPr>
          <a:xfrm>
            <a:off x="4278663" y="6460236"/>
            <a:ext cx="4114800" cy="283464"/>
          </a:xfrm>
          <a:prstGeom prst="rect">
            <a:avLst/>
          </a:prstGeom>
        </p:spPr>
        <p:txBody>
          <a:bodyPr vert="horz" lIns="91440" tIns="45720" rIns="91440" bIns="45720" rtlCol="0" anchor="ctr"/>
          <a:lstStyle>
            <a:lvl1pPr algn="l">
              <a:defRPr sz="75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36864856-53AA-B84B-B6D3-C94FDC988C1C}"/>
              </a:ext>
            </a:extLst>
          </p:cNvPr>
          <p:cNvSpPr>
            <a:spLocks noGrp="1"/>
          </p:cNvSpPr>
          <p:nvPr>
            <p:ph type="sldNum" sz="quarter" idx="4"/>
          </p:nvPr>
        </p:nvSpPr>
        <p:spPr>
          <a:xfrm>
            <a:off x="10668001" y="6457208"/>
            <a:ext cx="952499" cy="286492"/>
          </a:xfrm>
          <a:prstGeom prst="rect">
            <a:avLst/>
          </a:prstGeom>
        </p:spPr>
        <p:txBody>
          <a:bodyPr vert="horz" lIns="0" tIns="45720" rIns="91440" bIns="45720" rtlCol="0" anchor="ctr"/>
          <a:lstStyle>
            <a:lvl1pPr algn="r">
              <a:defRPr sz="750">
                <a:solidFill>
                  <a:schemeClr val="bg1"/>
                </a:solidFill>
              </a:defRPr>
            </a:lvl1pPr>
          </a:lstStyle>
          <a:p>
            <a:r>
              <a:rPr lang="en-US"/>
              <a:t>|   </a:t>
            </a:r>
            <a:fld id="{C2DDD5BA-F22B-BD42-8228-E4995F3E1D59}" type="slidenum">
              <a:rPr lang="en-US" smtClean="0"/>
              <a:pPr/>
              <a:t>‹#›</a:t>
            </a:fld>
            <a:endParaRPr lang="en-US"/>
          </a:p>
        </p:txBody>
      </p:sp>
      <p:pic>
        <p:nvPicPr>
          <p:cNvPr id="18" name="Picture 17">
            <a:extLst>
              <a:ext uri="{FF2B5EF4-FFF2-40B4-BE49-F238E27FC236}">
                <a16:creationId xmlns:a16="http://schemas.microsoft.com/office/drawing/2014/main" id="{81468981-B946-314D-A171-240F1624E6A4}"/>
              </a:ext>
            </a:extLst>
          </p:cNvPr>
          <p:cNvPicPr>
            <a:picLocks noChangeAspect="1"/>
          </p:cNvPicPr>
          <p:nvPr userDrawn="1"/>
        </p:nvPicPr>
        <p:blipFill>
          <a:blip r:embed="rId18"/>
          <a:stretch>
            <a:fillRect/>
          </a:stretch>
        </p:blipFill>
        <p:spPr>
          <a:xfrm>
            <a:off x="533400" y="6249821"/>
            <a:ext cx="2057400" cy="445770"/>
          </a:xfrm>
          <a:prstGeom prst="rect">
            <a:avLst/>
          </a:prstGeom>
        </p:spPr>
      </p:pic>
    </p:spTree>
    <p:extLst>
      <p:ext uri="{BB962C8B-B14F-4D97-AF65-F5344CB8AC3E}">
        <p14:creationId xmlns:p14="http://schemas.microsoft.com/office/powerpoint/2010/main" val="373415081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82" r:id="rId16"/>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p:txStyles>
    <p:titleStyle>
      <a:lvl1pPr algn="l" defTabSz="685800" rtl="0" eaLnBrk="1" latinLnBrk="0" hangingPunct="1">
        <a:lnSpc>
          <a:spcPct val="90000"/>
        </a:lnSpc>
        <a:spcBef>
          <a:spcPct val="0"/>
        </a:spcBef>
        <a:buNone/>
        <a:defRPr sz="2400" b="1" kern="1200">
          <a:solidFill>
            <a:srgbClr val="009DD8"/>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65000"/>
              <a:lumOff val="3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65000"/>
              <a:lumOff val="3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65000"/>
              <a:lumOff val="3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65000"/>
              <a:lumOff val="3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userDrawn="1">
          <p15:clr>
            <a:srgbClr val="F26B43"/>
          </p15:clr>
        </p15:guide>
        <p15:guide id="2" pos="96" userDrawn="1">
          <p15:clr>
            <a:srgbClr val="F26B43"/>
          </p15:clr>
        </p15:guide>
        <p15:guide id="3" orient="horz" pos="4248" userDrawn="1">
          <p15:clr>
            <a:srgbClr val="F26B43"/>
          </p15:clr>
        </p15:guide>
        <p15:guide id="4" pos="10112" userDrawn="1">
          <p15:clr>
            <a:srgbClr val="F26B43"/>
          </p15:clr>
        </p15:guide>
        <p15:guide id="5" orient="horz" pos="144" userDrawn="1">
          <p15:clr>
            <a:srgbClr val="F26B43"/>
          </p15:clr>
        </p15:guide>
        <p15:guide id="6" pos="229" userDrawn="1">
          <p15:clr>
            <a:srgbClr val="F26B43"/>
          </p15:clr>
        </p15:guide>
        <p15:guide id="7" pos="8960" userDrawn="1">
          <p15:clr>
            <a:srgbClr val="F26B43"/>
          </p15:clr>
        </p15:guide>
        <p15:guide id="8" pos="224" userDrawn="1">
          <p15:clr>
            <a:srgbClr val="F26B43"/>
          </p15:clr>
        </p15:guide>
        <p15:guide id="9" pos="3360" userDrawn="1">
          <p15:clr>
            <a:srgbClr val="F26B43"/>
          </p15:clr>
        </p15:guide>
        <p15:guide id="10" pos="3584" userDrawn="1">
          <p15:clr>
            <a:srgbClr val="F26B43"/>
          </p15:clr>
        </p15:guide>
        <p15:guide id="11" pos="9760" userDrawn="1">
          <p15:clr>
            <a:srgbClr val="F26B43"/>
          </p15:clr>
        </p15:guide>
        <p15:guide id="12" orient="horz" pos="4056" userDrawn="1">
          <p15:clr>
            <a:srgbClr val="F26B43"/>
          </p15:clr>
        </p15:guide>
        <p15:guide id="13" pos="448" userDrawn="1">
          <p15:clr>
            <a:srgbClr val="F26B43"/>
          </p15:clr>
        </p15:guide>
        <p15:guide id="14" pos="5120" userDrawn="1">
          <p15:clr>
            <a:srgbClr val="F26B43"/>
          </p15:clr>
        </p15:guide>
        <p15:guide id="15" orient="horz" pos="216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3B12BF-D5E4-4103-BE31-E74575502A56}"/>
              </a:ext>
            </a:extLst>
          </p:cNvPr>
          <p:cNvSpPr>
            <a:spLocks noGrp="1"/>
          </p:cNvSpPr>
          <p:nvPr>
            <p:ph type="body" idx="1"/>
          </p:nvPr>
        </p:nvSpPr>
        <p:spPr>
          <a:xfrm>
            <a:off x="381000" y="1828801"/>
            <a:ext cx="11430000" cy="388620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AEC9CF1B-37C4-4793-B0C6-CC90053C6DD2}"/>
              </a:ext>
            </a:extLst>
          </p:cNvPr>
          <p:cNvSpPr/>
          <p:nvPr userDrawn="1"/>
        </p:nvSpPr>
        <p:spPr>
          <a:xfrm>
            <a:off x="0" y="5943600"/>
            <a:ext cx="12192000" cy="91440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a:extLst>
              <a:ext uri="{FF2B5EF4-FFF2-40B4-BE49-F238E27FC236}">
                <a16:creationId xmlns:a16="http://schemas.microsoft.com/office/drawing/2014/main" id="{27102771-E3AA-454D-9068-E4B43B3D47A1}"/>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457674" y="6018756"/>
            <a:ext cx="1353327" cy="743771"/>
          </a:xfrm>
          <a:prstGeom prst="rect">
            <a:avLst/>
          </a:prstGeom>
        </p:spPr>
      </p:pic>
      <p:sp>
        <p:nvSpPr>
          <p:cNvPr id="2" name="Title Placeholder 1">
            <a:extLst>
              <a:ext uri="{FF2B5EF4-FFF2-40B4-BE49-F238E27FC236}">
                <a16:creationId xmlns:a16="http://schemas.microsoft.com/office/drawing/2014/main" id="{12C3F846-88D6-0341-9F7C-26DFEA84E2F9}"/>
              </a:ext>
            </a:extLst>
          </p:cNvPr>
          <p:cNvSpPr>
            <a:spLocks noGrp="1"/>
          </p:cNvSpPr>
          <p:nvPr>
            <p:ph type="title"/>
          </p:nvPr>
        </p:nvSpPr>
        <p:spPr>
          <a:xfrm>
            <a:off x="381000" y="532302"/>
            <a:ext cx="11430000" cy="991698"/>
          </a:xfrm>
          <a:prstGeom prst="rect">
            <a:avLst/>
          </a:prstGeom>
        </p:spPr>
        <p:txBody>
          <a:bodyPr vert="horz" lIns="0" tIns="0" rIns="0" bIns="0" rtlCol="0" anchor="ctr">
            <a:normAutofit/>
          </a:bodyPr>
          <a:lstStyle/>
          <a:p>
            <a:r>
              <a:rPr lang="en-US"/>
              <a:t>Click to edit Master title style</a:t>
            </a:r>
          </a:p>
        </p:txBody>
      </p:sp>
    </p:spTree>
    <p:extLst>
      <p:ext uri="{BB962C8B-B14F-4D97-AF65-F5344CB8AC3E}">
        <p14:creationId xmlns:p14="http://schemas.microsoft.com/office/powerpoint/2010/main" val="129199941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685800" rtl="0" eaLnBrk="1" latinLnBrk="0" hangingPunct="1">
        <a:lnSpc>
          <a:spcPct val="80000"/>
        </a:lnSpc>
        <a:spcBef>
          <a:spcPct val="0"/>
        </a:spcBef>
        <a:buNone/>
        <a:defRPr sz="2700" b="1" i="0"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685800" rtl="0" eaLnBrk="1" latinLnBrk="0" hangingPunct="1">
        <a:lnSpc>
          <a:spcPct val="90000"/>
        </a:lnSpc>
        <a:spcBef>
          <a:spcPts val="0"/>
        </a:spcBef>
        <a:spcAft>
          <a:spcPts val="450"/>
        </a:spcAft>
        <a:buClr>
          <a:srgbClr val="009DD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1pPr>
      <a:lvl2pPr marL="685800" indent="-342900" algn="l" defTabSz="685800" rtl="0" eaLnBrk="1" latinLnBrk="0" hangingPunct="1">
        <a:lnSpc>
          <a:spcPct val="90000"/>
        </a:lnSpc>
        <a:spcBef>
          <a:spcPts val="0"/>
        </a:spcBef>
        <a:spcAft>
          <a:spcPts val="450"/>
        </a:spcAft>
        <a:buClr>
          <a:srgbClr val="009DDC"/>
        </a:buClr>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2pPr>
      <a:lvl3pPr marL="942975" indent="-257175" algn="l" defTabSz="685800" rtl="0" eaLnBrk="1" latinLnBrk="0" hangingPunct="1">
        <a:lnSpc>
          <a:spcPct val="90000"/>
        </a:lnSpc>
        <a:spcBef>
          <a:spcPts val="0"/>
        </a:spcBef>
        <a:spcAft>
          <a:spcPts val="450"/>
        </a:spcAft>
        <a:buClr>
          <a:srgbClr val="009DDC"/>
        </a:buClr>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3pPr>
      <a:lvl4pPr marL="1285875" indent="-257175" algn="l" defTabSz="685800" rtl="0" eaLnBrk="1" latinLnBrk="0" hangingPunct="1">
        <a:lnSpc>
          <a:spcPct val="90000"/>
        </a:lnSpc>
        <a:spcBef>
          <a:spcPts val="0"/>
        </a:spcBef>
        <a:spcAft>
          <a:spcPts val="450"/>
        </a:spcAft>
        <a:buClr>
          <a:srgbClr val="009DDC"/>
        </a:buClr>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628775" indent="-257175" algn="l" defTabSz="685800" rtl="0" eaLnBrk="1" latinLnBrk="0" hangingPunct="1">
        <a:lnSpc>
          <a:spcPct val="90000"/>
        </a:lnSpc>
        <a:spcBef>
          <a:spcPts val="0"/>
        </a:spcBef>
        <a:spcAft>
          <a:spcPts val="450"/>
        </a:spcAft>
        <a:buClr>
          <a:srgbClr val="009DDC"/>
        </a:buClr>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120" userDrawn="1">
          <p15:clr>
            <a:srgbClr val="F26B43"/>
          </p15:clr>
        </p15:guide>
        <p15:guide id="3" pos="320" userDrawn="1">
          <p15:clr>
            <a:srgbClr val="F26B43"/>
          </p15:clr>
        </p15:guide>
        <p15:guide id="4" pos="9920" userDrawn="1">
          <p15:clr>
            <a:srgbClr val="F26B43"/>
          </p15:clr>
        </p15:guide>
        <p15:guide id="5" orient="horz" pos="240" userDrawn="1">
          <p15:clr>
            <a:srgbClr val="F26B43"/>
          </p15:clr>
        </p15:guide>
        <p15:guide id="6" orient="horz" pos="960" userDrawn="1">
          <p15:clr>
            <a:srgbClr val="F26B43"/>
          </p15:clr>
        </p15:guide>
        <p15:guide id="7" orient="horz" pos="1152" userDrawn="1">
          <p15:clr>
            <a:srgbClr val="F26B43"/>
          </p15:clr>
        </p15:guide>
        <p15:guide id="8" orient="horz" pos="3600" userDrawn="1">
          <p15:clr>
            <a:srgbClr val="F26B43"/>
          </p15:clr>
        </p15:guide>
        <p15:guide id="9" pos="5312" userDrawn="1">
          <p15:clr>
            <a:srgbClr val="F26B43"/>
          </p15:clr>
        </p15:guide>
        <p15:guide id="10" pos="4928" userDrawn="1">
          <p15:clr>
            <a:srgbClr val="F26B43"/>
          </p15:clr>
        </p15:guide>
        <p15:guide id="11" orient="horz" pos="1440" userDrawn="1">
          <p15:clr>
            <a:srgbClr val="F26B43"/>
          </p15:clr>
        </p15:guide>
        <p15:guide id="12" orient="horz" pos="374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1/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145D2346-4A27-42C9-A63C-8FD677B1BF52}"/>
              </a:ext>
            </a:extLst>
          </p:cNvPr>
          <p:cNvSpPr/>
          <p:nvPr userDrawn="1"/>
        </p:nvSpPr>
        <p:spPr>
          <a:xfrm>
            <a:off x="0" y="6063916"/>
            <a:ext cx="12192000" cy="794084"/>
          </a:xfrm>
          <a:prstGeom prst="rect">
            <a:avLst/>
          </a:prstGeom>
          <a:solidFill>
            <a:srgbClr val="009D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a:extLst>
              <a:ext uri="{FF2B5EF4-FFF2-40B4-BE49-F238E27FC236}">
                <a16:creationId xmlns:a16="http://schemas.microsoft.com/office/drawing/2014/main" id="{B1EB4795-54B7-4842-B575-353B028E3F1D}"/>
              </a:ext>
            </a:extLst>
          </p:cNvPr>
          <p:cNvPicPr>
            <a:picLocks noChangeAspect="1"/>
          </p:cNvPicPr>
          <p:nvPr userDrawn="1"/>
        </p:nvPicPr>
        <p:blipFill>
          <a:blip r:embed="rId13"/>
          <a:stretch>
            <a:fillRect/>
          </a:stretch>
        </p:blipFill>
        <p:spPr>
          <a:xfrm>
            <a:off x="533400" y="6249821"/>
            <a:ext cx="2057400" cy="445770"/>
          </a:xfrm>
          <a:prstGeom prst="rect">
            <a:avLst/>
          </a:prstGeom>
        </p:spPr>
      </p:pic>
    </p:spTree>
    <p:extLst>
      <p:ext uri="{BB962C8B-B14F-4D97-AF65-F5344CB8AC3E}">
        <p14:creationId xmlns:p14="http://schemas.microsoft.com/office/powerpoint/2010/main" val="69017310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2" userDrawn="1">
          <p15:clr>
            <a:srgbClr val="F26B43"/>
          </p15:clr>
        </p15:guide>
        <p15:guide id="2" pos="96" userDrawn="1">
          <p15:clr>
            <a:srgbClr val="F26B43"/>
          </p15:clr>
        </p15:guide>
        <p15:guide id="3" orient="horz" pos="4248" userDrawn="1">
          <p15:clr>
            <a:srgbClr val="F26B43"/>
          </p15:clr>
        </p15:guide>
        <p15:guide id="4" pos="10112" userDrawn="1">
          <p15:clr>
            <a:srgbClr val="F26B43"/>
          </p15:clr>
        </p15:guide>
        <p15:guide id="5" orient="horz" pos="144" userDrawn="1">
          <p15:clr>
            <a:srgbClr val="F26B43"/>
          </p15:clr>
        </p15:guide>
        <p15:guide id="6" pos="229" userDrawn="1">
          <p15:clr>
            <a:srgbClr val="F26B43"/>
          </p15:clr>
        </p15:guide>
        <p15:guide id="7" pos="8960" userDrawn="1">
          <p15:clr>
            <a:srgbClr val="F26B43"/>
          </p15:clr>
        </p15:guide>
        <p15:guide id="8" pos="224" userDrawn="1">
          <p15:clr>
            <a:srgbClr val="F26B43"/>
          </p15:clr>
        </p15:guide>
        <p15:guide id="9" pos="3360" userDrawn="1">
          <p15:clr>
            <a:srgbClr val="F26B43"/>
          </p15:clr>
        </p15:guide>
        <p15:guide id="10" pos="3584" userDrawn="1">
          <p15:clr>
            <a:srgbClr val="F26B43"/>
          </p15:clr>
        </p15:guide>
        <p15:guide id="11" pos="9760" userDrawn="1">
          <p15:clr>
            <a:srgbClr val="F26B43"/>
          </p15:clr>
        </p15:guide>
        <p15:guide id="12" orient="horz" pos="4056" userDrawn="1">
          <p15:clr>
            <a:srgbClr val="F26B43"/>
          </p15:clr>
        </p15:guide>
        <p15:guide id="13" pos="448" userDrawn="1">
          <p15:clr>
            <a:srgbClr val="F26B43"/>
          </p15:clr>
        </p15:guide>
        <p15:guide id="14" pos="5120" userDrawn="1">
          <p15:clr>
            <a:srgbClr val="F26B43"/>
          </p15:clr>
        </p15:guide>
        <p15:guide id="15" orient="horz" pos="216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12" name="Group 111">
            <a:extLst>
              <a:ext uri="{FF2B5EF4-FFF2-40B4-BE49-F238E27FC236}">
                <a16:creationId xmlns:a16="http://schemas.microsoft.com/office/drawing/2014/main" id="{7153ED03-6308-F847-B4BF-E3B34C7ADE00}"/>
              </a:ext>
            </a:extLst>
          </p:cNvPr>
          <p:cNvGrpSpPr/>
          <p:nvPr userDrawn="1"/>
        </p:nvGrpSpPr>
        <p:grpSpPr>
          <a:xfrm>
            <a:off x="9438988" y="6233179"/>
            <a:ext cx="2143412" cy="350125"/>
            <a:chOff x="7941600" y="7740369"/>
            <a:chExt cx="6440917" cy="1052121"/>
          </a:xfrm>
        </p:grpSpPr>
        <p:grpSp>
          <p:nvGrpSpPr>
            <p:cNvPr id="110" name="Group 109">
              <a:extLst>
                <a:ext uri="{FF2B5EF4-FFF2-40B4-BE49-F238E27FC236}">
                  <a16:creationId xmlns:a16="http://schemas.microsoft.com/office/drawing/2014/main" id="{68D2AB0D-D7C8-4F43-9935-8FE49714CBC3}"/>
                </a:ext>
              </a:extLst>
            </p:cNvPr>
            <p:cNvGrpSpPr/>
            <p:nvPr userDrawn="1"/>
          </p:nvGrpSpPr>
          <p:grpSpPr>
            <a:xfrm>
              <a:off x="7941600" y="7740369"/>
              <a:ext cx="6440917" cy="452295"/>
              <a:chOff x="7941600" y="7740364"/>
              <a:chExt cx="6440917" cy="452295"/>
            </a:xfrm>
            <a:solidFill>
              <a:schemeClr val="bg2"/>
            </a:solidFill>
          </p:grpSpPr>
          <p:sp>
            <p:nvSpPr>
              <p:cNvPr id="75" name="Freeform 74">
                <a:extLst>
                  <a:ext uri="{FF2B5EF4-FFF2-40B4-BE49-F238E27FC236}">
                    <a16:creationId xmlns:a16="http://schemas.microsoft.com/office/drawing/2014/main" id="{E746E848-D663-A04A-8935-DEE65154BADA}"/>
                  </a:ext>
                </a:extLst>
              </p:cNvPr>
              <p:cNvSpPr/>
              <p:nvPr/>
            </p:nvSpPr>
            <p:spPr>
              <a:xfrm>
                <a:off x="7941600" y="7740364"/>
                <a:ext cx="601211" cy="443649"/>
              </a:xfrm>
              <a:custGeom>
                <a:avLst/>
                <a:gdLst>
                  <a:gd name="connsiteX0" fmla="*/ 120623 w 601211"/>
                  <a:gd name="connsiteY0" fmla="*/ 443650 h 443649"/>
                  <a:gd name="connsiteX1" fmla="*/ 0 w 601211"/>
                  <a:gd name="connsiteY1" fmla="*/ 0 h 443649"/>
                  <a:gd name="connsiteX2" fmla="*/ 135951 w 601211"/>
                  <a:gd name="connsiteY2" fmla="*/ 0 h 443649"/>
                  <a:gd name="connsiteX3" fmla="*/ 178602 w 601211"/>
                  <a:gd name="connsiteY3" fmla="*/ 207480 h 443649"/>
                  <a:gd name="connsiteX4" fmla="*/ 188599 w 601211"/>
                  <a:gd name="connsiteY4" fmla="*/ 271985 h 443649"/>
                  <a:gd name="connsiteX5" fmla="*/ 198595 w 601211"/>
                  <a:gd name="connsiteY5" fmla="*/ 207480 h 443649"/>
                  <a:gd name="connsiteX6" fmla="*/ 241246 w 601211"/>
                  <a:gd name="connsiteY6" fmla="*/ 0 h 443649"/>
                  <a:gd name="connsiteX7" fmla="*/ 361203 w 601211"/>
                  <a:gd name="connsiteY7" fmla="*/ 0 h 443649"/>
                  <a:gd name="connsiteX8" fmla="*/ 404521 w 601211"/>
                  <a:gd name="connsiteY8" fmla="*/ 205485 h 443649"/>
                  <a:gd name="connsiteX9" fmla="*/ 407853 w 601211"/>
                  <a:gd name="connsiteY9" fmla="*/ 224105 h 443649"/>
                  <a:gd name="connsiteX10" fmla="*/ 410519 w 601211"/>
                  <a:gd name="connsiteY10" fmla="*/ 240065 h 443649"/>
                  <a:gd name="connsiteX11" fmla="*/ 414517 w 601211"/>
                  <a:gd name="connsiteY11" fmla="*/ 271985 h 443649"/>
                  <a:gd name="connsiteX12" fmla="*/ 419182 w 601211"/>
                  <a:gd name="connsiteY12" fmla="*/ 240065 h 443649"/>
                  <a:gd name="connsiteX13" fmla="*/ 421848 w 601211"/>
                  <a:gd name="connsiteY13" fmla="*/ 224105 h 443649"/>
                  <a:gd name="connsiteX14" fmla="*/ 425180 w 601211"/>
                  <a:gd name="connsiteY14" fmla="*/ 205485 h 443649"/>
                  <a:gd name="connsiteX15" fmla="*/ 466499 w 601211"/>
                  <a:gd name="connsiteY15" fmla="*/ 0 h 443649"/>
                  <a:gd name="connsiteX16" fmla="*/ 601212 w 601211"/>
                  <a:gd name="connsiteY16" fmla="*/ 0 h 443649"/>
                  <a:gd name="connsiteX17" fmla="*/ 486587 w 601211"/>
                  <a:gd name="connsiteY17" fmla="*/ 443650 h 443649"/>
                  <a:gd name="connsiteX18" fmla="*/ 351873 w 601211"/>
                  <a:gd name="connsiteY18" fmla="*/ 443650 h 443649"/>
                  <a:gd name="connsiteX19" fmla="*/ 314553 w 601211"/>
                  <a:gd name="connsiteY19" fmla="*/ 252130 h 443649"/>
                  <a:gd name="connsiteX20" fmla="*/ 302558 w 601211"/>
                  <a:gd name="connsiteY20" fmla="*/ 167010 h 443649"/>
                  <a:gd name="connsiteX21" fmla="*/ 289229 w 601211"/>
                  <a:gd name="connsiteY21" fmla="*/ 252130 h 443649"/>
                  <a:gd name="connsiteX22" fmla="*/ 251909 w 601211"/>
                  <a:gd name="connsiteY22" fmla="*/ 443650 h 443649"/>
                  <a:gd name="connsiteX23" fmla="*/ 120623 w 601211"/>
                  <a:gd name="connsiteY23"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1211" h="443649">
                    <a:moveTo>
                      <a:pt x="120623" y="443650"/>
                    </a:moveTo>
                    <a:lnTo>
                      <a:pt x="0" y="0"/>
                    </a:lnTo>
                    <a:lnTo>
                      <a:pt x="135951" y="0"/>
                    </a:lnTo>
                    <a:lnTo>
                      <a:pt x="178602" y="207480"/>
                    </a:lnTo>
                    <a:cubicBezTo>
                      <a:pt x="181934" y="221445"/>
                      <a:pt x="186599" y="252700"/>
                      <a:pt x="188599" y="271985"/>
                    </a:cubicBezTo>
                    <a:cubicBezTo>
                      <a:pt x="189932" y="254030"/>
                      <a:pt x="194597" y="226100"/>
                      <a:pt x="198595" y="207480"/>
                    </a:cubicBezTo>
                    <a:lnTo>
                      <a:pt x="241246" y="0"/>
                    </a:lnTo>
                    <a:lnTo>
                      <a:pt x="361203" y="0"/>
                    </a:lnTo>
                    <a:lnTo>
                      <a:pt x="404521" y="205485"/>
                    </a:lnTo>
                    <a:cubicBezTo>
                      <a:pt x="404521" y="205485"/>
                      <a:pt x="405854" y="215460"/>
                      <a:pt x="407853" y="224105"/>
                    </a:cubicBezTo>
                    <a:cubicBezTo>
                      <a:pt x="408519" y="228760"/>
                      <a:pt x="409186" y="234080"/>
                      <a:pt x="410519" y="240065"/>
                    </a:cubicBezTo>
                    <a:cubicBezTo>
                      <a:pt x="413184" y="256025"/>
                      <a:pt x="413184" y="257355"/>
                      <a:pt x="414517" y="271985"/>
                    </a:cubicBezTo>
                    <a:cubicBezTo>
                      <a:pt x="416517" y="257355"/>
                      <a:pt x="416517" y="257355"/>
                      <a:pt x="419182" y="240065"/>
                    </a:cubicBezTo>
                    <a:cubicBezTo>
                      <a:pt x="420515" y="235410"/>
                      <a:pt x="421182" y="230090"/>
                      <a:pt x="421848" y="224105"/>
                    </a:cubicBezTo>
                    <a:cubicBezTo>
                      <a:pt x="423847" y="215460"/>
                      <a:pt x="425180" y="206150"/>
                      <a:pt x="425180" y="205485"/>
                    </a:cubicBezTo>
                    <a:lnTo>
                      <a:pt x="466499" y="0"/>
                    </a:lnTo>
                    <a:lnTo>
                      <a:pt x="601212" y="0"/>
                    </a:lnTo>
                    <a:lnTo>
                      <a:pt x="486587" y="443650"/>
                    </a:lnTo>
                    <a:lnTo>
                      <a:pt x="351873" y="443650"/>
                    </a:lnTo>
                    <a:lnTo>
                      <a:pt x="314553" y="252130"/>
                    </a:lnTo>
                    <a:cubicBezTo>
                      <a:pt x="309888" y="228855"/>
                      <a:pt x="305223" y="195605"/>
                      <a:pt x="302558" y="167010"/>
                    </a:cubicBezTo>
                    <a:cubicBezTo>
                      <a:pt x="299226" y="200260"/>
                      <a:pt x="295893" y="220875"/>
                      <a:pt x="289229" y="252130"/>
                    </a:cubicBezTo>
                    <a:lnTo>
                      <a:pt x="251909" y="443650"/>
                    </a:lnTo>
                    <a:lnTo>
                      <a:pt x="120623"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6" name="Freeform 75">
                <a:extLst>
                  <a:ext uri="{FF2B5EF4-FFF2-40B4-BE49-F238E27FC236}">
                    <a16:creationId xmlns:a16="http://schemas.microsoft.com/office/drawing/2014/main" id="{53D0B0E0-ACF4-4F44-A4E1-9C53D485CB0D}"/>
                  </a:ext>
                </a:extLst>
              </p:cNvPr>
              <p:cNvSpPr/>
              <p:nvPr/>
            </p:nvSpPr>
            <p:spPr>
              <a:xfrm>
                <a:off x="8568041" y="7740364"/>
                <a:ext cx="332546" cy="443649"/>
              </a:xfrm>
              <a:custGeom>
                <a:avLst/>
                <a:gdLst>
                  <a:gd name="connsiteX0" fmla="*/ 0 w 332546"/>
                  <a:gd name="connsiteY0" fmla="*/ 0 h 443649"/>
                  <a:gd name="connsiteX1" fmla="*/ 124622 w 332546"/>
                  <a:gd name="connsiteY1" fmla="*/ 0 h 443649"/>
                  <a:gd name="connsiteX2" fmla="*/ 124622 w 332546"/>
                  <a:gd name="connsiteY2" fmla="*/ 148960 h 443649"/>
                  <a:gd name="connsiteX3" fmla="*/ 215922 w 332546"/>
                  <a:gd name="connsiteY3" fmla="*/ 113715 h 443649"/>
                  <a:gd name="connsiteX4" fmla="*/ 300558 w 332546"/>
                  <a:gd name="connsiteY4" fmla="*/ 144305 h 443649"/>
                  <a:gd name="connsiteX5" fmla="*/ 332547 w 332546"/>
                  <a:gd name="connsiteY5" fmla="*/ 232085 h 443649"/>
                  <a:gd name="connsiteX6" fmla="*/ 332547 w 332546"/>
                  <a:gd name="connsiteY6" fmla="*/ 443555 h 443649"/>
                  <a:gd name="connsiteX7" fmla="*/ 207925 w 332546"/>
                  <a:gd name="connsiteY7" fmla="*/ 443555 h 443649"/>
                  <a:gd name="connsiteX8" fmla="*/ 207925 w 332546"/>
                  <a:gd name="connsiteY8" fmla="*/ 266095 h 443649"/>
                  <a:gd name="connsiteX9" fmla="*/ 167939 w 332546"/>
                  <a:gd name="connsiteY9" fmla="*/ 213560 h 443649"/>
                  <a:gd name="connsiteX10" fmla="*/ 124622 w 332546"/>
                  <a:gd name="connsiteY10" fmla="*/ 266095 h 443649"/>
                  <a:gd name="connsiteX11" fmla="*/ 124622 w 332546"/>
                  <a:gd name="connsiteY11" fmla="*/ 443650 h 443649"/>
                  <a:gd name="connsiteX12" fmla="*/ 0 w 332546"/>
                  <a:gd name="connsiteY12" fmla="*/ 443650 h 443649"/>
                  <a:gd name="connsiteX13" fmla="*/ 0 w 332546"/>
                  <a:gd name="connsiteY13"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46" h="443649">
                    <a:moveTo>
                      <a:pt x="0" y="0"/>
                    </a:moveTo>
                    <a:lnTo>
                      <a:pt x="124622" y="0"/>
                    </a:lnTo>
                    <a:lnTo>
                      <a:pt x="124622" y="148960"/>
                    </a:lnTo>
                    <a:cubicBezTo>
                      <a:pt x="157943" y="123025"/>
                      <a:pt x="181268" y="113715"/>
                      <a:pt x="215922" y="113715"/>
                    </a:cubicBezTo>
                    <a:cubicBezTo>
                      <a:pt x="250576" y="113715"/>
                      <a:pt x="279233" y="124355"/>
                      <a:pt x="300558" y="144305"/>
                    </a:cubicBezTo>
                    <a:cubicBezTo>
                      <a:pt x="323217" y="166250"/>
                      <a:pt x="332547" y="191520"/>
                      <a:pt x="332547" y="232085"/>
                    </a:cubicBezTo>
                    <a:lnTo>
                      <a:pt x="332547" y="443555"/>
                    </a:lnTo>
                    <a:lnTo>
                      <a:pt x="207925" y="443555"/>
                    </a:lnTo>
                    <a:lnTo>
                      <a:pt x="207925" y="266095"/>
                    </a:lnTo>
                    <a:cubicBezTo>
                      <a:pt x="207925" y="230850"/>
                      <a:pt x="194597" y="213560"/>
                      <a:pt x="167939" y="213560"/>
                    </a:cubicBezTo>
                    <a:cubicBezTo>
                      <a:pt x="139950" y="213560"/>
                      <a:pt x="124622" y="232180"/>
                      <a:pt x="124622" y="266095"/>
                    </a:cubicBezTo>
                    <a:lnTo>
                      <a:pt x="124622" y="443650"/>
                    </a:lnTo>
                    <a:lnTo>
                      <a:pt x="0" y="443650"/>
                    </a:lnTo>
                    <a:lnTo>
                      <a:pt x="0"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7" name="Freeform 76">
                <a:extLst>
                  <a:ext uri="{FF2B5EF4-FFF2-40B4-BE49-F238E27FC236}">
                    <a16:creationId xmlns:a16="http://schemas.microsoft.com/office/drawing/2014/main" id="{79C975DF-1113-E147-B279-F634E90FBA2A}"/>
                  </a:ext>
                </a:extLst>
              </p:cNvPr>
              <p:cNvSpPr/>
              <p:nvPr/>
            </p:nvSpPr>
            <p:spPr>
              <a:xfrm>
                <a:off x="8946571"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4"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8" name="Freeform 77">
                <a:extLst>
                  <a:ext uri="{FF2B5EF4-FFF2-40B4-BE49-F238E27FC236}">
                    <a16:creationId xmlns:a16="http://schemas.microsoft.com/office/drawing/2014/main" id="{E8A6F354-4CCC-E64F-BEA1-3EC560877793}"/>
                  </a:ext>
                </a:extLst>
              </p:cNvPr>
              <p:cNvSpPr/>
              <p:nvPr/>
            </p:nvSpPr>
            <p:spPr>
              <a:xfrm>
                <a:off x="9316438"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79" name="Freeform 78">
                <a:extLst>
                  <a:ext uri="{FF2B5EF4-FFF2-40B4-BE49-F238E27FC236}">
                    <a16:creationId xmlns:a16="http://schemas.microsoft.com/office/drawing/2014/main" id="{6AFA52DF-161E-0D47-8839-13B734551811}"/>
                  </a:ext>
                </a:extLst>
              </p:cNvPr>
              <p:cNvSpPr/>
              <p:nvPr/>
            </p:nvSpPr>
            <p:spPr>
              <a:xfrm>
                <a:off x="9571013"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2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2"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0" name="Freeform 79">
                <a:extLst>
                  <a:ext uri="{FF2B5EF4-FFF2-40B4-BE49-F238E27FC236}">
                    <a16:creationId xmlns:a16="http://schemas.microsoft.com/office/drawing/2014/main" id="{C121C5A7-85F7-F44B-B472-7B7EDDF73C43}"/>
                  </a:ext>
                </a:extLst>
              </p:cNvPr>
              <p:cNvSpPr/>
              <p:nvPr/>
            </p:nvSpPr>
            <p:spPr>
              <a:xfrm>
                <a:off x="9934882" y="7862820"/>
                <a:ext cx="355205" cy="321194"/>
              </a:xfrm>
              <a:custGeom>
                <a:avLst/>
                <a:gdLst>
                  <a:gd name="connsiteX0" fmla="*/ 109294 w 355205"/>
                  <a:gd name="connsiteY0" fmla="*/ 321195 h 321194"/>
                  <a:gd name="connsiteX1" fmla="*/ 0 w 355205"/>
                  <a:gd name="connsiteY1" fmla="*/ 0 h 321194"/>
                  <a:gd name="connsiteX2" fmla="*/ 123289 w 355205"/>
                  <a:gd name="connsiteY2" fmla="*/ 0 h 321194"/>
                  <a:gd name="connsiteX3" fmla="*/ 163275 w 355205"/>
                  <a:gd name="connsiteY3" fmla="*/ 131670 h 321194"/>
                  <a:gd name="connsiteX4" fmla="*/ 177269 w 355205"/>
                  <a:gd name="connsiteY4" fmla="*/ 185535 h 321194"/>
                  <a:gd name="connsiteX5" fmla="*/ 190598 w 355205"/>
                  <a:gd name="connsiteY5" fmla="*/ 131670 h 321194"/>
                  <a:gd name="connsiteX6" fmla="*/ 229251 w 355205"/>
                  <a:gd name="connsiteY6" fmla="*/ 0 h 321194"/>
                  <a:gd name="connsiteX7" fmla="*/ 355205 w 355205"/>
                  <a:gd name="connsiteY7" fmla="*/ 0 h 321194"/>
                  <a:gd name="connsiteX8" fmla="*/ 246578 w 355205"/>
                  <a:gd name="connsiteY8" fmla="*/ 321195 h 321194"/>
                  <a:gd name="connsiteX9" fmla="*/ 109294 w 355205"/>
                  <a:gd name="connsiteY9" fmla="*/ 321195 h 3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05" h="321194">
                    <a:moveTo>
                      <a:pt x="109294" y="321195"/>
                    </a:moveTo>
                    <a:lnTo>
                      <a:pt x="0" y="0"/>
                    </a:lnTo>
                    <a:lnTo>
                      <a:pt x="123289" y="0"/>
                    </a:lnTo>
                    <a:lnTo>
                      <a:pt x="163275" y="131670"/>
                    </a:lnTo>
                    <a:cubicBezTo>
                      <a:pt x="169272" y="150290"/>
                      <a:pt x="173937" y="168910"/>
                      <a:pt x="177269" y="185535"/>
                    </a:cubicBezTo>
                    <a:cubicBezTo>
                      <a:pt x="180602" y="169575"/>
                      <a:pt x="184600" y="152285"/>
                      <a:pt x="190598" y="131670"/>
                    </a:cubicBezTo>
                    <a:lnTo>
                      <a:pt x="229251" y="0"/>
                    </a:lnTo>
                    <a:lnTo>
                      <a:pt x="355205" y="0"/>
                    </a:lnTo>
                    <a:lnTo>
                      <a:pt x="246578" y="321195"/>
                    </a:lnTo>
                    <a:lnTo>
                      <a:pt x="109294" y="32119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1" name="Freeform 80">
                <a:extLst>
                  <a:ext uri="{FF2B5EF4-FFF2-40B4-BE49-F238E27FC236}">
                    <a16:creationId xmlns:a16="http://schemas.microsoft.com/office/drawing/2014/main" id="{378D7594-0928-E34F-8B30-6652ECCFC89B}"/>
                  </a:ext>
                </a:extLst>
              </p:cNvPr>
              <p:cNvSpPr/>
              <p:nvPr/>
            </p:nvSpPr>
            <p:spPr>
              <a:xfrm>
                <a:off x="10293419"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9 w 359870"/>
                  <a:gd name="connsiteY10" fmla="*/ 132335 h 338484"/>
                  <a:gd name="connsiteX11" fmla="*/ 179269 w 359870"/>
                  <a:gd name="connsiteY11" fmla="*/ 81795 h 338484"/>
                  <a:gd name="connsiteX12" fmla="*/ 123955 w 359870"/>
                  <a:gd name="connsiteY12" fmla="*/ 132335 h 338484"/>
                  <a:gd name="connsiteX13" fmla="*/ 235249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2" y="252035"/>
                      <a:pt x="187932" y="252035"/>
                    </a:cubicBezTo>
                    <a:cubicBezTo>
                      <a:pt x="209258" y="252035"/>
                      <a:pt x="223919" y="245385"/>
                      <a:pt x="233249" y="230755"/>
                    </a:cubicBezTo>
                    <a:lnTo>
                      <a:pt x="354539" y="230755"/>
                    </a:lnTo>
                    <a:cubicBezTo>
                      <a:pt x="339877" y="293265"/>
                      <a:pt x="267903" y="338485"/>
                      <a:pt x="183934" y="338485"/>
                    </a:cubicBezTo>
                    <a:cubicBezTo>
                      <a:pt x="75306" y="338485"/>
                      <a:pt x="0" y="268660"/>
                      <a:pt x="0" y="168245"/>
                    </a:cubicBezTo>
                    <a:cubicBezTo>
                      <a:pt x="0" y="71155"/>
                      <a:pt x="75973" y="0"/>
                      <a:pt x="180601" y="0"/>
                    </a:cubicBezTo>
                    <a:cubicBezTo>
                      <a:pt x="253908" y="0"/>
                      <a:pt x="313887" y="35245"/>
                      <a:pt x="342543" y="96425"/>
                    </a:cubicBezTo>
                    <a:cubicBezTo>
                      <a:pt x="354539" y="123025"/>
                      <a:pt x="359870" y="151620"/>
                      <a:pt x="359870" y="198835"/>
                    </a:cubicBezTo>
                    <a:lnTo>
                      <a:pt x="123289" y="198835"/>
                    </a:lnTo>
                    <a:close/>
                    <a:moveTo>
                      <a:pt x="235249" y="132335"/>
                    </a:moveTo>
                    <a:cubicBezTo>
                      <a:pt x="231916" y="101080"/>
                      <a:pt x="210591" y="81795"/>
                      <a:pt x="179269" y="81795"/>
                    </a:cubicBezTo>
                    <a:cubicBezTo>
                      <a:pt x="148613" y="81795"/>
                      <a:pt x="127288" y="101080"/>
                      <a:pt x="123955"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2" name="Freeform 81">
                <a:extLst>
                  <a:ext uri="{FF2B5EF4-FFF2-40B4-BE49-F238E27FC236}">
                    <a16:creationId xmlns:a16="http://schemas.microsoft.com/office/drawing/2014/main" id="{5CE04938-4E15-F34B-91FA-DA2E7DE5586F}"/>
                  </a:ext>
                </a:extLst>
              </p:cNvPr>
              <p:cNvSpPr/>
              <p:nvPr/>
            </p:nvSpPr>
            <p:spPr>
              <a:xfrm>
                <a:off x="10697274" y="7854175"/>
                <a:ext cx="251909" cy="329839"/>
              </a:xfrm>
              <a:custGeom>
                <a:avLst/>
                <a:gdLst>
                  <a:gd name="connsiteX0" fmla="*/ 117958 w 251909"/>
                  <a:gd name="connsiteY0" fmla="*/ 8645 h 329839"/>
                  <a:gd name="connsiteX1" fmla="*/ 117958 w 251909"/>
                  <a:gd name="connsiteY1" fmla="*/ 53200 h 329839"/>
                  <a:gd name="connsiteX2" fmla="*/ 213256 w 251909"/>
                  <a:gd name="connsiteY2" fmla="*/ 0 h 329839"/>
                  <a:gd name="connsiteX3" fmla="*/ 251909 w 251909"/>
                  <a:gd name="connsiteY3" fmla="*/ 6650 h 329839"/>
                  <a:gd name="connsiteX4" fmla="*/ 251909 w 251909"/>
                  <a:gd name="connsiteY4" fmla="*/ 117705 h 329839"/>
                  <a:gd name="connsiteX5" fmla="*/ 201927 w 251909"/>
                  <a:gd name="connsiteY5" fmla="*/ 106400 h 329839"/>
                  <a:gd name="connsiteX6" fmla="*/ 124622 w 251909"/>
                  <a:gd name="connsiteY6" fmla="*/ 183540 h 329839"/>
                  <a:gd name="connsiteX7" fmla="*/ 124622 w 251909"/>
                  <a:gd name="connsiteY7" fmla="*/ 329840 h 329839"/>
                  <a:gd name="connsiteX8" fmla="*/ 0 w 251909"/>
                  <a:gd name="connsiteY8" fmla="*/ 329840 h 329839"/>
                  <a:gd name="connsiteX9" fmla="*/ 0 w 251909"/>
                  <a:gd name="connsiteY9" fmla="*/ 8645 h 329839"/>
                  <a:gd name="connsiteX10" fmla="*/ 117958 w 251909"/>
                  <a:gd name="connsiteY10" fmla="*/ 8645 h 32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39">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3" name="Freeform 82">
                <a:extLst>
                  <a:ext uri="{FF2B5EF4-FFF2-40B4-BE49-F238E27FC236}">
                    <a16:creationId xmlns:a16="http://schemas.microsoft.com/office/drawing/2014/main" id="{BF94E3AC-0943-3745-9609-65A31E6F0011}"/>
                  </a:ext>
                </a:extLst>
              </p:cNvPr>
              <p:cNvSpPr/>
              <p:nvPr/>
            </p:nvSpPr>
            <p:spPr>
              <a:xfrm>
                <a:off x="11179005" y="7740365"/>
                <a:ext cx="137950" cy="443555"/>
              </a:xfrm>
              <a:custGeom>
                <a:avLst/>
                <a:gdLst>
                  <a:gd name="connsiteX0" fmla="*/ 0 w 137950"/>
                  <a:gd name="connsiteY0" fmla="*/ 0 h 443555"/>
                  <a:gd name="connsiteX1" fmla="*/ 137950 w 137950"/>
                  <a:gd name="connsiteY1" fmla="*/ 0 h 443555"/>
                  <a:gd name="connsiteX2" fmla="*/ 137950 w 137950"/>
                  <a:gd name="connsiteY2" fmla="*/ 443555 h 443555"/>
                  <a:gd name="connsiteX3" fmla="*/ 0 w 137950"/>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37950" h="443555">
                    <a:moveTo>
                      <a:pt x="0" y="0"/>
                    </a:moveTo>
                    <a:lnTo>
                      <a:pt x="137950" y="0"/>
                    </a:lnTo>
                    <a:lnTo>
                      <a:pt x="137950"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4" name="Freeform 83">
                <a:extLst>
                  <a:ext uri="{FF2B5EF4-FFF2-40B4-BE49-F238E27FC236}">
                    <a16:creationId xmlns:a16="http://schemas.microsoft.com/office/drawing/2014/main" id="{4FA4FDE7-4589-7649-95ED-638B71F87CE1}"/>
                  </a:ext>
                </a:extLst>
              </p:cNvPr>
              <p:cNvSpPr/>
              <p:nvPr/>
            </p:nvSpPr>
            <p:spPr>
              <a:xfrm>
                <a:off x="11350372" y="7766965"/>
                <a:ext cx="229917" cy="421609"/>
              </a:xfrm>
              <a:custGeom>
                <a:avLst/>
                <a:gdLst>
                  <a:gd name="connsiteX0" fmla="*/ 229917 w 229917"/>
                  <a:gd name="connsiteY0" fmla="*/ 173565 h 421609"/>
                  <a:gd name="connsiteX1" fmla="*/ 171938 w 229917"/>
                  <a:gd name="connsiteY1" fmla="*/ 173565 h 421609"/>
                  <a:gd name="connsiteX2" fmla="*/ 171938 w 229917"/>
                  <a:gd name="connsiteY2" fmla="*/ 292600 h 421609"/>
                  <a:gd name="connsiteX3" fmla="*/ 205259 w 229917"/>
                  <a:gd name="connsiteY3" fmla="*/ 331170 h 421609"/>
                  <a:gd name="connsiteX4" fmla="*/ 229917 w 229917"/>
                  <a:gd name="connsiteY4" fmla="*/ 327180 h 421609"/>
                  <a:gd name="connsiteX5" fmla="*/ 229917 w 229917"/>
                  <a:gd name="connsiteY5" fmla="*/ 411635 h 421609"/>
                  <a:gd name="connsiteX6" fmla="*/ 161275 w 229917"/>
                  <a:gd name="connsiteY6" fmla="*/ 421610 h 421609"/>
                  <a:gd name="connsiteX7" fmla="*/ 74640 w 229917"/>
                  <a:gd name="connsiteY7" fmla="*/ 389025 h 421609"/>
                  <a:gd name="connsiteX8" fmla="*/ 47316 w 229917"/>
                  <a:gd name="connsiteY8" fmla="*/ 297255 h 421609"/>
                  <a:gd name="connsiteX9" fmla="*/ 47316 w 229917"/>
                  <a:gd name="connsiteY9" fmla="*/ 173565 h 421609"/>
                  <a:gd name="connsiteX10" fmla="*/ 0 w 229917"/>
                  <a:gd name="connsiteY10" fmla="*/ 173565 h 421609"/>
                  <a:gd name="connsiteX11" fmla="*/ 0 w 229917"/>
                  <a:gd name="connsiteY11" fmla="*/ 95760 h 421609"/>
                  <a:gd name="connsiteX12" fmla="*/ 47316 w 229917"/>
                  <a:gd name="connsiteY12" fmla="*/ 95760 h 421609"/>
                  <a:gd name="connsiteX13" fmla="*/ 47316 w 229917"/>
                  <a:gd name="connsiteY13" fmla="*/ 0 h 421609"/>
                  <a:gd name="connsiteX14" fmla="*/ 171938 w 229917"/>
                  <a:gd name="connsiteY14" fmla="*/ 0 h 421609"/>
                  <a:gd name="connsiteX15" fmla="*/ 171938 w 229917"/>
                  <a:gd name="connsiteY15" fmla="*/ 95760 h 421609"/>
                  <a:gd name="connsiteX16" fmla="*/ 229917 w 229917"/>
                  <a:gd name="connsiteY16" fmla="*/ 95760 h 421609"/>
                  <a:gd name="connsiteX17" fmla="*/ 229917 w 229917"/>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5" name="Freeform 84">
                <a:extLst>
                  <a:ext uri="{FF2B5EF4-FFF2-40B4-BE49-F238E27FC236}">
                    <a16:creationId xmlns:a16="http://schemas.microsoft.com/office/drawing/2014/main" id="{2E5905DB-9BC5-704A-BC3C-C16970212E9B}"/>
                  </a:ext>
                </a:extLst>
              </p:cNvPr>
              <p:cNvSpPr/>
              <p:nvPr/>
            </p:nvSpPr>
            <p:spPr>
              <a:xfrm>
                <a:off x="11767459" y="7740364"/>
                <a:ext cx="392620" cy="443649"/>
              </a:xfrm>
              <a:custGeom>
                <a:avLst/>
                <a:gdLst>
                  <a:gd name="connsiteX0" fmla="*/ 265238 w 392620"/>
                  <a:gd name="connsiteY0" fmla="*/ 443650 h 443649"/>
                  <a:gd name="connsiteX1" fmla="*/ 127287 w 392620"/>
                  <a:gd name="connsiteY1" fmla="*/ 443650 h 443649"/>
                  <a:gd name="connsiteX2" fmla="*/ 127287 w 392620"/>
                  <a:gd name="connsiteY2" fmla="*/ 117705 h 443649"/>
                  <a:gd name="connsiteX3" fmla="*/ 0 w 392620"/>
                  <a:gd name="connsiteY3" fmla="*/ 117705 h 443649"/>
                  <a:gd name="connsiteX4" fmla="*/ 0 w 392620"/>
                  <a:gd name="connsiteY4" fmla="*/ 0 h 443649"/>
                  <a:gd name="connsiteX5" fmla="*/ 392620 w 392620"/>
                  <a:gd name="connsiteY5" fmla="*/ 0 h 443649"/>
                  <a:gd name="connsiteX6" fmla="*/ 392620 w 392620"/>
                  <a:gd name="connsiteY6" fmla="*/ 117705 h 443649"/>
                  <a:gd name="connsiteX7" fmla="*/ 265238 w 392620"/>
                  <a:gd name="connsiteY7" fmla="*/ 11770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620" h="443649">
                    <a:moveTo>
                      <a:pt x="265238" y="443650"/>
                    </a:moveTo>
                    <a:lnTo>
                      <a:pt x="127287" y="443650"/>
                    </a:lnTo>
                    <a:lnTo>
                      <a:pt x="127287" y="117705"/>
                    </a:lnTo>
                    <a:lnTo>
                      <a:pt x="0" y="117705"/>
                    </a:lnTo>
                    <a:lnTo>
                      <a:pt x="0" y="0"/>
                    </a:lnTo>
                    <a:lnTo>
                      <a:pt x="392620" y="0"/>
                    </a:lnTo>
                    <a:lnTo>
                      <a:pt x="392620" y="117705"/>
                    </a:lnTo>
                    <a:lnTo>
                      <a:pt x="265238" y="11770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6" name="Freeform 85">
                <a:extLst>
                  <a:ext uri="{FF2B5EF4-FFF2-40B4-BE49-F238E27FC236}">
                    <a16:creationId xmlns:a16="http://schemas.microsoft.com/office/drawing/2014/main" id="{CBA7B093-35C2-5049-9DF1-2D37A5A97FCD}"/>
                  </a:ext>
                </a:extLst>
              </p:cNvPr>
              <p:cNvSpPr/>
              <p:nvPr/>
            </p:nvSpPr>
            <p:spPr>
              <a:xfrm>
                <a:off x="12133327" y="7854175"/>
                <a:ext cx="350540" cy="338484"/>
              </a:xfrm>
              <a:custGeom>
                <a:avLst/>
                <a:gdLst>
                  <a:gd name="connsiteX0" fmla="*/ 14661 w 350540"/>
                  <a:gd name="connsiteY0" fmla="*/ 124355 h 338484"/>
                  <a:gd name="connsiteX1" fmla="*/ 47316 w 350540"/>
                  <a:gd name="connsiteY1" fmla="*/ 42560 h 338484"/>
                  <a:gd name="connsiteX2" fmla="*/ 179269 w 350540"/>
                  <a:gd name="connsiteY2" fmla="*/ 0 h 338484"/>
                  <a:gd name="connsiteX3" fmla="*/ 299225 w 350540"/>
                  <a:gd name="connsiteY3" fmla="*/ 32585 h 338484"/>
                  <a:gd name="connsiteX4" fmla="*/ 340544 w 350540"/>
                  <a:gd name="connsiteY4" fmla="*/ 131005 h 338484"/>
                  <a:gd name="connsiteX5" fmla="*/ 340544 w 350540"/>
                  <a:gd name="connsiteY5" fmla="*/ 281960 h 338484"/>
                  <a:gd name="connsiteX6" fmla="*/ 350540 w 350540"/>
                  <a:gd name="connsiteY6" fmla="*/ 329840 h 338484"/>
                  <a:gd name="connsiteX7" fmla="*/ 229917 w 350540"/>
                  <a:gd name="connsiteY7" fmla="*/ 329840 h 338484"/>
                  <a:gd name="connsiteX8" fmla="*/ 219254 w 350540"/>
                  <a:gd name="connsiteY8" fmla="*/ 297255 h 338484"/>
                  <a:gd name="connsiteX9" fmla="*/ 111960 w 350540"/>
                  <a:gd name="connsiteY9" fmla="*/ 338485 h 338484"/>
                  <a:gd name="connsiteX10" fmla="*/ 0 w 350540"/>
                  <a:gd name="connsiteY10" fmla="*/ 244720 h 338484"/>
                  <a:gd name="connsiteX11" fmla="*/ 89968 w 350540"/>
                  <a:gd name="connsiteY11" fmla="*/ 148960 h 338484"/>
                  <a:gd name="connsiteX12" fmla="*/ 183267 w 350540"/>
                  <a:gd name="connsiteY12" fmla="*/ 131005 h 338484"/>
                  <a:gd name="connsiteX13" fmla="*/ 218588 w 350540"/>
                  <a:gd name="connsiteY13" fmla="*/ 107065 h 338484"/>
                  <a:gd name="connsiteX14" fmla="*/ 176603 w 350540"/>
                  <a:gd name="connsiteY14" fmla="*/ 79800 h 338484"/>
                  <a:gd name="connsiteX15" fmla="*/ 128620 w 350540"/>
                  <a:gd name="connsiteY15" fmla="*/ 119700 h 338484"/>
                  <a:gd name="connsiteX16" fmla="*/ 128620 w 350540"/>
                  <a:gd name="connsiteY16" fmla="*/ 124355 h 338484"/>
                  <a:gd name="connsiteX17" fmla="*/ 14661 w 350540"/>
                  <a:gd name="connsiteY17" fmla="*/ 124355 h 338484"/>
                  <a:gd name="connsiteX18" fmla="*/ 167273 w 350540"/>
                  <a:gd name="connsiteY18" fmla="*/ 204155 h 338484"/>
                  <a:gd name="connsiteX19" fmla="*/ 131286 w 350540"/>
                  <a:gd name="connsiteY19" fmla="*/ 217455 h 338484"/>
                  <a:gd name="connsiteX20" fmla="*/ 119290 w 350540"/>
                  <a:gd name="connsiteY20" fmla="*/ 238070 h 338484"/>
                  <a:gd name="connsiteX21" fmla="*/ 154611 w 350540"/>
                  <a:gd name="connsiteY21" fmla="*/ 265335 h 338484"/>
                  <a:gd name="connsiteX22" fmla="*/ 220587 w 350540"/>
                  <a:gd name="connsiteY22" fmla="*/ 202825 h 338484"/>
                  <a:gd name="connsiteX23" fmla="*/ 220587 w 350540"/>
                  <a:gd name="connsiteY23" fmla="*/ 185535 h 338484"/>
                  <a:gd name="connsiteX24" fmla="*/ 167273 w 350540"/>
                  <a:gd name="connsiteY24" fmla="*/ 20415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4">
                    <a:moveTo>
                      <a:pt x="14661" y="124355"/>
                    </a:moveTo>
                    <a:cubicBezTo>
                      <a:pt x="17994"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273" y="204155"/>
                    </a:moveTo>
                    <a:cubicBezTo>
                      <a:pt x="138617" y="213465"/>
                      <a:pt x="138617" y="213465"/>
                      <a:pt x="131286" y="217455"/>
                    </a:cubicBezTo>
                    <a:cubicBezTo>
                      <a:pt x="123289" y="222110"/>
                      <a:pt x="119290" y="229425"/>
                      <a:pt x="119290" y="238070"/>
                    </a:cubicBezTo>
                    <a:cubicBezTo>
                      <a:pt x="119290" y="254695"/>
                      <a:pt x="133285" y="265335"/>
                      <a:pt x="154611" y="265335"/>
                    </a:cubicBezTo>
                    <a:cubicBezTo>
                      <a:pt x="193264" y="265335"/>
                      <a:pt x="220587" y="239400"/>
                      <a:pt x="220587" y="202825"/>
                    </a:cubicBezTo>
                    <a:lnTo>
                      <a:pt x="220587" y="185535"/>
                    </a:lnTo>
                    <a:lnTo>
                      <a:pt x="167273"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7" name="Freeform 86">
                <a:extLst>
                  <a:ext uri="{FF2B5EF4-FFF2-40B4-BE49-F238E27FC236}">
                    <a16:creationId xmlns:a16="http://schemas.microsoft.com/office/drawing/2014/main" id="{239873C4-ABC3-7944-B032-9A2D0F311E68}"/>
                  </a:ext>
                </a:extLst>
              </p:cNvPr>
              <p:cNvSpPr/>
              <p:nvPr/>
            </p:nvSpPr>
            <p:spPr>
              <a:xfrm>
                <a:off x="12519855" y="7740364"/>
                <a:ext cx="361298" cy="443649"/>
              </a:xfrm>
              <a:custGeom>
                <a:avLst/>
                <a:gdLst>
                  <a:gd name="connsiteX0" fmla="*/ 361298 w 361298"/>
                  <a:gd name="connsiteY0" fmla="*/ 443650 h 443649"/>
                  <a:gd name="connsiteX1" fmla="*/ 213923 w 361298"/>
                  <a:gd name="connsiteY1" fmla="*/ 443650 h 443649"/>
                  <a:gd name="connsiteX2" fmla="*/ 147947 w 361298"/>
                  <a:gd name="connsiteY2" fmla="*/ 330600 h 443649"/>
                  <a:gd name="connsiteX3" fmla="*/ 124622 w 361298"/>
                  <a:gd name="connsiteY3" fmla="*/ 354540 h 443649"/>
                  <a:gd name="connsiteX4" fmla="*/ 124622 w 361298"/>
                  <a:gd name="connsiteY4" fmla="*/ 443650 h 443649"/>
                  <a:gd name="connsiteX5" fmla="*/ 0 w 361298"/>
                  <a:gd name="connsiteY5" fmla="*/ 443650 h 443649"/>
                  <a:gd name="connsiteX6" fmla="*/ 0 w 361298"/>
                  <a:gd name="connsiteY6" fmla="*/ 0 h 443649"/>
                  <a:gd name="connsiteX7" fmla="*/ 124622 w 361298"/>
                  <a:gd name="connsiteY7" fmla="*/ 0 h 443649"/>
                  <a:gd name="connsiteX8" fmla="*/ 124622 w 361298"/>
                  <a:gd name="connsiteY8" fmla="*/ 216220 h 443649"/>
                  <a:gd name="connsiteX9" fmla="*/ 205259 w 361298"/>
                  <a:gd name="connsiteY9" fmla="*/ 122360 h 443649"/>
                  <a:gd name="connsiteX10" fmla="*/ 349969 w 361298"/>
                  <a:gd name="connsiteY10" fmla="*/ 122360 h 443649"/>
                  <a:gd name="connsiteX11" fmla="*/ 228584 w 361298"/>
                  <a:gd name="connsiteY11" fmla="*/ 246715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298" h="443649">
                    <a:moveTo>
                      <a:pt x="361298" y="443650"/>
                    </a:moveTo>
                    <a:lnTo>
                      <a:pt x="213923" y="443650"/>
                    </a:lnTo>
                    <a:lnTo>
                      <a:pt x="147947" y="330600"/>
                    </a:lnTo>
                    <a:lnTo>
                      <a:pt x="124622" y="354540"/>
                    </a:lnTo>
                    <a:lnTo>
                      <a:pt x="124622" y="443650"/>
                    </a:lnTo>
                    <a:lnTo>
                      <a:pt x="0" y="443650"/>
                    </a:lnTo>
                    <a:lnTo>
                      <a:pt x="0" y="0"/>
                    </a:lnTo>
                    <a:lnTo>
                      <a:pt x="124622" y="0"/>
                    </a:lnTo>
                    <a:lnTo>
                      <a:pt x="124622" y="216220"/>
                    </a:lnTo>
                    <a:lnTo>
                      <a:pt x="205259" y="122360"/>
                    </a:lnTo>
                    <a:lnTo>
                      <a:pt x="349969" y="122360"/>
                    </a:lnTo>
                    <a:lnTo>
                      <a:pt x="228584" y="24671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8" name="Freeform 87">
                <a:extLst>
                  <a:ext uri="{FF2B5EF4-FFF2-40B4-BE49-F238E27FC236}">
                    <a16:creationId xmlns:a16="http://schemas.microsoft.com/office/drawing/2014/main" id="{9CEC9DBB-AC95-7E4B-9B3E-0D6F6C554C60}"/>
                  </a:ext>
                </a:extLst>
              </p:cNvPr>
              <p:cNvSpPr/>
              <p:nvPr/>
            </p:nvSpPr>
            <p:spPr>
              <a:xfrm>
                <a:off x="12859732" y="7854175"/>
                <a:ext cx="359870" cy="338484"/>
              </a:xfrm>
              <a:custGeom>
                <a:avLst/>
                <a:gdLst>
                  <a:gd name="connsiteX0" fmla="*/ 123289 w 359870"/>
                  <a:gd name="connsiteY0" fmla="*/ 198835 h 338484"/>
                  <a:gd name="connsiteX1" fmla="*/ 187932 w 359870"/>
                  <a:gd name="connsiteY1" fmla="*/ 252035 h 338484"/>
                  <a:gd name="connsiteX2" fmla="*/ 233249 w 359870"/>
                  <a:gd name="connsiteY2" fmla="*/ 230755 h 338484"/>
                  <a:gd name="connsiteX3" fmla="*/ 354539 w 359870"/>
                  <a:gd name="connsiteY3" fmla="*/ 230755 h 338484"/>
                  <a:gd name="connsiteX4" fmla="*/ 183934 w 359870"/>
                  <a:gd name="connsiteY4" fmla="*/ 338485 h 338484"/>
                  <a:gd name="connsiteX5" fmla="*/ 0 w 359870"/>
                  <a:gd name="connsiteY5" fmla="*/ 168245 h 338484"/>
                  <a:gd name="connsiteX6" fmla="*/ 180601 w 359870"/>
                  <a:gd name="connsiteY6" fmla="*/ 0 h 338484"/>
                  <a:gd name="connsiteX7" fmla="*/ 342543 w 359870"/>
                  <a:gd name="connsiteY7" fmla="*/ 96425 h 338484"/>
                  <a:gd name="connsiteX8" fmla="*/ 359870 w 359870"/>
                  <a:gd name="connsiteY8" fmla="*/ 198835 h 338484"/>
                  <a:gd name="connsiteX9" fmla="*/ 123289 w 359870"/>
                  <a:gd name="connsiteY9" fmla="*/ 198835 h 338484"/>
                  <a:gd name="connsiteX10" fmla="*/ 235248 w 359870"/>
                  <a:gd name="connsiteY10" fmla="*/ 132335 h 338484"/>
                  <a:gd name="connsiteX11" fmla="*/ 179268 w 359870"/>
                  <a:gd name="connsiteY11" fmla="*/ 81795 h 338484"/>
                  <a:gd name="connsiteX12" fmla="*/ 123955 w 359870"/>
                  <a:gd name="connsiteY12" fmla="*/ 132335 h 338484"/>
                  <a:gd name="connsiteX13" fmla="*/ 235248 w 359870"/>
                  <a:gd name="connsiteY13" fmla="*/ 13233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4">
                    <a:moveTo>
                      <a:pt x="123289" y="198835"/>
                    </a:moveTo>
                    <a:cubicBezTo>
                      <a:pt x="127954" y="231420"/>
                      <a:pt x="152611"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89" name="Freeform 88">
                <a:extLst>
                  <a:ext uri="{FF2B5EF4-FFF2-40B4-BE49-F238E27FC236}">
                    <a16:creationId xmlns:a16="http://schemas.microsoft.com/office/drawing/2014/main" id="{09365355-5951-E246-869F-87EB649EFF0D}"/>
                  </a:ext>
                </a:extLst>
              </p:cNvPr>
              <p:cNvSpPr/>
              <p:nvPr/>
            </p:nvSpPr>
            <p:spPr>
              <a:xfrm>
                <a:off x="13245593" y="7854175"/>
                <a:ext cx="329214" cy="338484"/>
              </a:xfrm>
              <a:custGeom>
                <a:avLst/>
                <a:gdLst>
                  <a:gd name="connsiteX0" fmla="*/ 201927 w 329214"/>
                  <a:gd name="connsiteY0" fmla="*/ 103075 h 338484"/>
                  <a:gd name="connsiteX1" fmla="*/ 161275 w 329214"/>
                  <a:gd name="connsiteY1" fmla="*/ 73150 h 338484"/>
                  <a:gd name="connsiteX2" fmla="*/ 128620 w 329214"/>
                  <a:gd name="connsiteY2" fmla="*/ 91105 h 338484"/>
                  <a:gd name="connsiteX3" fmla="*/ 159942 w 329214"/>
                  <a:gd name="connsiteY3" fmla="*/ 113050 h 338484"/>
                  <a:gd name="connsiteX4" fmla="*/ 217255 w 329214"/>
                  <a:gd name="connsiteY4" fmla="*/ 124355 h 338484"/>
                  <a:gd name="connsiteX5" fmla="*/ 296560 w 329214"/>
                  <a:gd name="connsiteY5" fmla="*/ 154280 h 338484"/>
                  <a:gd name="connsiteX6" fmla="*/ 329215 w 329214"/>
                  <a:gd name="connsiteY6" fmla="*/ 225435 h 338484"/>
                  <a:gd name="connsiteX7" fmla="*/ 164608 w 329214"/>
                  <a:gd name="connsiteY7" fmla="*/ 338485 h 338484"/>
                  <a:gd name="connsiteX8" fmla="*/ 29989 w 329214"/>
                  <a:gd name="connsiteY8" fmla="*/ 292600 h 338484"/>
                  <a:gd name="connsiteX9" fmla="*/ 0 w 329214"/>
                  <a:gd name="connsiteY9" fmla="*/ 220115 h 338484"/>
                  <a:gd name="connsiteX10" fmla="*/ 119291 w 329214"/>
                  <a:gd name="connsiteY10" fmla="*/ 220115 h 338484"/>
                  <a:gd name="connsiteX11" fmla="*/ 167273 w 329214"/>
                  <a:gd name="connsiteY11" fmla="*/ 258685 h 338484"/>
                  <a:gd name="connsiteX12" fmla="*/ 204593 w 329214"/>
                  <a:gd name="connsiteY12" fmla="*/ 235410 h 338484"/>
                  <a:gd name="connsiteX13" fmla="*/ 175271 w 329214"/>
                  <a:gd name="connsiteY13" fmla="*/ 213465 h 338484"/>
                  <a:gd name="connsiteX14" fmla="*/ 102630 w 329214"/>
                  <a:gd name="connsiteY14" fmla="*/ 196840 h 338484"/>
                  <a:gd name="connsiteX15" fmla="*/ 6664 w 329214"/>
                  <a:gd name="connsiteY15" fmla="*/ 103075 h 338484"/>
                  <a:gd name="connsiteX16" fmla="*/ 165940 w 329214"/>
                  <a:gd name="connsiteY16" fmla="*/ 0 h 338484"/>
                  <a:gd name="connsiteX17" fmla="*/ 317886 w 329214"/>
                  <a:gd name="connsiteY17" fmla="*/ 103075 h 338484"/>
                  <a:gd name="connsiteX18" fmla="*/ 201927 w 329214"/>
                  <a:gd name="connsiteY18" fmla="*/ 103075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4">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0" name="Freeform 89">
                <a:extLst>
                  <a:ext uri="{FF2B5EF4-FFF2-40B4-BE49-F238E27FC236}">
                    <a16:creationId xmlns:a16="http://schemas.microsoft.com/office/drawing/2014/main" id="{831433F1-C590-0240-A0DF-3D7832E9DEE1}"/>
                  </a:ext>
                </a:extLst>
              </p:cNvPr>
              <p:cNvSpPr/>
              <p:nvPr/>
            </p:nvSpPr>
            <p:spPr>
              <a:xfrm>
                <a:off x="13765406" y="7766965"/>
                <a:ext cx="229916" cy="421609"/>
              </a:xfrm>
              <a:custGeom>
                <a:avLst/>
                <a:gdLst>
                  <a:gd name="connsiteX0" fmla="*/ 229917 w 229916"/>
                  <a:gd name="connsiteY0" fmla="*/ 173565 h 421609"/>
                  <a:gd name="connsiteX1" fmla="*/ 171938 w 229916"/>
                  <a:gd name="connsiteY1" fmla="*/ 173565 h 421609"/>
                  <a:gd name="connsiteX2" fmla="*/ 171938 w 229916"/>
                  <a:gd name="connsiteY2" fmla="*/ 292600 h 421609"/>
                  <a:gd name="connsiteX3" fmla="*/ 205259 w 229916"/>
                  <a:gd name="connsiteY3" fmla="*/ 331170 h 421609"/>
                  <a:gd name="connsiteX4" fmla="*/ 229917 w 229916"/>
                  <a:gd name="connsiteY4" fmla="*/ 327180 h 421609"/>
                  <a:gd name="connsiteX5" fmla="*/ 229917 w 229916"/>
                  <a:gd name="connsiteY5" fmla="*/ 411635 h 421609"/>
                  <a:gd name="connsiteX6" fmla="*/ 161275 w 229916"/>
                  <a:gd name="connsiteY6" fmla="*/ 421610 h 421609"/>
                  <a:gd name="connsiteX7" fmla="*/ 74639 w 229916"/>
                  <a:gd name="connsiteY7" fmla="*/ 389025 h 421609"/>
                  <a:gd name="connsiteX8" fmla="*/ 47316 w 229916"/>
                  <a:gd name="connsiteY8" fmla="*/ 297255 h 421609"/>
                  <a:gd name="connsiteX9" fmla="*/ 47316 w 229916"/>
                  <a:gd name="connsiteY9" fmla="*/ 173565 h 421609"/>
                  <a:gd name="connsiteX10" fmla="*/ 0 w 229916"/>
                  <a:gd name="connsiteY10" fmla="*/ 173565 h 421609"/>
                  <a:gd name="connsiteX11" fmla="*/ 0 w 229916"/>
                  <a:gd name="connsiteY11" fmla="*/ 95760 h 421609"/>
                  <a:gd name="connsiteX12" fmla="*/ 47316 w 229916"/>
                  <a:gd name="connsiteY12" fmla="*/ 95760 h 421609"/>
                  <a:gd name="connsiteX13" fmla="*/ 47316 w 229916"/>
                  <a:gd name="connsiteY13" fmla="*/ 0 h 421609"/>
                  <a:gd name="connsiteX14" fmla="*/ 171938 w 229916"/>
                  <a:gd name="connsiteY14" fmla="*/ 0 h 421609"/>
                  <a:gd name="connsiteX15" fmla="*/ 171938 w 229916"/>
                  <a:gd name="connsiteY15" fmla="*/ 95760 h 421609"/>
                  <a:gd name="connsiteX16" fmla="*/ 229917 w 229916"/>
                  <a:gd name="connsiteY16" fmla="*/ 95760 h 421609"/>
                  <a:gd name="connsiteX17" fmla="*/ 229917 w 229916"/>
                  <a:gd name="connsiteY17" fmla="*/ 173565 h 4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6" h="421609">
                    <a:moveTo>
                      <a:pt x="229917" y="173565"/>
                    </a:moveTo>
                    <a:lnTo>
                      <a:pt x="171938" y="173565"/>
                    </a:lnTo>
                    <a:lnTo>
                      <a:pt x="171938" y="292600"/>
                    </a:lnTo>
                    <a:cubicBezTo>
                      <a:pt x="171938" y="319865"/>
                      <a:pt x="181934" y="331170"/>
                      <a:pt x="205259" y="331170"/>
                    </a:cubicBezTo>
                    <a:cubicBezTo>
                      <a:pt x="215256" y="331170"/>
                      <a:pt x="222587" y="329840"/>
                      <a:pt x="229917" y="327180"/>
                    </a:cubicBezTo>
                    <a:lnTo>
                      <a:pt x="229917" y="411635"/>
                    </a:lnTo>
                    <a:cubicBezTo>
                      <a:pt x="203260" y="418285"/>
                      <a:pt x="181934" y="421610"/>
                      <a:pt x="161275" y="421610"/>
                    </a:cubicBezTo>
                    <a:cubicBezTo>
                      <a:pt x="124621" y="421610"/>
                      <a:pt x="95299" y="410305"/>
                      <a:pt x="74639"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1" name="Freeform 90">
                <a:extLst>
                  <a:ext uri="{FF2B5EF4-FFF2-40B4-BE49-F238E27FC236}">
                    <a16:creationId xmlns:a16="http://schemas.microsoft.com/office/drawing/2014/main" id="{B4DAF382-036E-AF4B-B622-06CAC761D98F}"/>
                  </a:ext>
                </a:extLst>
              </p:cNvPr>
              <p:cNvSpPr/>
              <p:nvPr/>
            </p:nvSpPr>
            <p:spPr>
              <a:xfrm>
                <a:off x="14021980" y="7854175"/>
                <a:ext cx="360537" cy="338484"/>
              </a:xfrm>
              <a:custGeom>
                <a:avLst/>
                <a:gdLst>
                  <a:gd name="connsiteX0" fmla="*/ 360537 w 360537"/>
                  <a:gd name="connsiteY0" fmla="*/ 171570 h 338484"/>
                  <a:gd name="connsiteX1" fmla="*/ 179935 w 360537"/>
                  <a:gd name="connsiteY1" fmla="*/ 338485 h 338484"/>
                  <a:gd name="connsiteX2" fmla="*/ 0 w 360537"/>
                  <a:gd name="connsiteY2" fmla="*/ 168910 h 338484"/>
                  <a:gd name="connsiteX3" fmla="*/ 179935 w 360537"/>
                  <a:gd name="connsiteY3" fmla="*/ 0 h 338484"/>
                  <a:gd name="connsiteX4" fmla="*/ 360537 w 360537"/>
                  <a:gd name="connsiteY4" fmla="*/ 171570 h 338484"/>
                  <a:gd name="connsiteX5" fmla="*/ 124622 w 360537"/>
                  <a:gd name="connsiteY5" fmla="*/ 168910 h 338484"/>
                  <a:gd name="connsiteX6" fmla="*/ 180602 w 360537"/>
                  <a:gd name="connsiteY6" fmla="*/ 250040 h 338484"/>
                  <a:gd name="connsiteX7" fmla="*/ 235915 w 360537"/>
                  <a:gd name="connsiteY7" fmla="*/ 170240 h 338484"/>
                  <a:gd name="connsiteX8" fmla="*/ 179935 w 360537"/>
                  <a:gd name="connsiteY8" fmla="*/ 88445 h 338484"/>
                  <a:gd name="connsiteX9" fmla="*/ 124622 w 360537"/>
                  <a:gd name="connsiteY9" fmla="*/ 168910 h 3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537" h="338484">
                    <a:moveTo>
                      <a:pt x="360537" y="171570"/>
                    </a:moveTo>
                    <a:cubicBezTo>
                      <a:pt x="360537" y="266000"/>
                      <a:pt x="282565" y="338485"/>
                      <a:pt x="179935" y="338485"/>
                    </a:cubicBezTo>
                    <a:cubicBezTo>
                      <a:pt x="77306" y="338485"/>
                      <a:pt x="0" y="266000"/>
                      <a:pt x="0" y="168910"/>
                    </a:cubicBezTo>
                    <a:cubicBezTo>
                      <a:pt x="0" y="72485"/>
                      <a:pt x="77306" y="0"/>
                      <a:pt x="179935" y="0"/>
                    </a:cubicBezTo>
                    <a:cubicBezTo>
                      <a:pt x="284564" y="0"/>
                      <a:pt x="360537" y="71820"/>
                      <a:pt x="360537" y="171570"/>
                    </a:cubicBezTo>
                    <a:moveTo>
                      <a:pt x="124622" y="168910"/>
                    </a:moveTo>
                    <a:cubicBezTo>
                      <a:pt x="124622" y="222110"/>
                      <a:pt x="143949" y="250040"/>
                      <a:pt x="180602" y="250040"/>
                    </a:cubicBezTo>
                    <a:cubicBezTo>
                      <a:pt x="215923" y="250040"/>
                      <a:pt x="235915" y="222110"/>
                      <a:pt x="235915" y="170240"/>
                    </a:cubicBezTo>
                    <a:cubicBezTo>
                      <a:pt x="235915" y="116375"/>
                      <a:pt x="216589" y="88445"/>
                      <a:pt x="179935" y="88445"/>
                    </a:cubicBezTo>
                    <a:cubicBezTo>
                      <a:pt x="143949" y="88445"/>
                      <a:pt x="124622" y="116375"/>
                      <a:pt x="124622" y="16891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nvGrpSpPr>
            <p:cNvPr id="111" name="Group 110">
              <a:extLst>
                <a:ext uri="{FF2B5EF4-FFF2-40B4-BE49-F238E27FC236}">
                  <a16:creationId xmlns:a16="http://schemas.microsoft.com/office/drawing/2014/main" id="{424AE4AF-B3C8-7041-BD75-24A2E6E90091}"/>
                </a:ext>
              </a:extLst>
            </p:cNvPr>
            <p:cNvGrpSpPr/>
            <p:nvPr userDrawn="1"/>
          </p:nvGrpSpPr>
          <p:grpSpPr>
            <a:xfrm>
              <a:off x="7989584" y="8328986"/>
              <a:ext cx="6366276" cy="463504"/>
              <a:chOff x="7989583" y="8328985"/>
              <a:chExt cx="6366277" cy="463505"/>
            </a:xfrm>
            <a:solidFill>
              <a:schemeClr val="accent1"/>
            </a:solidFill>
          </p:grpSpPr>
          <p:sp>
            <p:nvSpPr>
              <p:cNvPr id="92" name="Freeform 91">
                <a:extLst>
                  <a:ext uri="{FF2B5EF4-FFF2-40B4-BE49-F238E27FC236}">
                    <a16:creationId xmlns:a16="http://schemas.microsoft.com/office/drawing/2014/main" id="{49F8615D-DF35-724E-8DCB-5CDE891F578F}"/>
                  </a:ext>
                </a:extLst>
              </p:cNvPr>
              <p:cNvSpPr/>
              <p:nvPr/>
            </p:nvSpPr>
            <p:spPr>
              <a:xfrm>
                <a:off x="7989583" y="8338865"/>
                <a:ext cx="401188" cy="443554"/>
              </a:xfrm>
              <a:custGeom>
                <a:avLst/>
                <a:gdLst>
                  <a:gd name="connsiteX0" fmla="*/ 0 w 401188"/>
                  <a:gd name="connsiteY0" fmla="*/ 0 h 443554"/>
                  <a:gd name="connsiteX1" fmla="*/ 229917 w 401188"/>
                  <a:gd name="connsiteY1" fmla="*/ 0 h 443554"/>
                  <a:gd name="connsiteX2" fmla="*/ 345875 w 401188"/>
                  <a:gd name="connsiteY2" fmla="*/ 32585 h 443554"/>
                  <a:gd name="connsiteX3" fmla="*/ 379863 w 401188"/>
                  <a:gd name="connsiteY3" fmla="*/ 115710 h 443554"/>
                  <a:gd name="connsiteX4" fmla="*/ 329881 w 401188"/>
                  <a:gd name="connsiteY4" fmla="*/ 201495 h 443554"/>
                  <a:gd name="connsiteX5" fmla="*/ 401189 w 401188"/>
                  <a:gd name="connsiteY5" fmla="*/ 312550 h 443554"/>
                  <a:gd name="connsiteX6" fmla="*/ 362536 w 401188"/>
                  <a:gd name="connsiteY6" fmla="*/ 410305 h 443554"/>
                  <a:gd name="connsiteX7" fmla="*/ 245911 w 401188"/>
                  <a:gd name="connsiteY7" fmla="*/ 443555 h 443554"/>
                  <a:gd name="connsiteX8" fmla="*/ 0 w 401188"/>
                  <a:gd name="connsiteY8" fmla="*/ 443555 h 443554"/>
                  <a:gd name="connsiteX9" fmla="*/ 0 w 401188"/>
                  <a:gd name="connsiteY9" fmla="*/ 0 h 443554"/>
                  <a:gd name="connsiteX10" fmla="*/ 215922 w 401188"/>
                  <a:gd name="connsiteY10" fmla="*/ 167580 h 443554"/>
                  <a:gd name="connsiteX11" fmla="*/ 255241 w 401188"/>
                  <a:gd name="connsiteY11" fmla="*/ 134330 h 443554"/>
                  <a:gd name="connsiteX12" fmla="*/ 215922 w 401188"/>
                  <a:gd name="connsiteY12" fmla="*/ 101745 h 443554"/>
                  <a:gd name="connsiteX13" fmla="*/ 133285 w 401188"/>
                  <a:gd name="connsiteY13" fmla="*/ 101745 h 443554"/>
                  <a:gd name="connsiteX14" fmla="*/ 133285 w 401188"/>
                  <a:gd name="connsiteY14" fmla="*/ 167580 h 443554"/>
                  <a:gd name="connsiteX15" fmla="*/ 215922 w 401188"/>
                  <a:gd name="connsiteY15" fmla="*/ 167580 h 443554"/>
                  <a:gd name="connsiteX16" fmla="*/ 218588 w 401188"/>
                  <a:gd name="connsiteY16" fmla="*/ 335255 h 443554"/>
                  <a:gd name="connsiteX17" fmla="*/ 272568 w 401188"/>
                  <a:gd name="connsiteY17" fmla="*/ 296020 h 443554"/>
                  <a:gd name="connsiteX18" fmla="*/ 218588 w 401188"/>
                  <a:gd name="connsiteY18" fmla="*/ 257450 h 443554"/>
                  <a:gd name="connsiteX19" fmla="*/ 133285 w 401188"/>
                  <a:gd name="connsiteY19" fmla="*/ 257450 h 443554"/>
                  <a:gd name="connsiteX20" fmla="*/ 133285 w 401188"/>
                  <a:gd name="connsiteY20" fmla="*/ 335255 h 443554"/>
                  <a:gd name="connsiteX21" fmla="*/ 218588 w 401188"/>
                  <a:gd name="connsiteY21" fmla="*/ 335255 h 443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1188" h="443554">
                    <a:moveTo>
                      <a:pt x="0" y="0"/>
                    </a:moveTo>
                    <a:lnTo>
                      <a:pt x="229917" y="0"/>
                    </a:lnTo>
                    <a:cubicBezTo>
                      <a:pt x="290562" y="0"/>
                      <a:pt x="319885" y="8645"/>
                      <a:pt x="345875" y="32585"/>
                    </a:cubicBezTo>
                    <a:cubicBezTo>
                      <a:pt x="367867" y="53200"/>
                      <a:pt x="379863" y="82460"/>
                      <a:pt x="379863" y="115710"/>
                    </a:cubicBezTo>
                    <a:cubicBezTo>
                      <a:pt x="379863" y="152950"/>
                      <a:pt x="365202" y="178885"/>
                      <a:pt x="329881" y="201495"/>
                    </a:cubicBezTo>
                    <a:cubicBezTo>
                      <a:pt x="377197" y="222775"/>
                      <a:pt x="401189" y="260015"/>
                      <a:pt x="401189" y="312550"/>
                    </a:cubicBezTo>
                    <a:cubicBezTo>
                      <a:pt x="401189" y="350455"/>
                      <a:pt x="387194" y="387030"/>
                      <a:pt x="362536" y="410305"/>
                    </a:cubicBezTo>
                    <a:cubicBezTo>
                      <a:pt x="337212" y="435575"/>
                      <a:pt x="309222" y="443555"/>
                      <a:pt x="245911" y="443555"/>
                    </a:cubicBezTo>
                    <a:lnTo>
                      <a:pt x="0" y="443555"/>
                    </a:lnTo>
                    <a:lnTo>
                      <a:pt x="0" y="0"/>
                    </a:lnTo>
                    <a:close/>
                    <a:moveTo>
                      <a:pt x="215922" y="167580"/>
                    </a:moveTo>
                    <a:cubicBezTo>
                      <a:pt x="241913" y="167580"/>
                      <a:pt x="255241" y="156275"/>
                      <a:pt x="255241" y="134330"/>
                    </a:cubicBezTo>
                    <a:cubicBezTo>
                      <a:pt x="255241" y="113050"/>
                      <a:pt x="241913" y="101745"/>
                      <a:pt x="215922" y="101745"/>
                    </a:cubicBezTo>
                    <a:lnTo>
                      <a:pt x="133285" y="101745"/>
                    </a:lnTo>
                    <a:lnTo>
                      <a:pt x="133285" y="167580"/>
                    </a:lnTo>
                    <a:lnTo>
                      <a:pt x="215922" y="167580"/>
                    </a:lnTo>
                    <a:close/>
                    <a:moveTo>
                      <a:pt x="218588" y="335255"/>
                    </a:moveTo>
                    <a:cubicBezTo>
                      <a:pt x="254575" y="335255"/>
                      <a:pt x="272568" y="321955"/>
                      <a:pt x="272568" y="296020"/>
                    </a:cubicBezTo>
                    <a:cubicBezTo>
                      <a:pt x="272568" y="270750"/>
                      <a:pt x="254575" y="257450"/>
                      <a:pt x="218588" y="257450"/>
                    </a:cubicBezTo>
                    <a:lnTo>
                      <a:pt x="133285" y="257450"/>
                    </a:lnTo>
                    <a:lnTo>
                      <a:pt x="133285" y="335255"/>
                    </a:lnTo>
                    <a:lnTo>
                      <a:pt x="218588" y="3352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3" name="Freeform 92">
                <a:extLst>
                  <a:ext uri="{FF2B5EF4-FFF2-40B4-BE49-F238E27FC236}">
                    <a16:creationId xmlns:a16="http://schemas.microsoft.com/office/drawing/2014/main" id="{1831D890-4191-9A46-8831-09E2434F2A77}"/>
                  </a:ext>
                </a:extLst>
              </p:cNvPr>
              <p:cNvSpPr/>
              <p:nvPr/>
            </p:nvSpPr>
            <p:spPr>
              <a:xfrm>
                <a:off x="8442753"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2 w 334546"/>
                  <a:gd name="connsiteY7" fmla="*/ 0 h 329935"/>
                  <a:gd name="connsiteX8" fmla="*/ 124622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6"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4" name="Freeform 93">
                <a:extLst>
                  <a:ext uri="{FF2B5EF4-FFF2-40B4-BE49-F238E27FC236}">
                    <a16:creationId xmlns:a16="http://schemas.microsoft.com/office/drawing/2014/main" id="{585509AA-8B5F-944B-AE45-6C5838ED1285}"/>
                  </a:ext>
                </a:extLst>
              </p:cNvPr>
              <p:cNvSpPr/>
              <p:nvPr/>
            </p:nvSpPr>
            <p:spPr>
              <a:xfrm>
                <a:off x="8829280" y="8338865"/>
                <a:ext cx="124621" cy="443649"/>
              </a:xfrm>
              <a:custGeom>
                <a:avLst/>
                <a:gdLst>
                  <a:gd name="connsiteX0" fmla="*/ 124622 w 124621"/>
                  <a:gd name="connsiteY0" fmla="*/ 88445 h 443649"/>
                  <a:gd name="connsiteX1" fmla="*/ 0 w 124621"/>
                  <a:gd name="connsiteY1" fmla="*/ 88445 h 443649"/>
                  <a:gd name="connsiteX2" fmla="*/ 0 w 124621"/>
                  <a:gd name="connsiteY2" fmla="*/ 0 h 443649"/>
                  <a:gd name="connsiteX3" fmla="*/ 124622 w 124621"/>
                  <a:gd name="connsiteY3" fmla="*/ 0 h 443649"/>
                  <a:gd name="connsiteX4" fmla="*/ 124622 w 124621"/>
                  <a:gd name="connsiteY4" fmla="*/ 88445 h 443649"/>
                  <a:gd name="connsiteX5" fmla="*/ 124622 w 124621"/>
                  <a:gd name="connsiteY5" fmla="*/ 443650 h 443649"/>
                  <a:gd name="connsiteX6" fmla="*/ 0 w 124621"/>
                  <a:gd name="connsiteY6" fmla="*/ 443650 h 443649"/>
                  <a:gd name="connsiteX7" fmla="*/ 0 w 124621"/>
                  <a:gd name="connsiteY7" fmla="*/ 122455 h 443649"/>
                  <a:gd name="connsiteX8" fmla="*/ 124622 w 124621"/>
                  <a:gd name="connsiteY8" fmla="*/ 122455 h 443649"/>
                  <a:gd name="connsiteX9" fmla="*/ 124622 w 124621"/>
                  <a:gd name="connsiteY9" fmla="*/ 44365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21" h="443649">
                    <a:moveTo>
                      <a:pt x="124622" y="88445"/>
                    </a:moveTo>
                    <a:lnTo>
                      <a:pt x="0" y="88445"/>
                    </a:lnTo>
                    <a:lnTo>
                      <a:pt x="0" y="0"/>
                    </a:lnTo>
                    <a:lnTo>
                      <a:pt x="124622" y="0"/>
                    </a:lnTo>
                    <a:lnTo>
                      <a:pt x="124622" y="88445"/>
                    </a:lnTo>
                    <a:close/>
                    <a:moveTo>
                      <a:pt x="124622" y="443650"/>
                    </a:moveTo>
                    <a:lnTo>
                      <a:pt x="0" y="443650"/>
                    </a:lnTo>
                    <a:lnTo>
                      <a:pt x="0" y="122455"/>
                    </a:lnTo>
                    <a:lnTo>
                      <a:pt x="124622" y="122455"/>
                    </a:lnTo>
                    <a:lnTo>
                      <a:pt x="124622" y="44365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5" name="Freeform 94">
                <a:extLst>
                  <a:ext uri="{FF2B5EF4-FFF2-40B4-BE49-F238E27FC236}">
                    <a16:creationId xmlns:a16="http://schemas.microsoft.com/office/drawing/2014/main" id="{3C91ADF3-76CF-7A4C-A760-5C4EC11DF933}"/>
                  </a:ext>
                </a:extLst>
              </p:cNvPr>
              <p:cNvSpPr/>
              <p:nvPr/>
            </p:nvSpPr>
            <p:spPr>
              <a:xfrm>
                <a:off x="9005883" y="8338865"/>
                <a:ext cx="124621" cy="443555"/>
              </a:xfrm>
              <a:custGeom>
                <a:avLst/>
                <a:gdLst>
                  <a:gd name="connsiteX0" fmla="*/ 0 w 124621"/>
                  <a:gd name="connsiteY0" fmla="*/ 0 h 443555"/>
                  <a:gd name="connsiteX1" fmla="*/ 124622 w 124621"/>
                  <a:gd name="connsiteY1" fmla="*/ 0 h 443555"/>
                  <a:gd name="connsiteX2" fmla="*/ 124622 w 124621"/>
                  <a:gd name="connsiteY2" fmla="*/ 443555 h 443555"/>
                  <a:gd name="connsiteX3" fmla="*/ 0 w 124621"/>
                  <a:gd name="connsiteY3" fmla="*/ 443555 h 443555"/>
                </a:gdLst>
                <a:ahLst/>
                <a:cxnLst>
                  <a:cxn ang="0">
                    <a:pos x="connsiteX0" y="connsiteY0"/>
                  </a:cxn>
                  <a:cxn ang="0">
                    <a:pos x="connsiteX1" y="connsiteY1"/>
                  </a:cxn>
                  <a:cxn ang="0">
                    <a:pos x="connsiteX2" y="connsiteY2"/>
                  </a:cxn>
                  <a:cxn ang="0">
                    <a:pos x="connsiteX3" y="connsiteY3"/>
                  </a:cxn>
                </a:cxnLst>
                <a:rect l="l" t="t" r="r" b="b"/>
                <a:pathLst>
                  <a:path w="124621" h="443555">
                    <a:moveTo>
                      <a:pt x="0" y="0"/>
                    </a:moveTo>
                    <a:lnTo>
                      <a:pt x="124622" y="0"/>
                    </a:lnTo>
                    <a:lnTo>
                      <a:pt x="124622" y="443555"/>
                    </a:lnTo>
                    <a:lnTo>
                      <a:pt x="0" y="4435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6" name="Freeform 95">
                <a:extLst>
                  <a:ext uri="{FF2B5EF4-FFF2-40B4-BE49-F238E27FC236}">
                    <a16:creationId xmlns:a16="http://schemas.microsoft.com/office/drawing/2014/main" id="{CCD065D6-E5DD-1C41-B057-C7E8073BD69E}"/>
                  </a:ext>
                </a:extLst>
              </p:cNvPr>
              <p:cNvSpPr/>
              <p:nvPr/>
            </p:nvSpPr>
            <p:spPr>
              <a:xfrm>
                <a:off x="9179820" y="8338865"/>
                <a:ext cx="354538" cy="452295"/>
              </a:xfrm>
              <a:custGeom>
                <a:avLst/>
                <a:gdLst>
                  <a:gd name="connsiteX0" fmla="*/ 354539 w 354538"/>
                  <a:gd name="connsiteY0" fmla="*/ 443650 h 452295"/>
                  <a:gd name="connsiteX1" fmla="*/ 237248 w 354538"/>
                  <a:gd name="connsiteY1" fmla="*/ 443650 h 452295"/>
                  <a:gd name="connsiteX2" fmla="*/ 237248 w 354538"/>
                  <a:gd name="connsiteY2" fmla="*/ 414390 h 452295"/>
                  <a:gd name="connsiteX3" fmla="*/ 149946 w 354538"/>
                  <a:gd name="connsiteY3" fmla="*/ 452295 h 452295"/>
                  <a:gd name="connsiteX4" fmla="*/ 0 w 354538"/>
                  <a:gd name="connsiteY4" fmla="*/ 279395 h 452295"/>
                  <a:gd name="connsiteX5" fmla="*/ 139950 w 354538"/>
                  <a:gd name="connsiteY5" fmla="*/ 113810 h 452295"/>
                  <a:gd name="connsiteX6" fmla="*/ 229917 w 354538"/>
                  <a:gd name="connsiteY6" fmla="*/ 149720 h 452295"/>
                  <a:gd name="connsiteX7" fmla="*/ 229917 w 354538"/>
                  <a:gd name="connsiteY7" fmla="*/ 0 h 452295"/>
                  <a:gd name="connsiteX8" fmla="*/ 354539 w 354538"/>
                  <a:gd name="connsiteY8" fmla="*/ 0 h 452295"/>
                  <a:gd name="connsiteX9" fmla="*/ 354539 w 354538"/>
                  <a:gd name="connsiteY9" fmla="*/ 443650 h 452295"/>
                  <a:gd name="connsiteX10" fmla="*/ 124622 w 354538"/>
                  <a:gd name="connsiteY10" fmla="*/ 282720 h 452295"/>
                  <a:gd name="connsiteX11" fmla="*/ 179269 w 354538"/>
                  <a:gd name="connsiteY11" fmla="*/ 357200 h 452295"/>
                  <a:gd name="connsiteX12" fmla="*/ 234582 w 354538"/>
                  <a:gd name="connsiteY12" fmla="*/ 284050 h 452295"/>
                  <a:gd name="connsiteX13" fmla="*/ 179269 w 354538"/>
                  <a:gd name="connsiteY13" fmla="*/ 208905 h 452295"/>
                  <a:gd name="connsiteX14" fmla="*/ 124622 w 354538"/>
                  <a:gd name="connsiteY14" fmla="*/ 282720 h 45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538" h="452295">
                    <a:moveTo>
                      <a:pt x="354539" y="443650"/>
                    </a:moveTo>
                    <a:lnTo>
                      <a:pt x="237248" y="443650"/>
                    </a:lnTo>
                    <a:lnTo>
                      <a:pt x="237248" y="414390"/>
                    </a:lnTo>
                    <a:cubicBezTo>
                      <a:pt x="205926" y="444315"/>
                      <a:pt x="187266" y="452295"/>
                      <a:pt x="149946" y="452295"/>
                    </a:cubicBezTo>
                    <a:cubicBezTo>
                      <a:pt x="59312" y="452295"/>
                      <a:pt x="0" y="383800"/>
                      <a:pt x="0" y="279395"/>
                    </a:cubicBezTo>
                    <a:cubicBezTo>
                      <a:pt x="0" y="180310"/>
                      <a:pt x="55980" y="113810"/>
                      <a:pt x="139950" y="113810"/>
                    </a:cubicBezTo>
                    <a:cubicBezTo>
                      <a:pt x="175270" y="113810"/>
                      <a:pt x="199928" y="123785"/>
                      <a:pt x="229917" y="149720"/>
                    </a:cubicBezTo>
                    <a:lnTo>
                      <a:pt x="229917" y="0"/>
                    </a:lnTo>
                    <a:lnTo>
                      <a:pt x="354539" y="0"/>
                    </a:lnTo>
                    <a:lnTo>
                      <a:pt x="354539" y="443650"/>
                    </a:lnTo>
                    <a:close/>
                    <a:moveTo>
                      <a:pt x="124622" y="282720"/>
                    </a:moveTo>
                    <a:cubicBezTo>
                      <a:pt x="124622" y="329270"/>
                      <a:pt x="145281" y="357200"/>
                      <a:pt x="179269" y="357200"/>
                    </a:cubicBezTo>
                    <a:cubicBezTo>
                      <a:pt x="213256" y="357200"/>
                      <a:pt x="234582" y="328605"/>
                      <a:pt x="234582" y="284050"/>
                    </a:cubicBezTo>
                    <a:cubicBezTo>
                      <a:pt x="234582" y="236835"/>
                      <a:pt x="213923" y="208905"/>
                      <a:pt x="179269" y="208905"/>
                    </a:cubicBezTo>
                    <a:cubicBezTo>
                      <a:pt x="145281" y="208905"/>
                      <a:pt x="124622" y="236835"/>
                      <a:pt x="124622" y="282720"/>
                    </a:cubicBezTo>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7" name="Freeform 96">
                <a:extLst>
                  <a:ext uri="{FF2B5EF4-FFF2-40B4-BE49-F238E27FC236}">
                    <a16:creationId xmlns:a16="http://schemas.microsoft.com/office/drawing/2014/main" id="{C13C4BA0-31F4-1F4A-8AC6-3714AC1B0D58}"/>
                  </a:ext>
                </a:extLst>
              </p:cNvPr>
              <p:cNvSpPr/>
              <p:nvPr/>
            </p:nvSpPr>
            <p:spPr>
              <a:xfrm>
                <a:off x="9755613" y="8328985"/>
                <a:ext cx="438508" cy="463505"/>
              </a:xfrm>
              <a:custGeom>
                <a:avLst/>
                <a:gdLst>
                  <a:gd name="connsiteX0" fmla="*/ 438509 w 438508"/>
                  <a:gd name="connsiteY0" fmla="*/ 209475 h 463505"/>
                  <a:gd name="connsiteX1" fmla="*/ 438509 w 438508"/>
                  <a:gd name="connsiteY1" fmla="*/ 453530 h 463505"/>
                  <a:gd name="connsiteX2" fmla="*/ 350540 w 438508"/>
                  <a:gd name="connsiteY2" fmla="*/ 453530 h 463505"/>
                  <a:gd name="connsiteX3" fmla="*/ 341877 w 438508"/>
                  <a:gd name="connsiteY3" fmla="*/ 415625 h 463505"/>
                  <a:gd name="connsiteX4" fmla="*/ 210591 w 438508"/>
                  <a:gd name="connsiteY4" fmla="*/ 463505 h 463505"/>
                  <a:gd name="connsiteX5" fmla="*/ 0 w 438508"/>
                  <a:gd name="connsiteY5" fmla="*/ 232085 h 463505"/>
                  <a:gd name="connsiteX6" fmla="*/ 223253 w 438508"/>
                  <a:gd name="connsiteY6" fmla="*/ 0 h 463505"/>
                  <a:gd name="connsiteX7" fmla="*/ 429845 w 438508"/>
                  <a:gd name="connsiteY7" fmla="*/ 163590 h 463505"/>
                  <a:gd name="connsiteX8" fmla="*/ 297893 w 438508"/>
                  <a:gd name="connsiteY8" fmla="*/ 166250 h 463505"/>
                  <a:gd name="connsiteX9" fmla="*/ 224586 w 438508"/>
                  <a:gd name="connsiteY9" fmla="*/ 111055 h 463505"/>
                  <a:gd name="connsiteX10" fmla="*/ 137950 w 438508"/>
                  <a:gd name="connsiteY10" fmla="*/ 228760 h 463505"/>
                  <a:gd name="connsiteX11" fmla="*/ 233916 w 438508"/>
                  <a:gd name="connsiteY11" fmla="*/ 357105 h 463505"/>
                  <a:gd name="connsiteX12" fmla="*/ 310555 w 438508"/>
                  <a:gd name="connsiteY12" fmla="*/ 307230 h 463505"/>
                  <a:gd name="connsiteX13" fmla="*/ 252576 w 438508"/>
                  <a:gd name="connsiteY13" fmla="*/ 307230 h 463505"/>
                  <a:gd name="connsiteX14" fmla="*/ 252576 w 438508"/>
                  <a:gd name="connsiteY14" fmla="*/ 209475 h 463505"/>
                  <a:gd name="connsiteX15" fmla="*/ 438509 w 438508"/>
                  <a:gd name="connsiteY15" fmla="*/ 209475 h 46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8508" h="463505">
                    <a:moveTo>
                      <a:pt x="438509" y="209475"/>
                    </a:moveTo>
                    <a:lnTo>
                      <a:pt x="438509" y="453530"/>
                    </a:lnTo>
                    <a:lnTo>
                      <a:pt x="350540" y="453530"/>
                    </a:lnTo>
                    <a:lnTo>
                      <a:pt x="341877" y="415625"/>
                    </a:lnTo>
                    <a:cubicBezTo>
                      <a:pt x="305223" y="448210"/>
                      <a:pt x="262572" y="463505"/>
                      <a:pt x="210591" y="463505"/>
                    </a:cubicBezTo>
                    <a:cubicBezTo>
                      <a:pt x="88635" y="463505"/>
                      <a:pt x="0" y="365750"/>
                      <a:pt x="0" y="232085"/>
                    </a:cubicBezTo>
                    <a:cubicBezTo>
                      <a:pt x="0" y="94430"/>
                      <a:pt x="90634" y="0"/>
                      <a:pt x="223253" y="0"/>
                    </a:cubicBezTo>
                    <a:cubicBezTo>
                      <a:pt x="332547" y="0"/>
                      <a:pt x="412518" y="63840"/>
                      <a:pt x="429845" y="163590"/>
                    </a:cubicBezTo>
                    <a:lnTo>
                      <a:pt x="297893" y="166250"/>
                    </a:lnTo>
                    <a:cubicBezTo>
                      <a:pt x="288563" y="131005"/>
                      <a:pt x="261906" y="111055"/>
                      <a:pt x="224586" y="111055"/>
                    </a:cubicBezTo>
                    <a:cubicBezTo>
                      <a:pt x="169272" y="111055"/>
                      <a:pt x="137950" y="153615"/>
                      <a:pt x="137950" y="228760"/>
                    </a:cubicBezTo>
                    <a:cubicBezTo>
                      <a:pt x="137950" y="311885"/>
                      <a:pt x="171938" y="357105"/>
                      <a:pt x="233916" y="357105"/>
                    </a:cubicBezTo>
                    <a:cubicBezTo>
                      <a:pt x="271236" y="357105"/>
                      <a:pt x="299226" y="339150"/>
                      <a:pt x="310555" y="307230"/>
                    </a:cubicBezTo>
                    <a:lnTo>
                      <a:pt x="252576" y="307230"/>
                    </a:lnTo>
                    <a:lnTo>
                      <a:pt x="252576" y="209475"/>
                    </a:lnTo>
                    <a:lnTo>
                      <a:pt x="438509" y="2094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8" name="Freeform 97">
                <a:extLst>
                  <a:ext uri="{FF2B5EF4-FFF2-40B4-BE49-F238E27FC236}">
                    <a16:creationId xmlns:a16="http://schemas.microsoft.com/office/drawing/2014/main" id="{7083A920-EC94-034B-B45F-480FDABA9468}"/>
                  </a:ext>
                </a:extLst>
              </p:cNvPr>
              <p:cNvSpPr/>
              <p:nvPr/>
            </p:nvSpPr>
            <p:spPr>
              <a:xfrm>
                <a:off x="10246769" y="8452674"/>
                <a:ext cx="251909" cy="329840"/>
              </a:xfrm>
              <a:custGeom>
                <a:avLst/>
                <a:gdLst>
                  <a:gd name="connsiteX0" fmla="*/ 117958 w 251909"/>
                  <a:gd name="connsiteY0" fmla="*/ 8645 h 329840"/>
                  <a:gd name="connsiteX1" fmla="*/ 117958 w 251909"/>
                  <a:gd name="connsiteY1" fmla="*/ 53200 h 329840"/>
                  <a:gd name="connsiteX2" fmla="*/ 213256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7" y="0"/>
                      <a:pt x="213256" y="0"/>
                    </a:cubicBezTo>
                    <a:cubicBezTo>
                      <a:pt x="225919"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99" name="Freeform 98">
                <a:extLst>
                  <a:ext uri="{FF2B5EF4-FFF2-40B4-BE49-F238E27FC236}">
                    <a16:creationId xmlns:a16="http://schemas.microsoft.com/office/drawing/2014/main" id="{15469531-8F06-7446-B2AB-05BBC08E97E2}"/>
                  </a:ext>
                </a:extLst>
              </p:cNvPr>
              <p:cNvSpPr/>
              <p:nvPr/>
            </p:nvSpPr>
            <p:spPr>
              <a:xfrm>
                <a:off x="10526668"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2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9 w 359870"/>
                  <a:gd name="connsiteY10" fmla="*/ 132335 h 338485"/>
                  <a:gd name="connsiteX11" fmla="*/ 179269 w 359870"/>
                  <a:gd name="connsiteY11" fmla="*/ 81795 h 338485"/>
                  <a:gd name="connsiteX12" fmla="*/ 123956 w 359870"/>
                  <a:gd name="connsiteY12" fmla="*/ 132335 h 338485"/>
                  <a:gd name="connsiteX13" fmla="*/ 235249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2" y="252035"/>
                      <a:pt x="187932" y="252035"/>
                    </a:cubicBezTo>
                    <a:cubicBezTo>
                      <a:pt x="209258" y="252035"/>
                      <a:pt x="223919" y="245385"/>
                      <a:pt x="233249" y="230755"/>
                    </a:cubicBezTo>
                    <a:lnTo>
                      <a:pt x="354539" y="230755"/>
                    </a:lnTo>
                    <a:cubicBezTo>
                      <a:pt x="339878" y="293265"/>
                      <a:pt x="267904" y="338485"/>
                      <a:pt x="183934" y="338485"/>
                    </a:cubicBezTo>
                    <a:cubicBezTo>
                      <a:pt x="75306" y="338485"/>
                      <a:pt x="0" y="268660"/>
                      <a:pt x="0" y="168245"/>
                    </a:cubicBezTo>
                    <a:cubicBezTo>
                      <a:pt x="0" y="71155"/>
                      <a:pt x="75973" y="0"/>
                      <a:pt x="180602" y="0"/>
                    </a:cubicBezTo>
                    <a:cubicBezTo>
                      <a:pt x="253909" y="0"/>
                      <a:pt x="313887" y="35245"/>
                      <a:pt x="342543" y="96425"/>
                    </a:cubicBezTo>
                    <a:cubicBezTo>
                      <a:pt x="354539" y="123025"/>
                      <a:pt x="359870" y="151620"/>
                      <a:pt x="359870" y="198835"/>
                    </a:cubicBezTo>
                    <a:lnTo>
                      <a:pt x="123289" y="198835"/>
                    </a:lnTo>
                    <a:close/>
                    <a:moveTo>
                      <a:pt x="235249" y="132335"/>
                    </a:moveTo>
                    <a:cubicBezTo>
                      <a:pt x="231917" y="101080"/>
                      <a:pt x="210591" y="81795"/>
                      <a:pt x="179269" y="81795"/>
                    </a:cubicBezTo>
                    <a:cubicBezTo>
                      <a:pt x="148613" y="81795"/>
                      <a:pt x="127288" y="101080"/>
                      <a:pt x="123956" y="132335"/>
                    </a:cubicBezTo>
                    <a:lnTo>
                      <a:pt x="235249"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0" name="Freeform 99">
                <a:extLst>
                  <a:ext uri="{FF2B5EF4-FFF2-40B4-BE49-F238E27FC236}">
                    <a16:creationId xmlns:a16="http://schemas.microsoft.com/office/drawing/2014/main" id="{AE2DED7E-B962-EF41-9DF2-117C2226A6D9}"/>
                  </a:ext>
                </a:extLst>
              </p:cNvPr>
              <p:cNvSpPr/>
              <p:nvPr/>
            </p:nvSpPr>
            <p:spPr>
              <a:xfrm>
                <a:off x="10923097" y="8452674"/>
                <a:ext cx="350540" cy="338485"/>
              </a:xfrm>
              <a:custGeom>
                <a:avLst/>
                <a:gdLst>
                  <a:gd name="connsiteX0" fmla="*/ 14661 w 350540"/>
                  <a:gd name="connsiteY0" fmla="*/ 124355 h 338485"/>
                  <a:gd name="connsiteX1" fmla="*/ 47316 w 350540"/>
                  <a:gd name="connsiteY1" fmla="*/ 42560 h 338485"/>
                  <a:gd name="connsiteX2" fmla="*/ 179269 w 350540"/>
                  <a:gd name="connsiteY2" fmla="*/ 0 h 338485"/>
                  <a:gd name="connsiteX3" fmla="*/ 299225 w 350540"/>
                  <a:gd name="connsiteY3" fmla="*/ 32585 h 338485"/>
                  <a:gd name="connsiteX4" fmla="*/ 340544 w 350540"/>
                  <a:gd name="connsiteY4" fmla="*/ 131005 h 338485"/>
                  <a:gd name="connsiteX5" fmla="*/ 340544 w 350540"/>
                  <a:gd name="connsiteY5" fmla="*/ 281960 h 338485"/>
                  <a:gd name="connsiteX6" fmla="*/ 350540 w 350540"/>
                  <a:gd name="connsiteY6" fmla="*/ 329840 h 338485"/>
                  <a:gd name="connsiteX7" fmla="*/ 229917 w 350540"/>
                  <a:gd name="connsiteY7" fmla="*/ 329840 h 338485"/>
                  <a:gd name="connsiteX8" fmla="*/ 219254 w 350540"/>
                  <a:gd name="connsiteY8" fmla="*/ 297255 h 338485"/>
                  <a:gd name="connsiteX9" fmla="*/ 111960 w 350540"/>
                  <a:gd name="connsiteY9" fmla="*/ 338485 h 338485"/>
                  <a:gd name="connsiteX10" fmla="*/ 0 w 350540"/>
                  <a:gd name="connsiteY10" fmla="*/ 244720 h 338485"/>
                  <a:gd name="connsiteX11" fmla="*/ 89968 w 350540"/>
                  <a:gd name="connsiteY11" fmla="*/ 148960 h 338485"/>
                  <a:gd name="connsiteX12" fmla="*/ 183267 w 350540"/>
                  <a:gd name="connsiteY12" fmla="*/ 131005 h 338485"/>
                  <a:gd name="connsiteX13" fmla="*/ 218588 w 350540"/>
                  <a:gd name="connsiteY13" fmla="*/ 107065 h 338485"/>
                  <a:gd name="connsiteX14" fmla="*/ 176603 w 350540"/>
                  <a:gd name="connsiteY14" fmla="*/ 79800 h 338485"/>
                  <a:gd name="connsiteX15" fmla="*/ 128620 w 350540"/>
                  <a:gd name="connsiteY15" fmla="*/ 119700 h 338485"/>
                  <a:gd name="connsiteX16" fmla="*/ 128620 w 350540"/>
                  <a:gd name="connsiteY16" fmla="*/ 124355 h 338485"/>
                  <a:gd name="connsiteX17" fmla="*/ 14661 w 350540"/>
                  <a:gd name="connsiteY17" fmla="*/ 124355 h 338485"/>
                  <a:gd name="connsiteX18" fmla="*/ 167368 w 350540"/>
                  <a:gd name="connsiteY18" fmla="*/ 204155 h 338485"/>
                  <a:gd name="connsiteX19" fmla="*/ 131381 w 350540"/>
                  <a:gd name="connsiteY19" fmla="*/ 217455 h 338485"/>
                  <a:gd name="connsiteX20" fmla="*/ 119386 w 350540"/>
                  <a:gd name="connsiteY20" fmla="*/ 238070 h 338485"/>
                  <a:gd name="connsiteX21" fmla="*/ 154706 w 350540"/>
                  <a:gd name="connsiteY21" fmla="*/ 265335 h 338485"/>
                  <a:gd name="connsiteX22" fmla="*/ 220682 w 350540"/>
                  <a:gd name="connsiteY22" fmla="*/ 202825 h 338485"/>
                  <a:gd name="connsiteX23" fmla="*/ 220682 w 350540"/>
                  <a:gd name="connsiteY23" fmla="*/ 185535 h 338485"/>
                  <a:gd name="connsiteX24" fmla="*/ 167368 w 350540"/>
                  <a:gd name="connsiteY24" fmla="*/ 20415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50540" h="338485">
                    <a:moveTo>
                      <a:pt x="14661" y="124355"/>
                    </a:moveTo>
                    <a:cubicBezTo>
                      <a:pt x="17993" y="85785"/>
                      <a:pt x="27323" y="63175"/>
                      <a:pt x="47316" y="42560"/>
                    </a:cubicBezTo>
                    <a:cubicBezTo>
                      <a:pt x="75306" y="15295"/>
                      <a:pt x="121290" y="0"/>
                      <a:pt x="179269" y="0"/>
                    </a:cubicBezTo>
                    <a:cubicBezTo>
                      <a:pt x="229251" y="0"/>
                      <a:pt x="269236" y="10640"/>
                      <a:pt x="299225" y="32585"/>
                    </a:cubicBezTo>
                    <a:cubicBezTo>
                      <a:pt x="327882" y="53865"/>
                      <a:pt x="340544" y="83790"/>
                      <a:pt x="340544" y="131005"/>
                    </a:cubicBezTo>
                    <a:lnTo>
                      <a:pt x="340544" y="281960"/>
                    </a:lnTo>
                    <a:cubicBezTo>
                      <a:pt x="340544" y="305900"/>
                      <a:pt x="342543" y="315875"/>
                      <a:pt x="350540" y="329840"/>
                    </a:cubicBezTo>
                    <a:lnTo>
                      <a:pt x="229917" y="329840"/>
                    </a:lnTo>
                    <a:cubicBezTo>
                      <a:pt x="224586" y="318535"/>
                      <a:pt x="221920" y="311220"/>
                      <a:pt x="219254" y="297255"/>
                    </a:cubicBezTo>
                    <a:cubicBezTo>
                      <a:pt x="177936" y="328510"/>
                      <a:pt x="151945" y="338485"/>
                      <a:pt x="111960" y="338485"/>
                    </a:cubicBezTo>
                    <a:cubicBezTo>
                      <a:pt x="45317" y="338485"/>
                      <a:pt x="0" y="300580"/>
                      <a:pt x="0" y="244720"/>
                    </a:cubicBezTo>
                    <a:cubicBezTo>
                      <a:pt x="0" y="191520"/>
                      <a:pt x="29323" y="160930"/>
                      <a:pt x="89968" y="148960"/>
                    </a:cubicBezTo>
                    <a:lnTo>
                      <a:pt x="183267" y="131005"/>
                    </a:lnTo>
                    <a:cubicBezTo>
                      <a:pt x="207925" y="126350"/>
                      <a:pt x="218588" y="119035"/>
                      <a:pt x="218588" y="107065"/>
                    </a:cubicBezTo>
                    <a:cubicBezTo>
                      <a:pt x="218588" y="90440"/>
                      <a:pt x="201927" y="79800"/>
                      <a:pt x="176603" y="79800"/>
                    </a:cubicBezTo>
                    <a:cubicBezTo>
                      <a:pt x="146614" y="79800"/>
                      <a:pt x="128620" y="94430"/>
                      <a:pt x="128620" y="119700"/>
                    </a:cubicBezTo>
                    <a:lnTo>
                      <a:pt x="128620" y="124355"/>
                    </a:lnTo>
                    <a:lnTo>
                      <a:pt x="14661" y="124355"/>
                    </a:lnTo>
                    <a:close/>
                    <a:moveTo>
                      <a:pt x="167368" y="204155"/>
                    </a:moveTo>
                    <a:cubicBezTo>
                      <a:pt x="138712" y="213465"/>
                      <a:pt x="138712" y="213465"/>
                      <a:pt x="131381" y="217455"/>
                    </a:cubicBezTo>
                    <a:cubicBezTo>
                      <a:pt x="123384" y="222110"/>
                      <a:pt x="119386" y="229425"/>
                      <a:pt x="119386" y="238070"/>
                    </a:cubicBezTo>
                    <a:cubicBezTo>
                      <a:pt x="119386" y="254695"/>
                      <a:pt x="133381" y="265335"/>
                      <a:pt x="154706" y="265335"/>
                    </a:cubicBezTo>
                    <a:cubicBezTo>
                      <a:pt x="193359" y="265335"/>
                      <a:pt x="220682" y="239400"/>
                      <a:pt x="220682" y="202825"/>
                    </a:cubicBezTo>
                    <a:lnTo>
                      <a:pt x="220682" y="185535"/>
                    </a:lnTo>
                    <a:lnTo>
                      <a:pt x="167368" y="20415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1" name="Freeform 100">
                <a:extLst>
                  <a:ext uri="{FF2B5EF4-FFF2-40B4-BE49-F238E27FC236}">
                    <a16:creationId xmlns:a16="http://schemas.microsoft.com/office/drawing/2014/main" id="{D3F2E06E-DB6F-C247-AA91-20F4893124BE}"/>
                  </a:ext>
                </a:extLst>
              </p:cNvPr>
              <p:cNvSpPr/>
              <p:nvPr/>
            </p:nvSpPr>
            <p:spPr>
              <a:xfrm>
                <a:off x="11299057"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5" y="331170"/>
                      <a:pt x="205259" y="331170"/>
                    </a:cubicBezTo>
                    <a:cubicBezTo>
                      <a:pt x="215256" y="331170"/>
                      <a:pt x="222587" y="329840"/>
                      <a:pt x="229917" y="327180"/>
                    </a:cubicBezTo>
                    <a:lnTo>
                      <a:pt x="229917" y="411635"/>
                    </a:lnTo>
                    <a:cubicBezTo>
                      <a:pt x="203260" y="418285"/>
                      <a:pt x="181935"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2" name="Freeform 101">
                <a:extLst>
                  <a:ext uri="{FF2B5EF4-FFF2-40B4-BE49-F238E27FC236}">
                    <a16:creationId xmlns:a16="http://schemas.microsoft.com/office/drawing/2014/main" id="{CBDA2545-C815-FA4D-BF1B-21B7C25815F3}"/>
                  </a:ext>
                </a:extLst>
              </p:cNvPr>
              <p:cNvSpPr/>
              <p:nvPr/>
            </p:nvSpPr>
            <p:spPr>
              <a:xfrm>
                <a:off x="11770125" y="8338865"/>
                <a:ext cx="355300" cy="443649"/>
              </a:xfrm>
              <a:custGeom>
                <a:avLst/>
                <a:gdLst>
                  <a:gd name="connsiteX0" fmla="*/ 355301 w 355300"/>
                  <a:gd name="connsiteY0" fmla="*/ 117800 h 443649"/>
                  <a:gd name="connsiteX1" fmla="*/ 133285 w 355300"/>
                  <a:gd name="connsiteY1" fmla="*/ 117800 h 443649"/>
                  <a:gd name="connsiteX2" fmla="*/ 133285 w 355300"/>
                  <a:gd name="connsiteY2" fmla="*/ 176320 h 443649"/>
                  <a:gd name="connsiteX3" fmla="*/ 314648 w 355300"/>
                  <a:gd name="connsiteY3" fmla="*/ 176320 h 443649"/>
                  <a:gd name="connsiteX4" fmla="*/ 314648 w 355300"/>
                  <a:gd name="connsiteY4" fmla="*/ 287375 h 443649"/>
                  <a:gd name="connsiteX5" fmla="*/ 133285 w 355300"/>
                  <a:gd name="connsiteY5" fmla="*/ 287375 h 443649"/>
                  <a:gd name="connsiteX6" fmla="*/ 133285 w 355300"/>
                  <a:gd name="connsiteY6" fmla="*/ 443650 h 443649"/>
                  <a:gd name="connsiteX7" fmla="*/ 0 w 355300"/>
                  <a:gd name="connsiteY7" fmla="*/ 443650 h 443649"/>
                  <a:gd name="connsiteX8" fmla="*/ 0 w 355300"/>
                  <a:gd name="connsiteY8" fmla="*/ 0 h 443649"/>
                  <a:gd name="connsiteX9" fmla="*/ 355301 w 355300"/>
                  <a:gd name="connsiteY9" fmla="*/ 0 h 44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300" h="443649">
                    <a:moveTo>
                      <a:pt x="355301" y="117800"/>
                    </a:moveTo>
                    <a:lnTo>
                      <a:pt x="133285" y="117800"/>
                    </a:lnTo>
                    <a:lnTo>
                      <a:pt x="133285" y="176320"/>
                    </a:lnTo>
                    <a:lnTo>
                      <a:pt x="314648" y="176320"/>
                    </a:lnTo>
                    <a:lnTo>
                      <a:pt x="314648" y="287375"/>
                    </a:lnTo>
                    <a:lnTo>
                      <a:pt x="133285" y="287375"/>
                    </a:lnTo>
                    <a:lnTo>
                      <a:pt x="133285" y="443650"/>
                    </a:lnTo>
                    <a:lnTo>
                      <a:pt x="0" y="443650"/>
                    </a:lnTo>
                    <a:lnTo>
                      <a:pt x="0" y="0"/>
                    </a:lnTo>
                    <a:lnTo>
                      <a:pt x="355301" y="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3" name="Freeform 102">
                <a:extLst>
                  <a:ext uri="{FF2B5EF4-FFF2-40B4-BE49-F238E27FC236}">
                    <a16:creationId xmlns:a16="http://schemas.microsoft.com/office/drawing/2014/main" id="{0334CDB3-5A5F-914E-B5FF-4EEEACCFC2C3}"/>
                  </a:ext>
                </a:extLst>
              </p:cNvPr>
              <p:cNvSpPr/>
              <p:nvPr/>
            </p:nvSpPr>
            <p:spPr>
              <a:xfrm>
                <a:off x="12161413" y="8461225"/>
                <a:ext cx="334545" cy="329935"/>
              </a:xfrm>
              <a:custGeom>
                <a:avLst/>
                <a:gdLst>
                  <a:gd name="connsiteX0" fmla="*/ 334546 w 334545"/>
                  <a:gd name="connsiteY0" fmla="*/ 321290 h 329935"/>
                  <a:gd name="connsiteX1" fmla="*/ 216589 w 334545"/>
                  <a:gd name="connsiteY1" fmla="*/ 321290 h 329935"/>
                  <a:gd name="connsiteX2" fmla="*/ 216589 w 334545"/>
                  <a:gd name="connsiteY2" fmla="*/ 280060 h 329935"/>
                  <a:gd name="connsiteX3" fmla="*/ 117957 w 334545"/>
                  <a:gd name="connsiteY3" fmla="*/ 329935 h 329935"/>
                  <a:gd name="connsiteX4" fmla="*/ 27990 w 334545"/>
                  <a:gd name="connsiteY4" fmla="*/ 288705 h 329935"/>
                  <a:gd name="connsiteX5" fmla="*/ 0 w 334545"/>
                  <a:gd name="connsiteY5" fmla="*/ 188955 h 329935"/>
                  <a:gd name="connsiteX6" fmla="*/ 0 w 334545"/>
                  <a:gd name="connsiteY6" fmla="*/ 0 h 329935"/>
                  <a:gd name="connsiteX7" fmla="*/ 124622 w 334545"/>
                  <a:gd name="connsiteY7" fmla="*/ 0 h 329935"/>
                  <a:gd name="connsiteX8" fmla="*/ 124622 w 334545"/>
                  <a:gd name="connsiteY8" fmla="*/ 168910 h 329935"/>
                  <a:gd name="connsiteX9" fmla="*/ 166607 w 334545"/>
                  <a:gd name="connsiteY9" fmla="*/ 224770 h 329935"/>
                  <a:gd name="connsiteX10" fmla="*/ 209924 w 334545"/>
                  <a:gd name="connsiteY10" fmla="*/ 174895 h 329935"/>
                  <a:gd name="connsiteX11" fmla="*/ 209924 w 334545"/>
                  <a:gd name="connsiteY11" fmla="*/ 0 h 329935"/>
                  <a:gd name="connsiteX12" fmla="*/ 334546 w 334545"/>
                  <a:gd name="connsiteY12" fmla="*/ 0 h 329935"/>
                  <a:gd name="connsiteX13" fmla="*/ 334546 w 334545"/>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5" h="329935">
                    <a:moveTo>
                      <a:pt x="334546" y="321290"/>
                    </a:moveTo>
                    <a:lnTo>
                      <a:pt x="216589" y="321290"/>
                    </a:lnTo>
                    <a:lnTo>
                      <a:pt x="216589" y="280060"/>
                    </a:lnTo>
                    <a:cubicBezTo>
                      <a:pt x="188599" y="315305"/>
                      <a:pt x="159276" y="329935"/>
                      <a:pt x="117957" y="329935"/>
                    </a:cubicBezTo>
                    <a:cubicBezTo>
                      <a:pt x="81304" y="329935"/>
                      <a:pt x="49315" y="315305"/>
                      <a:pt x="27990" y="288705"/>
                    </a:cubicBezTo>
                    <a:cubicBezTo>
                      <a:pt x="7997" y="264100"/>
                      <a:pt x="0" y="235505"/>
                      <a:pt x="0" y="188955"/>
                    </a:cubicBezTo>
                    <a:lnTo>
                      <a:pt x="0" y="0"/>
                    </a:lnTo>
                    <a:lnTo>
                      <a:pt x="124622" y="0"/>
                    </a:lnTo>
                    <a:lnTo>
                      <a:pt x="124622" y="168910"/>
                    </a:lnTo>
                    <a:cubicBezTo>
                      <a:pt x="124622"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4" name="Freeform 103">
                <a:extLst>
                  <a:ext uri="{FF2B5EF4-FFF2-40B4-BE49-F238E27FC236}">
                    <a16:creationId xmlns:a16="http://schemas.microsoft.com/office/drawing/2014/main" id="{309310BD-FA74-B04C-B630-F85D2281FD80}"/>
                  </a:ext>
                </a:extLst>
              </p:cNvPr>
              <p:cNvSpPr/>
              <p:nvPr/>
            </p:nvSpPr>
            <p:spPr>
              <a:xfrm>
                <a:off x="12526519" y="8365464"/>
                <a:ext cx="229917" cy="421610"/>
              </a:xfrm>
              <a:custGeom>
                <a:avLst/>
                <a:gdLst>
                  <a:gd name="connsiteX0" fmla="*/ 229917 w 229917"/>
                  <a:gd name="connsiteY0" fmla="*/ 173565 h 421610"/>
                  <a:gd name="connsiteX1" fmla="*/ 171938 w 229917"/>
                  <a:gd name="connsiteY1" fmla="*/ 173565 h 421610"/>
                  <a:gd name="connsiteX2" fmla="*/ 171938 w 229917"/>
                  <a:gd name="connsiteY2" fmla="*/ 292600 h 421610"/>
                  <a:gd name="connsiteX3" fmla="*/ 205259 w 229917"/>
                  <a:gd name="connsiteY3" fmla="*/ 331170 h 421610"/>
                  <a:gd name="connsiteX4" fmla="*/ 229917 w 229917"/>
                  <a:gd name="connsiteY4" fmla="*/ 327180 h 421610"/>
                  <a:gd name="connsiteX5" fmla="*/ 229917 w 229917"/>
                  <a:gd name="connsiteY5" fmla="*/ 411635 h 421610"/>
                  <a:gd name="connsiteX6" fmla="*/ 161275 w 229917"/>
                  <a:gd name="connsiteY6" fmla="*/ 421610 h 421610"/>
                  <a:gd name="connsiteX7" fmla="*/ 74640 w 229917"/>
                  <a:gd name="connsiteY7" fmla="*/ 389025 h 421610"/>
                  <a:gd name="connsiteX8" fmla="*/ 47316 w 229917"/>
                  <a:gd name="connsiteY8" fmla="*/ 297255 h 421610"/>
                  <a:gd name="connsiteX9" fmla="*/ 47316 w 229917"/>
                  <a:gd name="connsiteY9" fmla="*/ 173565 h 421610"/>
                  <a:gd name="connsiteX10" fmla="*/ 0 w 229917"/>
                  <a:gd name="connsiteY10" fmla="*/ 173565 h 421610"/>
                  <a:gd name="connsiteX11" fmla="*/ 0 w 229917"/>
                  <a:gd name="connsiteY11" fmla="*/ 95760 h 421610"/>
                  <a:gd name="connsiteX12" fmla="*/ 47316 w 229917"/>
                  <a:gd name="connsiteY12" fmla="*/ 95760 h 421610"/>
                  <a:gd name="connsiteX13" fmla="*/ 47316 w 229917"/>
                  <a:gd name="connsiteY13" fmla="*/ 0 h 421610"/>
                  <a:gd name="connsiteX14" fmla="*/ 171938 w 229917"/>
                  <a:gd name="connsiteY14" fmla="*/ 0 h 421610"/>
                  <a:gd name="connsiteX15" fmla="*/ 171938 w 229917"/>
                  <a:gd name="connsiteY15" fmla="*/ 95760 h 421610"/>
                  <a:gd name="connsiteX16" fmla="*/ 229917 w 229917"/>
                  <a:gd name="connsiteY16" fmla="*/ 95760 h 421610"/>
                  <a:gd name="connsiteX17" fmla="*/ 229917 w 229917"/>
                  <a:gd name="connsiteY17" fmla="*/ 173565 h 42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917" h="421610">
                    <a:moveTo>
                      <a:pt x="229917" y="173565"/>
                    </a:moveTo>
                    <a:lnTo>
                      <a:pt x="171938" y="173565"/>
                    </a:lnTo>
                    <a:lnTo>
                      <a:pt x="171938" y="292600"/>
                    </a:lnTo>
                    <a:cubicBezTo>
                      <a:pt x="171938" y="319865"/>
                      <a:pt x="181934" y="331170"/>
                      <a:pt x="205259" y="331170"/>
                    </a:cubicBezTo>
                    <a:cubicBezTo>
                      <a:pt x="215256" y="331170"/>
                      <a:pt x="222586" y="329840"/>
                      <a:pt x="229917" y="327180"/>
                    </a:cubicBezTo>
                    <a:lnTo>
                      <a:pt x="229917" y="411635"/>
                    </a:lnTo>
                    <a:cubicBezTo>
                      <a:pt x="203260" y="418285"/>
                      <a:pt x="181934" y="421610"/>
                      <a:pt x="161275" y="421610"/>
                    </a:cubicBezTo>
                    <a:cubicBezTo>
                      <a:pt x="124622" y="421610"/>
                      <a:pt x="95299" y="410305"/>
                      <a:pt x="74640" y="389025"/>
                    </a:cubicBezTo>
                    <a:cubicBezTo>
                      <a:pt x="55313" y="369075"/>
                      <a:pt x="47316" y="341145"/>
                      <a:pt x="47316" y="297255"/>
                    </a:cubicBezTo>
                    <a:lnTo>
                      <a:pt x="47316" y="173565"/>
                    </a:lnTo>
                    <a:lnTo>
                      <a:pt x="0" y="173565"/>
                    </a:lnTo>
                    <a:lnTo>
                      <a:pt x="0" y="95760"/>
                    </a:lnTo>
                    <a:lnTo>
                      <a:pt x="47316" y="95760"/>
                    </a:lnTo>
                    <a:lnTo>
                      <a:pt x="47316" y="0"/>
                    </a:lnTo>
                    <a:lnTo>
                      <a:pt x="171938" y="0"/>
                    </a:lnTo>
                    <a:lnTo>
                      <a:pt x="171938" y="95760"/>
                    </a:lnTo>
                    <a:lnTo>
                      <a:pt x="229917" y="95760"/>
                    </a:lnTo>
                    <a:lnTo>
                      <a:pt x="229917" y="17356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5" name="Freeform 104">
                <a:extLst>
                  <a:ext uri="{FF2B5EF4-FFF2-40B4-BE49-F238E27FC236}">
                    <a16:creationId xmlns:a16="http://schemas.microsoft.com/office/drawing/2014/main" id="{83026414-CABB-8445-91EB-1742815F75A0}"/>
                  </a:ext>
                </a:extLst>
              </p:cNvPr>
              <p:cNvSpPr/>
              <p:nvPr/>
            </p:nvSpPr>
            <p:spPr>
              <a:xfrm>
                <a:off x="12786521" y="8461225"/>
                <a:ext cx="334546" cy="329935"/>
              </a:xfrm>
              <a:custGeom>
                <a:avLst/>
                <a:gdLst>
                  <a:gd name="connsiteX0" fmla="*/ 334546 w 334546"/>
                  <a:gd name="connsiteY0" fmla="*/ 321290 h 329935"/>
                  <a:gd name="connsiteX1" fmla="*/ 216589 w 334546"/>
                  <a:gd name="connsiteY1" fmla="*/ 321290 h 329935"/>
                  <a:gd name="connsiteX2" fmla="*/ 216589 w 334546"/>
                  <a:gd name="connsiteY2" fmla="*/ 280060 h 329935"/>
                  <a:gd name="connsiteX3" fmla="*/ 117958 w 334546"/>
                  <a:gd name="connsiteY3" fmla="*/ 329935 h 329935"/>
                  <a:gd name="connsiteX4" fmla="*/ 27990 w 334546"/>
                  <a:gd name="connsiteY4" fmla="*/ 288705 h 329935"/>
                  <a:gd name="connsiteX5" fmla="*/ 0 w 334546"/>
                  <a:gd name="connsiteY5" fmla="*/ 188955 h 329935"/>
                  <a:gd name="connsiteX6" fmla="*/ 0 w 334546"/>
                  <a:gd name="connsiteY6" fmla="*/ 0 h 329935"/>
                  <a:gd name="connsiteX7" fmla="*/ 124621 w 334546"/>
                  <a:gd name="connsiteY7" fmla="*/ 0 h 329935"/>
                  <a:gd name="connsiteX8" fmla="*/ 124621 w 334546"/>
                  <a:gd name="connsiteY8" fmla="*/ 168910 h 329935"/>
                  <a:gd name="connsiteX9" fmla="*/ 166607 w 334546"/>
                  <a:gd name="connsiteY9" fmla="*/ 224770 h 329935"/>
                  <a:gd name="connsiteX10" fmla="*/ 209924 w 334546"/>
                  <a:gd name="connsiteY10" fmla="*/ 174895 h 329935"/>
                  <a:gd name="connsiteX11" fmla="*/ 209924 w 334546"/>
                  <a:gd name="connsiteY11" fmla="*/ 0 h 329935"/>
                  <a:gd name="connsiteX12" fmla="*/ 334546 w 334546"/>
                  <a:gd name="connsiteY12" fmla="*/ 0 h 329935"/>
                  <a:gd name="connsiteX13" fmla="*/ 334546 w 334546"/>
                  <a:gd name="connsiteY13" fmla="*/ 321290 h 32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546" h="329935">
                    <a:moveTo>
                      <a:pt x="334546" y="321290"/>
                    </a:moveTo>
                    <a:lnTo>
                      <a:pt x="216589" y="321290"/>
                    </a:lnTo>
                    <a:lnTo>
                      <a:pt x="216589" y="280060"/>
                    </a:lnTo>
                    <a:cubicBezTo>
                      <a:pt x="188599" y="315305"/>
                      <a:pt x="159276" y="329935"/>
                      <a:pt x="117958" y="329935"/>
                    </a:cubicBezTo>
                    <a:cubicBezTo>
                      <a:pt x="81304" y="329935"/>
                      <a:pt x="49315" y="315305"/>
                      <a:pt x="27990" y="288705"/>
                    </a:cubicBezTo>
                    <a:cubicBezTo>
                      <a:pt x="7997" y="264100"/>
                      <a:pt x="0" y="235505"/>
                      <a:pt x="0" y="188955"/>
                    </a:cubicBezTo>
                    <a:lnTo>
                      <a:pt x="0" y="0"/>
                    </a:lnTo>
                    <a:lnTo>
                      <a:pt x="124621" y="0"/>
                    </a:lnTo>
                    <a:lnTo>
                      <a:pt x="124621" y="168910"/>
                    </a:lnTo>
                    <a:cubicBezTo>
                      <a:pt x="124621" y="205485"/>
                      <a:pt x="139283" y="224770"/>
                      <a:pt x="166607" y="224770"/>
                    </a:cubicBezTo>
                    <a:cubicBezTo>
                      <a:pt x="193264" y="224770"/>
                      <a:pt x="209924" y="205485"/>
                      <a:pt x="209924" y="174895"/>
                    </a:cubicBezTo>
                    <a:lnTo>
                      <a:pt x="209924" y="0"/>
                    </a:lnTo>
                    <a:lnTo>
                      <a:pt x="334546" y="0"/>
                    </a:lnTo>
                    <a:lnTo>
                      <a:pt x="334546" y="321290"/>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6" name="Freeform 105">
                <a:extLst>
                  <a:ext uri="{FF2B5EF4-FFF2-40B4-BE49-F238E27FC236}">
                    <a16:creationId xmlns:a16="http://schemas.microsoft.com/office/drawing/2014/main" id="{EA3E4B0C-5FE1-A84D-B9DF-67265594B863}"/>
                  </a:ext>
                </a:extLst>
              </p:cNvPr>
              <p:cNvSpPr/>
              <p:nvPr/>
            </p:nvSpPr>
            <p:spPr>
              <a:xfrm>
                <a:off x="13174286" y="8452674"/>
                <a:ext cx="251909" cy="329840"/>
              </a:xfrm>
              <a:custGeom>
                <a:avLst/>
                <a:gdLst>
                  <a:gd name="connsiteX0" fmla="*/ 117958 w 251909"/>
                  <a:gd name="connsiteY0" fmla="*/ 8645 h 329840"/>
                  <a:gd name="connsiteX1" fmla="*/ 117958 w 251909"/>
                  <a:gd name="connsiteY1" fmla="*/ 53200 h 329840"/>
                  <a:gd name="connsiteX2" fmla="*/ 213257 w 251909"/>
                  <a:gd name="connsiteY2" fmla="*/ 0 h 329840"/>
                  <a:gd name="connsiteX3" fmla="*/ 251909 w 251909"/>
                  <a:gd name="connsiteY3" fmla="*/ 6650 h 329840"/>
                  <a:gd name="connsiteX4" fmla="*/ 251909 w 251909"/>
                  <a:gd name="connsiteY4" fmla="*/ 117705 h 329840"/>
                  <a:gd name="connsiteX5" fmla="*/ 201927 w 251909"/>
                  <a:gd name="connsiteY5" fmla="*/ 106400 h 329840"/>
                  <a:gd name="connsiteX6" fmla="*/ 124622 w 251909"/>
                  <a:gd name="connsiteY6" fmla="*/ 183540 h 329840"/>
                  <a:gd name="connsiteX7" fmla="*/ 124622 w 251909"/>
                  <a:gd name="connsiteY7" fmla="*/ 329840 h 329840"/>
                  <a:gd name="connsiteX8" fmla="*/ 0 w 251909"/>
                  <a:gd name="connsiteY8" fmla="*/ 329840 h 329840"/>
                  <a:gd name="connsiteX9" fmla="*/ 0 w 251909"/>
                  <a:gd name="connsiteY9" fmla="*/ 8645 h 329840"/>
                  <a:gd name="connsiteX10" fmla="*/ 117958 w 251909"/>
                  <a:gd name="connsiteY10" fmla="*/ 8645 h 32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909" h="329840">
                    <a:moveTo>
                      <a:pt x="117958" y="8645"/>
                    </a:moveTo>
                    <a:lnTo>
                      <a:pt x="117958" y="53200"/>
                    </a:lnTo>
                    <a:cubicBezTo>
                      <a:pt x="146614" y="16625"/>
                      <a:pt x="175936" y="0"/>
                      <a:pt x="213257" y="0"/>
                    </a:cubicBezTo>
                    <a:cubicBezTo>
                      <a:pt x="225918" y="0"/>
                      <a:pt x="234582" y="1330"/>
                      <a:pt x="251909" y="6650"/>
                    </a:cubicBezTo>
                    <a:lnTo>
                      <a:pt x="251909" y="117705"/>
                    </a:lnTo>
                    <a:cubicBezTo>
                      <a:pt x="227251" y="108395"/>
                      <a:pt x="217922" y="106400"/>
                      <a:pt x="201927" y="106400"/>
                    </a:cubicBezTo>
                    <a:cubicBezTo>
                      <a:pt x="154611" y="106400"/>
                      <a:pt x="124622" y="136325"/>
                      <a:pt x="124622" y="183540"/>
                    </a:cubicBezTo>
                    <a:lnTo>
                      <a:pt x="124622" y="329840"/>
                    </a:lnTo>
                    <a:lnTo>
                      <a:pt x="0" y="329840"/>
                    </a:lnTo>
                    <a:lnTo>
                      <a:pt x="0" y="8645"/>
                    </a:lnTo>
                    <a:lnTo>
                      <a:pt x="117958" y="86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7" name="Freeform 106">
                <a:extLst>
                  <a:ext uri="{FF2B5EF4-FFF2-40B4-BE49-F238E27FC236}">
                    <a16:creationId xmlns:a16="http://schemas.microsoft.com/office/drawing/2014/main" id="{39CA9351-E1BA-2940-890B-333CE5D611EF}"/>
                  </a:ext>
                </a:extLst>
              </p:cNvPr>
              <p:cNvSpPr/>
              <p:nvPr/>
            </p:nvSpPr>
            <p:spPr>
              <a:xfrm>
                <a:off x="13454185" y="8452674"/>
                <a:ext cx="359870" cy="338485"/>
              </a:xfrm>
              <a:custGeom>
                <a:avLst/>
                <a:gdLst>
                  <a:gd name="connsiteX0" fmla="*/ 123289 w 359870"/>
                  <a:gd name="connsiteY0" fmla="*/ 198835 h 338485"/>
                  <a:gd name="connsiteX1" fmla="*/ 187932 w 359870"/>
                  <a:gd name="connsiteY1" fmla="*/ 252035 h 338485"/>
                  <a:gd name="connsiteX2" fmla="*/ 233249 w 359870"/>
                  <a:gd name="connsiteY2" fmla="*/ 230755 h 338485"/>
                  <a:gd name="connsiteX3" fmla="*/ 354539 w 359870"/>
                  <a:gd name="connsiteY3" fmla="*/ 230755 h 338485"/>
                  <a:gd name="connsiteX4" fmla="*/ 183934 w 359870"/>
                  <a:gd name="connsiteY4" fmla="*/ 338485 h 338485"/>
                  <a:gd name="connsiteX5" fmla="*/ 0 w 359870"/>
                  <a:gd name="connsiteY5" fmla="*/ 168245 h 338485"/>
                  <a:gd name="connsiteX6" fmla="*/ 180601 w 359870"/>
                  <a:gd name="connsiteY6" fmla="*/ 0 h 338485"/>
                  <a:gd name="connsiteX7" fmla="*/ 342543 w 359870"/>
                  <a:gd name="connsiteY7" fmla="*/ 96425 h 338485"/>
                  <a:gd name="connsiteX8" fmla="*/ 359870 w 359870"/>
                  <a:gd name="connsiteY8" fmla="*/ 198835 h 338485"/>
                  <a:gd name="connsiteX9" fmla="*/ 123289 w 359870"/>
                  <a:gd name="connsiteY9" fmla="*/ 198835 h 338485"/>
                  <a:gd name="connsiteX10" fmla="*/ 235248 w 359870"/>
                  <a:gd name="connsiteY10" fmla="*/ 132335 h 338485"/>
                  <a:gd name="connsiteX11" fmla="*/ 179268 w 359870"/>
                  <a:gd name="connsiteY11" fmla="*/ 81795 h 338485"/>
                  <a:gd name="connsiteX12" fmla="*/ 123955 w 359870"/>
                  <a:gd name="connsiteY12" fmla="*/ 132335 h 338485"/>
                  <a:gd name="connsiteX13" fmla="*/ 235248 w 359870"/>
                  <a:gd name="connsiteY13" fmla="*/ 13233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9870" h="338485">
                    <a:moveTo>
                      <a:pt x="123289" y="198835"/>
                    </a:moveTo>
                    <a:cubicBezTo>
                      <a:pt x="127954" y="231420"/>
                      <a:pt x="152611" y="252035"/>
                      <a:pt x="187932" y="252035"/>
                    </a:cubicBezTo>
                    <a:cubicBezTo>
                      <a:pt x="209258" y="252035"/>
                      <a:pt x="223919" y="245385"/>
                      <a:pt x="233249" y="230755"/>
                    </a:cubicBezTo>
                    <a:lnTo>
                      <a:pt x="354539" y="230755"/>
                    </a:lnTo>
                    <a:cubicBezTo>
                      <a:pt x="339878" y="293265"/>
                      <a:pt x="267903" y="338485"/>
                      <a:pt x="183934" y="338485"/>
                    </a:cubicBezTo>
                    <a:cubicBezTo>
                      <a:pt x="75306" y="338485"/>
                      <a:pt x="0" y="268660"/>
                      <a:pt x="0" y="168245"/>
                    </a:cubicBezTo>
                    <a:cubicBezTo>
                      <a:pt x="0" y="71155"/>
                      <a:pt x="75972" y="0"/>
                      <a:pt x="180601" y="0"/>
                    </a:cubicBezTo>
                    <a:cubicBezTo>
                      <a:pt x="253908" y="0"/>
                      <a:pt x="313887" y="35245"/>
                      <a:pt x="342543" y="96425"/>
                    </a:cubicBezTo>
                    <a:cubicBezTo>
                      <a:pt x="354539" y="123025"/>
                      <a:pt x="359870" y="151620"/>
                      <a:pt x="359870" y="198835"/>
                    </a:cubicBezTo>
                    <a:lnTo>
                      <a:pt x="123289" y="198835"/>
                    </a:lnTo>
                    <a:close/>
                    <a:moveTo>
                      <a:pt x="235248" y="132335"/>
                    </a:moveTo>
                    <a:cubicBezTo>
                      <a:pt x="231916" y="101080"/>
                      <a:pt x="210591" y="81795"/>
                      <a:pt x="179268" y="81795"/>
                    </a:cubicBezTo>
                    <a:cubicBezTo>
                      <a:pt x="148613" y="81795"/>
                      <a:pt x="127287" y="101080"/>
                      <a:pt x="123955" y="132335"/>
                    </a:cubicBezTo>
                    <a:lnTo>
                      <a:pt x="235248" y="13233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8" name="Freeform 107">
                <a:extLst>
                  <a:ext uri="{FF2B5EF4-FFF2-40B4-BE49-F238E27FC236}">
                    <a16:creationId xmlns:a16="http://schemas.microsoft.com/office/drawing/2014/main" id="{9677E625-3097-ED46-8066-8E9A4FF4507E}"/>
                  </a:ext>
                </a:extLst>
              </p:cNvPr>
              <p:cNvSpPr/>
              <p:nvPr/>
            </p:nvSpPr>
            <p:spPr>
              <a:xfrm>
                <a:off x="13846043" y="8452674"/>
                <a:ext cx="329214" cy="338485"/>
              </a:xfrm>
              <a:custGeom>
                <a:avLst/>
                <a:gdLst>
                  <a:gd name="connsiteX0" fmla="*/ 201927 w 329214"/>
                  <a:gd name="connsiteY0" fmla="*/ 103075 h 338485"/>
                  <a:gd name="connsiteX1" fmla="*/ 161275 w 329214"/>
                  <a:gd name="connsiteY1" fmla="*/ 73150 h 338485"/>
                  <a:gd name="connsiteX2" fmla="*/ 128620 w 329214"/>
                  <a:gd name="connsiteY2" fmla="*/ 91105 h 338485"/>
                  <a:gd name="connsiteX3" fmla="*/ 159942 w 329214"/>
                  <a:gd name="connsiteY3" fmla="*/ 113050 h 338485"/>
                  <a:gd name="connsiteX4" fmla="*/ 217255 w 329214"/>
                  <a:gd name="connsiteY4" fmla="*/ 124355 h 338485"/>
                  <a:gd name="connsiteX5" fmla="*/ 296560 w 329214"/>
                  <a:gd name="connsiteY5" fmla="*/ 154280 h 338485"/>
                  <a:gd name="connsiteX6" fmla="*/ 329215 w 329214"/>
                  <a:gd name="connsiteY6" fmla="*/ 225435 h 338485"/>
                  <a:gd name="connsiteX7" fmla="*/ 164608 w 329214"/>
                  <a:gd name="connsiteY7" fmla="*/ 338485 h 338485"/>
                  <a:gd name="connsiteX8" fmla="*/ 29989 w 329214"/>
                  <a:gd name="connsiteY8" fmla="*/ 292600 h 338485"/>
                  <a:gd name="connsiteX9" fmla="*/ 0 w 329214"/>
                  <a:gd name="connsiteY9" fmla="*/ 220115 h 338485"/>
                  <a:gd name="connsiteX10" fmla="*/ 119291 w 329214"/>
                  <a:gd name="connsiteY10" fmla="*/ 220115 h 338485"/>
                  <a:gd name="connsiteX11" fmla="*/ 167273 w 329214"/>
                  <a:gd name="connsiteY11" fmla="*/ 258685 h 338485"/>
                  <a:gd name="connsiteX12" fmla="*/ 204593 w 329214"/>
                  <a:gd name="connsiteY12" fmla="*/ 235410 h 338485"/>
                  <a:gd name="connsiteX13" fmla="*/ 175271 w 329214"/>
                  <a:gd name="connsiteY13" fmla="*/ 213465 h 338485"/>
                  <a:gd name="connsiteX14" fmla="*/ 102630 w 329214"/>
                  <a:gd name="connsiteY14" fmla="*/ 196840 h 338485"/>
                  <a:gd name="connsiteX15" fmla="*/ 6664 w 329214"/>
                  <a:gd name="connsiteY15" fmla="*/ 103075 h 338485"/>
                  <a:gd name="connsiteX16" fmla="*/ 165940 w 329214"/>
                  <a:gd name="connsiteY16" fmla="*/ 0 h 338485"/>
                  <a:gd name="connsiteX17" fmla="*/ 317886 w 329214"/>
                  <a:gd name="connsiteY17" fmla="*/ 103075 h 338485"/>
                  <a:gd name="connsiteX18" fmla="*/ 201927 w 329214"/>
                  <a:gd name="connsiteY18" fmla="*/ 103075 h 338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9214" h="338485">
                    <a:moveTo>
                      <a:pt x="201927" y="103075"/>
                    </a:moveTo>
                    <a:cubicBezTo>
                      <a:pt x="199261" y="81795"/>
                      <a:pt x="187932" y="73150"/>
                      <a:pt x="161275" y="73150"/>
                    </a:cubicBezTo>
                    <a:cubicBezTo>
                      <a:pt x="141949" y="73150"/>
                      <a:pt x="128620" y="80465"/>
                      <a:pt x="128620" y="91105"/>
                    </a:cubicBezTo>
                    <a:cubicBezTo>
                      <a:pt x="128620" y="101745"/>
                      <a:pt x="138617" y="108395"/>
                      <a:pt x="159942" y="113050"/>
                    </a:cubicBezTo>
                    <a:lnTo>
                      <a:pt x="217255" y="124355"/>
                    </a:lnTo>
                    <a:cubicBezTo>
                      <a:pt x="258574" y="132335"/>
                      <a:pt x="278566" y="140315"/>
                      <a:pt x="296560" y="154280"/>
                    </a:cubicBezTo>
                    <a:cubicBezTo>
                      <a:pt x="317219" y="170240"/>
                      <a:pt x="329215" y="196840"/>
                      <a:pt x="329215" y="225435"/>
                    </a:cubicBezTo>
                    <a:cubicBezTo>
                      <a:pt x="329215" y="293930"/>
                      <a:pt x="263905" y="338485"/>
                      <a:pt x="164608" y="338485"/>
                    </a:cubicBezTo>
                    <a:cubicBezTo>
                      <a:pt x="106628" y="338485"/>
                      <a:pt x="58646" y="322525"/>
                      <a:pt x="29989" y="292600"/>
                    </a:cubicBezTo>
                    <a:cubicBezTo>
                      <a:pt x="10663" y="273315"/>
                      <a:pt x="1999" y="252700"/>
                      <a:pt x="0" y="220115"/>
                    </a:cubicBezTo>
                    <a:lnTo>
                      <a:pt x="119291" y="220115"/>
                    </a:lnTo>
                    <a:cubicBezTo>
                      <a:pt x="123289" y="246050"/>
                      <a:pt x="138617" y="258685"/>
                      <a:pt x="167273" y="258685"/>
                    </a:cubicBezTo>
                    <a:cubicBezTo>
                      <a:pt x="189265" y="258685"/>
                      <a:pt x="204593" y="249375"/>
                      <a:pt x="204593" y="235410"/>
                    </a:cubicBezTo>
                    <a:cubicBezTo>
                      <a:pt x="204593" y="224770"/>
                      <a:pt x="195930" y="218120"/>
                      <a:pt x="175271" y="213465"/>
                    </a:cubicBezTo>
                    <a:lnTo>
                      <a:pt x="102630" y="196840"/>
                    </a:lnTo>
                    <a:cubicBezTo>
                      <a:pt x="38653" y="182875"/>
                      <a:pt x="6664" y="151620"/>
                      <a:pt x="6664" y="103075"/>
                    </a:cubicBezTo>
                    <a:cubicBezTo>
                      <a:pt x="6664" y="40565"/>
                      <a:pt x="69309" y="0"/>
                      <a:pt x="165940" y="0"/>
                    </a:cubicBezTo>
                    <a:cubicBezTo>
                      <a:pt x="260573" y="0"/>
                      <a:pt x="313221" y="35910"/>
                      <a:pt x="317886" y="103075"/>
                    </a:cubicBezTo>
                    <a:lnTo>
                      <a:pt x="201927" y="10307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sp>
            <p:nvSpPr>
              <p:cNvPr id="109" name="Freeform 108">
                <a:extLst>
                  <a:ext uri="{FF2B5EF4-FFF2-40B4-BE49-F238E27FC236}">
                    <a16:creationId xmlns:a16="http://schemas.microsoft.com/office/drawing/2014/main" id="{7796D1D0-14F6-8140-8C85-70DD0BBA6494}"/>
                  </a:ext>
                </a:extLst>
              </p:cNvPr>
              <p:cNvSpPr/>
              <p:nvPr/>
            </p:nvSpPr>
            <p:spPr>
              <a:xfrm>
                <a:off x="14227240" y="8654170"/>
                <a:ext cx="128620" cy="128345"/>
              </a:xfrm>
              <a:custGeom>
                <a:avLst/>
                <a:gdLst>
                  <a:gd name="connsiteX0" fmla="*/ 0 w 128620"/>
                  <a:gd name="connsiteY0" fmla="*/ 0 h 128345"/>
                  <a:gd name="connsiteX1" fmla="*/ 128621 w 128620"/>
                  <a:gd name="connsiteY1" fmla="*/ 0 h 128345"/>
                  <a:gd name="connsiteX2" fmla="*/ 128621 w 128620"/>
                  <a:gd name="connsiteY2" fmla="*/ 128345 h 128345"/>
                  <a:gd name="connsiteX3" fmla="*/ 0 w 128620"/>
                  <a:gd name="connsiteY3" fmla="*/ 128345 h 128345"/>
                </a:gdLst>
                <a:ahLst/>
                <a:cxnLst>
                  <a:cxn ang="0">
                    <a:pos x="connsiteX0" y="connsiteY0"/>
                  </a:cxn>
                  <a:cxn ang="0">
                    <a:pos x="connsiteX1" y="connsiteY1"/>
                  </a:cxn>
                  <a:cxn ang="0">
                    <a:pos x="connsiteX2" y="connsiteY2"/>
                  </a:cxn>
                  <a:cxn ang="0">
                    <a:pos x="connsiteX3" y="connsiteY3"/>
                  </a:cxn>
                </a:cxnLst>
                <a:rect l="l" t="t" r="r" b="b"/>
                <a:pathLst>
                  <a:path w="128620" h="128345">
                    <a:moveTo>
                      <a:pt x="0" y="0"/>
                    </a:moveTo>
                    <a:lnTo>
                      <a:pt x="128621" y="0"/>
                    </a:lnTo>
                    <a:lnTo>
                      <a:pt x="128621" y="128345"/>
                    </a:lnTo>
                    <a:lnTo>
                      <a:pt x="0" y="128345"/>
                    </a:lnTo>
                    <a:close/>
                  </a:path>
                </a:pathLst>
              </a:custGeom>
              <a:grpFill/>
              <a:ln w="9511" cap="flat">
                <a:noFill/>
                <a:prstDash val="solid"/>
                <a:miter/>
              </a:ln>
            </p:spPr>
            <p:txBody>
              <a:bodyPr rtlCol="0" anchor="ctr"/>
              <a:lstStyle/>
              <a:p>
                <a:endParaRPr lang="en-US" b="0" i="0">
                  <a:latin typeface="Arial" panose="020B0604020202020204" pitchFamily="34" charset="0"/>
                </a:endParaRPr>
              </a:p>
            </p:txBody>
          </p:sp>
        </p:grpSp>
      </p:grpSp>
      <p:sp>
        <p:nvSpPr>
          <p:cNvPr id="7" name="Rectangle 6"/>
          <p:cNvSpPr/>
          <p:nvPr/>
        </p:nvSpPr>
        <p:spPr>
          <a:xfrm>
            <a:off x="0" y="0"/>
            <a:ext cx="33527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3" name="Group 72">
            <a:extLst>
              <a:ext uri="{FF2B5EF4-FFF2-40B4-BE49-F238E27FC236}">
                <a16:creationId xmlns:a16="http://schemas.microsoft.com/office/drawing/2014/main" id="{AEFC8CA6-4C78-644F-977A-D111979080D8}"/>
              </a:ext>
            </a:extLst>
          </p:cNvPr>
          <p:cNvGrpSpPr/>
          <p:nvPr userDrawn="1"/>
        </p:nvGrpSpPr>
        <p:grpSpPr>
          <a:xfrm>
            <a:off x="363881" y="6159730"/>
            <a:ext cx="2219130" cy="482140"/>
            <a:chOff x="2290098" y="9320868"/>
            <a:chExt cx="5012847" cy="1089118"/>
          </a:xfrm>
        </p:grpSpPr>
        <p:sp>
          <p:nvSpPr>
            <p:cNvPr id="49" name="Freeform 48">
              <a:extLst>
                <a:ext uri="{FF2B5EF4-FFF2-40B4-BE49-F238E27FC236}">
                  <a16:creationId xmlns:a16="http://schemas.microsoft.com/office/drawing/2014/main" id="{FFFF2FF5-D4FC-0A48-BDDF-7C34F8C6C691}"/>
                </a:ext>
              </a:extLst>
            </p:cNvPr>
            <p:cNvSpPr/>
            <p:nvPr/>
          </p:nvSpPr>
          <p:spPr>
            <a:xfrm>
              <a:off x="2290098" y="9320868"/>
              <a:ext cx="1796129" cy="1089118"/>
            </a:xfrm>
            <a:custGeom>
              <a:avLst/>
              <a:gdLst>
                <a:gd name="connsiteX0" fmla="*/ 1746694 w 1796129"/>
                <a:gd name="connsiteY0" fmla="*/ 497649 h 1089118"/>
                <a:gd name="connsiteX1" fmla="*/ 1253966 w 1796129"/>
                <a:gd name="connsiteY1" fmla="*/ 998759 h 1089118"/>
                <a:gd name="connsiteX2" fmla="*/ 1254443 w 1796129"/>
                <a:gd name="connsiteY2" fmla="*/ 999235 h 1089118"/>
                <a:gd name="connsiteX3" fmla="*/ 1227392 w 1796129"/>
                <a:gd name="connsiteY3" fmla="*/ 1015809 h 1089118"/>
                <a:gd name="connsiteX4" fmla="*/ 1187482 w 1796129"/>
                <a:gd name="connsiteY4" fmla="*/ 1023047 h 1089118"/>
                <a:gd name="connsiteX5" fmla="*/ 1147477 w 1796129"/>
                <a:gd name="connsiteY5" fmla="*/ 1015809 h 1089118"/>
                <a:gd name="connsiteX6" fmla="*/ 1120426 w 1796129"/>
                <a:gd name="connsiteY6" fmla="*/ 999235 h 1089118"/>
                <a:gd name="connsiteX7" fmla="*/ 1120902 w 1796129"/>
                <a:gd name="connsiteY7" fmla="*/ 998759 h 1089118"/>
                <a:gd name="connsiteX8" fmla="*/ 575120 w 1796129"/>
                <a:gd name="connsiteY8" fmla="*/ 447166 h 1089118"/>
                <a:gd name="connsiteX9" fmla="*/ 597408 w 1796129"/>
                <a:gd name="connsiteY9" fmla="*/ 424687 h 1089118"/>
                <a:gd name="connsiteX10" fmla="*/ 596932 w 1796129"/>
                <a:gd name="connsiteY10" fmla="*/ 424211 h 1089118"/>
                <a:gd name="connsiteX11" fmla="*/ 663607 w 1796129"/>
                <a:gd name="connsiteY11" fmla="*/ 389921 h 1089118"/>
                <a:gd name="connsiteX12" fmla="*/ 701897 w 1796129"/>
                <a:gd name="connsiteY12" fmla="*/ 400017 h 1089118"/>
                <a:gd name="connsiteX13" fmla="*/ 701612 w 1796129"/>
                <a:gd name="connsiteY13" fmla="*/ 400303 h 1089118"/>
                <a:gd name="connsiteX14" fmla="*/ 1027462 w 1796129"/>
                <a:gd name="connsiteY14" fmla="*/ 729963 h 1089118"/>
                <a:gd name="connsiteX15" fmla="*/ 1029081 w 1796129"/>
                <a:gd name="connsiteY15" fmla="*/ 728344 h 1089118"/>
                <a:gd name="connsiteX16" fmla="*/ 1130237 w 1796129"/>
                <a:gd name="connsiteY16" fmla="*/ 771778 h 1089118"/>
                <a:gd name="connsiteX17" fmla="*/ 1248632 w 1796129"/>
                <a:gd name="connsiteY17" fmla="*/ 713866 h 1089118"/>
                <a:gd name="connsiteX18" fmla="*/ 1608296 w 1796129"/>
                <a:gd name="connsiteY18" fmla="*/ 354012 h 1089118"/>
                <a:gd name="connsiteX19" fmla="*/ 1310735 w 1796129"/>
                <a:gd name="connsiteY19" fmla="*/ 40925 h 1089118"/>
                <a:gd name="connsiteX20" fmla="*/ 1207675 w 1796129"/>
                <a:gd name="connsiteY20" fmla="*/ 158 h 1089118"/>
                <a:gd name="connsiteX21" fmla="*/ 1098899 w 1796129"/>
                <a:gd name="connsiteY21" fmla="*/ 23589 h 1089118"/>
                <a:gd name="connsiteX22" fmla="*/ 1015270 w 1796129"/>
                <a:gd name="connsiteY22" fmla="*/ 158 h 1089118"/>
                <a:gd name="connsiteX23" fmla="*/ 906399 w 1796129"/>
                <a:gd name="connsiteY23" fmla="*/ 23589 h 1089118"/>
                <a:gd name="connsiteX24" fmla="*/ 822770 w 1796129"/>
                <a:gd name="connsiteY24" fmla="*/ 158 h 1089118"/>
                <a:gd name="connsiteX25" fmla="*/ 709613 w 1796129"/>
                <a:gd name="connsiteY25" fmla="*/ 26352 h 1089118"/>
                <a:gd name="connsiteX26" fmla="*/ 622078 w 1796129"/>
                <a:gd name="connsiteY26" fmla="*/ 158 h 1089118"/>
                <a:gd name="connsiteX27" fmla="*/ 608743 w 1796129"/>
                <a:gd name="connsiteY27" fmla="*/ 63 h 1089118"/>
                <a:gd name="connsiteX28" fmla="*/ 595408 w 1796129"/>
                <a:gd name="connsiteY28" fmla="*/ 158 h 1089118"/>
                <a:gd name="connsiteX29" fmla="*/ 492347 w 1796129"/>
                <a:gd name="connsiteY29" fmla="*/ 40925 h 1089118"/>
                <a:gd name="connsiteX30" fmla="*/ 0 w 1796129"/>
                <a:gd name="connsiteY30" fmla="*/ 541654 h 1089118"/>
                <a:gd name="connsiteX31" fmla="*/ 49530 w 1796129"/>
                <a:gd name="connsiteY31" fmla="*/ 591470 h 1089118"/>
                <a:gd name="connsiteX32" fmla="*/ 542258 w 1796129"/>
                <a:gd name="connsiteY32" fmla="*/ 90360 h 1089118"/>
                <a:gd name="connsiteX33" fmla="*/ 541782 w 1796129"/>
                <a:gd name="connsiteY33" fmla="*/ 89883 h 1089118"/>
                <a:gd name="connsiteX34" fmla="*/ 568833 w 1796129"/>
                <a:gd name="connsiteY34" fmla="*/ 73310 h 1089118"/>
                <a:gd name="connsiteX35" fmla="*/ 608838 w 1796129"/>
                <a:gd name="connsiteY35" fmla="*/ 66071 h 1089118"/>
                <a:gd name="connsiteX36" fmla="*/ 648748 w 1796129"/>
                <a:gd name="connsiteY36" fmla="*/ 73310 h 1089118"/>
                <a:gd name="connsiteX37" fmla="*/ 675799 w 1796129"/>
                <a:gd name="connsiteY37" fmla="*/ 89883 h 1089118"/>
                <a:gd name="connsiteX38" fmla="*/ 675323 w 1796129"/>
                <a:gd name="connsiteY38" fmla="*/ 90360 h 1089118"/>
                <a:gd name="connsiteX39" fmla="*/ 1221105 w 1796129"/>
                <a:gd name="connsiteY39" fmla="*/ 641952 h 1089118"/>
                <a:gd name="connsiteX40" fmla="*/ 1198817 w 1796129"/>
                <a:gd name="connsiteY40" fmla="*/ 664431 h 1089118"/>
                <a:gd name="connsiteX41" fmla="*/ 1199293 w 1796129"/>
                <a:gd name="connsiteY41" fmla="*/ 664908 h 1089118"/>
                <a:gd name="connsiteX42" fmla="*/ 1132618 w 1796129"/>
                <a:gd name="connsiteY42" fmla="*/ 699198 h 1089118"/>
                <a:gd name="connsiteX43" fmla="*/ 1065371 w 1796129"/>
                <a:gd name="connsiteY43" fmla="*/ 664908 h 1089118"/>
                <a:gd name="connsiteX44" fmla="*/ 1065848 w 1796129"/>
                <a:gd name="connsiteY44" fmla="*/ 664431 h 1089118"/>
                <a:gd name="connsiteX45" fmla="*/ 780479 w 1796129"/>
                <a:gd name="connsiteY45" fmla="*/ 375252 h 1089118"/>
                <a:gd name="connsiteX46" fmla="*/ 666083 w 1796129"/>
                <a:gd name="connsiteY46" fmla="*/ 317340 h 1089118"/>
                <a:gd name="connsiteX47" fmla="*/ 547688 w 1796129"/>
                <a:gd name="connsiteY47" fmla="*/ 375252 h 1089118"/>
                <a:gd name="connsiteX48" fmla="*/ 188024 w 1796129"/>
                <a:gd name="connsiteY48" fmla="*/ 735107 h 1089118"/>
                <a:gd name="connsiteX49" fmla="*/ 485489 w 1796129"/>
                <a:gd name="connsiteY49" fmla="*/ 1048194 h 1089118"/>
                <a:gd name="connsiteX50" fmla="*/ 588550 w 1796129"/>
                <a:gd name="connsiteY50" fmla="*/ 1088961 h 1089118"/>
                <a:gd name="connsiteX51" fmla="*/ 697325 w 1796129"/>
                <a:gd name="connsiteY51" fmla="*/ 1065529 h 1089118"/>
                <a:gd name="connsiteX52" fmla="*/ 780955 w 1796129"/>
                <a:gd name="connsiteY52" fmla="*/ 1088961 h 1089118"/>
                <a:gd name="connsiteX53" fmla="*/ 889730 w 1796129"/>
                <a:gd name="connsiteY53" fmla="*/ 1065529 h 1089118"/>
                <a:gd name="connsiteX54" fmla="*/ 973360 w 1796129"/>
                <a:gd name="connsiteY54" fmla="*/ 1088961 h 1089118"/>
                <a:gd name="connsiteX55" fmla="*/ 1086517 w 1796129"/>
                <a:gd name="connsiteY55" fmla="*/ 1062767 h 1089118"/>
                <a:gd name="connsiteX56" fmla="*/ 1174052 w 1796129"/>
                <a:gd name="connsiteY56" fmla="*/ 1088961 h 1089118"/>
                <a:gd name="connsiteX57" fmla="*/ 1187387 w 1796129"/>
                <a:gd name="connsiteY57" fmla="*/ 1089056 h 1089118"/>
                <a:gd name="connsiteX58" fmla="*/ 1200722 w 1796129"/>
                <a:gd name="connsiteY58" fmla="*/ 1088961 h 1089118"/>
                <a:gd name="connsiteX59" fmla="*/ 1303782 w 1796129"/>
                <a:gd name="connsiteY59" fmla="*/ 1048194 h 1089118"/>
                <a:gd name="connsiteX60" fmla="*/ 1796129 w 1796129"/>
                <a:gd name="connsiteY60" fmla="*/ 547464 h 1089118"/>
                <a:gd name="connsiteX61" fmla="*/ 1746694 w 1796129"/>
                <a:gd name="connsiteY61" fmla="*/ 497649 h 1089118"/>
                <a:gd name="connsiteX62" fmla="*/ 1204627 w 1796129"/>
                <a:gd name="connsiteY62" fmla="*/ 66357 h 1089118"/>
                <a:gd name="connsiteX63" fmla="*/ 1261301 w 1796129"/>
                <a:gd name="connsiteY63" fmla="*/ 89883 h 1089118"/>
                <a:gd name="connsiteX64" fmla="*/ 1260824 w 1796129"/>
                <a:gd name="connsiteY64" fmla="*/ 90360 h 1089118"/>
                <a:gd name="connsiteX65" fmla="*/ 1317879 w 1796129"/>
                <a:gd name="connsiteY65" fmla="*/ 147795 h 1089118"/>
                <a:gd name="connsiteX66" fmla="*/ 1325975 w 1796129"/>
                <a:gd name="connsiteY66" fmla="*/ 155987 h 1089118"/>
                <a:gd name="connsiteX67" fmla="*/ 1514189 w 1796129"/>
                <a:gd name="connsiteY67" fmla="*/ 345725 h 1089118"/>
                <a:gd name="connsiteX68" fmla="*/ 1467517 w 1796129"/>
                <a:gd name="connsiteY68" fmla="*/ 392874 h 1089118"/>
                <a:gd name="connsiteX69" fmla="*/ 1151477 w 1796129"/>
                <a:gd name="connsiteY69" fmla="*/ 74358 h 1089118"/>
                <a:gd name="connsiteX70" fmla="*/ 1204627 w 1796129"/>
                <a:gd name="connsiteY70" fmla="*/ 66357 h 1089118"/>
                <a:gd name="connsiteX71" fmla="*/ 1012127 w 1796129"/>
                <a:gd name="connsiteY71" fmla="*/ 66357 h 1089118"/>
                <a:gd name="connsiteX72" fmla="*/ 1068800 w 1796129"/>
                <a:gd name="connsiteY72" fmla="*/ 89883 h 1089118"/>
                <a:gd name="connsiteX73" fmla="*/ 1068324 w 1796129"/>
                <a:gd name="connsiteY73" fmla="*/ 90360 h 1089118"/>
                <a:gd name="connsiteX74" fmla="*/ 1125379 w 1796129"/>
                <a:gd name="connsiteY74" fmla="*/ 147795 h 1089118"/>
                <a:gd name="connsiteX75" fmla="*/ 1133475 w 1796129"/>
                <a:gd name="connsiteY75" fmla="*/ 155987 h 1089118"/>
                <a:gd name="connsiteX76" fmla="*/ 1418082 w 1796129"/>
                <a:gd name="connsiteY76" fmla="*/ 442880 h 1089118"/>
                <a:gd name="connsiteX77" fmla="*/ 1371410 w 1796129"/>
                <a:gd name="connsiteY77" fmla="*/ 490029 h 1089118"/>
                <a:gd name="connsiteX78" fmla="*/ 958977 w 1796129"/>
                <a:gd name="connsiteY78" fmla="*/ 74358 h 1089118"/>
                <a:gd name="connsiteX79" fmla="*/ 1012127 w 1796129"/>
                <a:gd name="connsiteY79" fmla="*/ 66357 h 1089118"/>
                <a:gd name="connsiteX80" fmla="*/ 760667 w 1796129"/>
                <a:gd name="connsiteY80" fmla="*/ 76834 h 1089118"/>
                <a:gd name="connsiteX81" fmla="*/ 819722 w 1796129"/>
                <a:gd name="connsiteY81" fmla="*/ 66357 h 1089118"/>
                <a:gd name="connsiteX82" fmla="*/ 876395 w 1796129"/>
                <a:gd name="connsiteY82" fmla="*/ 89883 h 1089118"/>
                <a:gd name="connsiteX83" fmla="*/ 875919 w 1796129"/>
                <a:gd name="connsiteY83" fmla="*/ 90360 h 1089118"/>
                <a:gd name="connsiteX84" fmla="*/ 932974 w 1796129"/>
                <a:gd name="connsiteY84" fmla="*/ 147795 h 1089118"/>
                <a:gd name="connsiteX85" fmla="*/ 941070 w 1796129"/>
                <a:gd name="connsiteY85" fmla="*/ 155987 h 1089118"/>
                <a:gd name="connsiteX86" fmla="*/ 1322070 w 1796129"/>
                <a:gd name="connsiteY86" fmla="*/ 539940 h 1089118"/>
                <a:gd name="connsiteX87" fmla="*/ 1270540 w 1796129"/>
                <a:gd name="connsiteY87" fmla="*/ 591946 h 1089118"/>
                <a:gd name="connsiteX88" fmla="*/ 760667 w 1796129"/>
                <a:gd name="connsiteY88" fmla="*/ 76834 h 1089118"/>
                <a:gd name="connsiteX89" fmla="*/ 591598 w 1796129"/>
                <a:gd name="connsiteY89" fmla="*/ 1022762 h 1089118"/>
                <a:gd name="connsiteX90" fmla="*/ 534924 w 1796129"/>
                <a:gd name="connsiteY90" fmla="*/ 999235 h 1089118"/>
                <a:gd name="connsiteX91" fmla="*/ 535400 w 1796129"/>
                <a:gd name="connsiteY91" fmla="*/ 998759 h 1089118"/>
                <a:gd name="connsiteX92" fmla="*/ 478346 w 1796129"/>
                <a:gd name="connsiteY92" fmla="*/ 941323 h 1089118"/>
                <a:gd name="connsiteX93" fmla="*/ 470249 w 1796129"/>
                <a:gd name="connsiteY93" fmla="*/ 933132 h 1089118"/>
                <a:gd name="connsiteX94" fmla="*/ 282035 w 1796129"/>
                <a:gd name="connsiteY94" fmla="*/ 743394 h 1089118"/>
                <a:gd name="connsiteX95" fmla="*/ 328708 w 1796129"/>
                <a:gd name="connsiteY95" fmla="*/ 696245 h 1089118"/>
                <a:gd name="connsiteX96" fmla="*/ 644747 w 1796129"/>
                <a:gd name="connsiteY96" fmla="*/ 1014761 h 1089118"/>
                <a:gd name="connsiteX97" fmla="*/ 591598 w 1796129"/>
                <a:gd name="connsiteY97" fmla="*/ 1022762 h 1089118"/>
                <a:gd name="connsiteX98" fmla="*/ 784098 w 1796129"/>
                <a:gd name="connsiteY98" fmla="*/ 1022762 h 1089118"/>
                <a:gd name="connsiteX99" fmla="*/ 727424 w 1796129"/>
                <a:gd name="connsiteY99" fmla="*/ 999235 h 1089118"/>
                <a:gd name="connsiteX100" fmla="*/ 727901 w 1796129"/>
                <a:gd name="connsiteY100" fmla="*/ 998759 h 1089118"/>
                <a:gd name="connsiteX101" fmla="*/ 670846 w 1796129"/>
                <a:gd name="connsiteY101" fmla="*/ 941323 h 1089118"/>
                <a:gd name="connsiteX102" fmla="*/ 662750 w 1796129"/>
                <a:gd name="connsiteY102" fmla="*/ 933132 h 1089118"/>
                <a:gd name="connsiteX103" fmla="*/ 378143 w 1796129"/>
                <a:gd name="connsiteY103" fmla="*/ 646239 h 1089118"/>
                <a:gd name="connsiteX104" fmla="*/ 424815 w 1796129"/>
                <a:gd name="connsiteY104" fmla="*/ 599090 h 1089118"/>
                <a:gd name="connsiteX105" fmla="*/ 837248 w 1796129"/>
                <a:gd name="connsiteY105" fmla="*/ 1014761 h 1089118"/>
                <a:gd name="connsiteX106" fmla="*/ 784098 w 1796129"/>
                <a:gd name="connsiteY106" fmla="*/ 1022762 h 1089118"/>
                <a:gd name="connsiteX107" fmla="*/ 976503 w 1796129"/>
                <a:gd name="connsiteY107" fmla="*/ 1022762 h 1089118"/>
                <a:gd name="connsiteX108" fmla="*/ 919829 w 1796129"/>
                <a:gd name="connsiteY108" fmla="*/ 999235 h 1089118"/>
                <a:gd name="connsiteX109" fmla="*/ 920306 w 1796129"/>
                <a:gd name="connsiteY109" fmla="*/ 998759 h 1089118"/>
                <a:gd name="connsiteX110" fmla="*/ 863251 w 1796129"/>
                <a:gd name="connsiteY110" fmla="*/ 941323 h 1089118"/>
                <a:gd name="connsiteX111" fmla="*/ 855155 w 1796129"/>
                <a:gd name="connsiteY111" fmla="*/ 933132 h 1089118"/>
                <a:gd name="connsiteX112" fmla="*/ 474155 w 1796129"/>
                <a:gd name="connsiteY112" fmla="*/ 549179 h 1089118"/>
                <a:gd name="connsiteX113" fmla="*/ 525685 w 1796129"/>
                <a:gd name="connsiteY113" fmla="*/ 497077 h 1089118"/>
                <a:gd name="connsiteX114" fmla="*/ 1035558 w 1796129"/>
                <a:gd name="connsiteY114" fmla="*/ 1012380 h 1089118"/>
                <a:gd name="connsiteX115" fmla="*/ 976503 w 1796129"/>
                <a:gd name="connsiteY115" fmla="*/ 1022762 h 108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796129" h="1089118">
                  <a:moveTo>
                    <a:pt x="1746694" y="497649"/>
                  </a:moveTo>
                  <a:lnTo>
                    <a:pt x="1253966" y="998759"/>
                  </a:lnTo>
                  <a:lnTo>
                    <a:pt x="1254443" y="999235"/>
                  </a:lnTo>
                  <a:cubicBezTo>
                    <a:pt x="1246251" y="1006188"/>
                    <a:pt x="1237202" y="1011808"/>
                    <a:pt x="1227392" y="1015809"/>
                  </a:cubicBezTo>
                  <a:cubicBezTo>
                    <a:pt x="1214438" y="1020380"/>
                    <a:pt x="1200817" y="1022857"/>
                    <a:pt x="1187482" y="1023047"/>
                  </a:cubicBezTo>
                  <a:cubicBezTo>
                    <a:pt x="1174052" y="1022857"/>
                    <a:pt x="1160431" y="1020380"/>
                    <a:pt x="1147477" y="1015809"/>
                  </a:cubicBezTo>
                  <a:cubicBezTo>
                    <a:pt x="1137666" y="1011808"/>
                    <a:pt x="1128617" y="1006188"/>
                    <a:pt x="1120426" y="999235"/>
                  </a:cubicBezTo>
                  <a:lnTo>
                    <a:pt x="1120902" y="998759"/>
                  </a:lnTo>
                  <a:lnTo>
                    <a:pt x="575120" y="447166"/>
                  </a:lnTo>
                  <a:lnTo>
                    <a:pt x="597408" y="424687"/>
                  </a:lnTo>
                  <a:lnTo>
                    <a:pt x="596932" y="424211"/>
                  </a:lnTo>
                  <a:cubicBezTo>
                    <a:pt x="605123" y="417258"/>
                    <a:pt x="632365" y="389159"/>
                    <a:pt x="663607" y="389921"/>
                  </a:cubicBezTo>
                  <a:cubicBezTo>
                    <a:pt x="678847" y="389254"/>
                    <a:pt x="691610" y="393921"/>
                    <a:pt x="701897" y="400017"/>
                  </a:cubicBezTo>
                  <a:lnTo>
                    <a:pt x="701612" y="400303"/>
                  </a:lnTo>
                  <a:lnTo>
                    <a:pt x="1027462" y="729963"/>
                  </a:lnTo>
                  <a:lnTo>
                    <a:pt x="1029081" y="728344"/>
                  </a:lnTo>
                  <a:cubicBezTo>
                    <a:pt x="1050417" y="749775"/>
                    <a:pt x="1081850" y="771778"/>
                    <a:pt x="1130237" y="771778"/>
                  </a:cubicBezTo>
                  <a:cubicBezTo>
                    <a:pt x="1176052" y="771778"/>
                    <a:pt x="1227773" y="738441"/>
                    <a:pt x="1248632" y="713866"/>
                  </a:cubicBezTo>
                  <a:lnTo>
                    <a:pt x="1608296" y="354012"/>
                  </a:lnTo>
                  <a:lnTo>
                    <a:pt x="1310735" y="40925"/>
                  </a:lnTo>
                  <a:cubicBezTo>
                    <a:pt x="1289780" y="16350"/>
                    <a:pt x="1255395" y="1872"/>
                    <a:pt x="1207675" y="158"/>
                  </a:cubicBezTo>
                  <a:cubicBezTo>
                    <a:pt x="1173671" y="-1080"/>
                    <a:pt x="1129570" y="4825"/>
                    <a:pt x="1098899" y="23589"/>
                  </a:cubicBezTo>
                  <a:cubicBezTo>
                    <a:pt x="1078230" y="9588"/>
                    <a:pt x="1050417" y="1396"/>
                    <a:pt x="1015270" y="158"/>
                  </a:cubicBezTo>
                  <a:cubicBezTo>
                    <a:pt x="981266" y="-1080"/>
                    <a:pt x="937165" y="4825"/>
                    <a:pt x="906399" y="23589"/>
                  </a:cubicBezTo>
                  <a:cubicBezTo>
                    <a:pt x="885730" y="9588"/>
                    <a:pt x="857917" y="1396"/>
                    <a:pt x="822770" y="158"/>
                  </a:cubicBezTo>
                  <a:cubicBezTo>
                    <a:pt x="787146" y="-1080"/>
                    <a:pt x="740378" y="5397"/>
                    <a:pt x="709613" y="26352"/>
                  </a:cubicBezTo>
                  <a:cubicBezTo>
                    <a:pt x="688658" y="10635"/>
                    <a:pt x="659511" y="1491"/>
                    <a:pt x="622078" y="158"/>
                  </a:cubicBezTo>
                  <a:cubicBezTo>
                    <a:pt x="617792" y="-33"/>
                    <a:pt x="613315" y="-33"/>
                    <a:pt x="608743" y="63"/>
                  </a:cubicBezTo>
                  <a:cubicBezTo>
                    <a:pt x="604171" y="-33"/>
                    <a:pt x="599694" y="63"/>
                    <a:pt x="595408" y="158"/>
                  </a:cubicBezTo>
                  <a:cubicBezTo>
                    <a:pt x="547688" y="1872"/>
                    <a:pt x="513207" y="16350"/>
                    <a:pt x="492347" y="40925"/>
                  </a:cubicBezTo>
                  <a:lnTo>
                    <a:pt x="0" y="541654"/>
                  </a:lnTo>
                  <a:lnTo>
                    <a:pt x="49530" y="591470"/>
                  </a:lnTo>
                  <a:lnTo>
                    <a:pt x="542258" y="90360"/>
                  </a:lnTo>
                  <a:lnTo>
                    <a:pt x="541782" y="89883"/>
                  </a:lnTo>
                  <a:cubicBezTo>
                    <a:pt x="549878" y="82930"/>
                    <a:pt x="559022" y="77310"/>
                    <a:pt x="568833" y="73310"/>
                  </a:cubicBezTo>
                  <a:cubicBezTo>
                    <a:pt x="581787" y="68738"/>
                    <a:pt x="595408" y="66261"/>
                    <a:pt x="608838" y="66071"/>
                  </a:cubicBezTo>
                  <a:cubicBezTo>
                    <a:pt x="622268" y="66261"/>
                    <a:pt x="635889" y="68738"/>
                    <a:pt x="648748" y="73310"/>
                  </a:cubicBezTo>
                  <a:cubicBezTo>
                    <a:pt x="658559" y="77310"/>
                    <a:pt x="667607" y="82930"/>
                    <a:pt x="675799" y="89883"/>
                  </a:cubicBezTo>
                  <a:lnTo>
                    <a:pt x="675323" y="90360"/>
                  </a:lnTo>
                  <a:lnTo>
                    <a:pt x="1221105" y="641952"/>
                  </a:lnTo>
                  <a:lnTo>
                    <a:pt x="1198817" y="664431"/>
                  </a:lnTo>
                  <a:lnTo>
                    <a:pt x="1199293" y="664908"/>
                  </a:lnTo>
                  <a:cubicBezTo>
                    <a:pt x="1191197" y="671861"/>
                    <a:pt x="1163955" y="699960"/>
                    <a:pt x="1132618" y="699198"/>
                  </a:cubicBezTo>
                  <a:cubicBezTo>
                    <a:pt x="1095947" y="700722"/>
                    <a:pt x="1073468" y="671861"/>
                    <a:pt x="1065371" y="664908"/>
                  </a:cubicBezTo>
                  <a:lnTo>
                    <a:pt x="1065848" y="664431"/>
                  </a:lnTo>
                  <a:lnTo>
                    <a:pt x="780479" y="375252"/>
                  </a:lnTo>
                  <a:cubicBezTo>
                    <a:pt x="759619" y="350678"/>
                    <a:pt x="725615" y="317340"/>
                    <a:pt x="666083" y="317340"/>
                  </a:cubicBezTo>
                  <a:cubicBezTo>
                    <a:pt x="620268" y="317340"/>
                    <a:pt x="568547" y="350678"/>
                    <a:pt x="547688" y="375252"/>
                  </a:cubicBezTo>
                  <a:lnTo>
                    <a:pt x="188024" y="735107"/>
                  </a:lnTo>
                  <a:lnTo>
                    <a:pt x="485489" y="1048194"/>
                  </a:lnTo>
                  <a:cubicBezTo>
                    <a:pt x="506444" y="1072768"/>
                    <a:pt x="540830" y="1087246"/>
                    <a:pt x="588550" y="1088961"/>
                  </a:cubicBezTo>
                  <a:cubicBezTo>
                    <a:pt x="622554" y="1090199"/>
                    <a:pt x="666655" y="1084293"/>
                    <a:pt x="697325" y="1065529"/>
                  </a:cubicBezTo>
                  <a:cubicBezTo>
                    <a:pt x="717995" y="1079531"/>
                    <a:pt x="745808" y="1087722"/>
                    <a:pt x="780955" y="1088961"/>
                  </a:cubicBezTo>
                  <a:cubicBezTo>
                    <a:pt x="814959" y="1090199"/>
                    <a:pt x="859060" y="1084293"/>
                    <a:pt x="889730" y="1065529"/>
                  </a:cubicBezTo>
                  <a:cubicBezTo>
                    <a:pt x="910400" y="1079531"/>
                    <a:pt x="938213" y="1087722"/>
                    <a:pt x="973360" y="1088961"/>
                  </a:cubicBezTo>
                  <a:cubicBezTo>
                    <a:pt x="1008983" y="1090199"/>
                    <a:pt x="1055751" y="1083722"/>
                    <a:pt x="1086517" y="1062767"/>
                  </a:cubicBezTo>
                  <a:cubicBezTo>
                    <a:pt x="1107472" y="1078483"/>
                    <a:pt x="1136618" y="1087627"/>
                    <a:pt x="1174052" y="1088961"/>
                  </a:cubicBezTo>
                  <a:cubicBezTo>
                    <a:pt x="1178338" y="1089151"/>
                    <a:pt x="1182815" y="1089151"/>
                    <a:pt x="1187387" y="1089056"/>
                  </a:cubicBezTo>
                  <a:cubicBezTo>
                    <a:pt x="1191959" y="1089151"/>
                    <a:pt x="1196435" y="1089056"/>
                    <a:pt x="1200722" y="1088961"/>
                  </a:cubicBezTo>
                  <a:cubicBezTo>
                    <a:pt x="1248442" y="1087246"/>
                    <a:pt x="1282922" y="1072768"/>
                    <a:pt x="1303782" y="1048194"/>
                  </a:cubicBezTo>
                  <a:lnTo>
                    <a:pt x="1796129" y="547464"/>
                  </a:lnTo>
                  <a:lnTo>
                    <a:pt x="1746694" y="497649"/>
                  </a:lnTo>
                  <a:close/>
                  <a:moveTo>
                    <a:pt x="1204627" y="66357"/>
                  </a:moveTo>
                  <a:cubicBezTo>
                    <a:pt x="1225963" y="67881"/>
                    <a:pt x="1245394" y="76358"/>
                    <a:pt x="1261301" y="89883"/>
                  </a:cubicBezTo>
                  <a:lnTo>
                    <a:pt x="1260824" y="90360"/>
                  </a:lnTo>
                  <a:lnTo>
                    <a:pt x="1317879" y="147795"/>
                  </a:lnTo>
                  <a:lnTo>
                    <a:pt x="1325975" y="155987"/>
                  </a:lnTo>
                  <a:lnTo>
                    <a:pt x="1514189" y="345725"/>
                  </a:lnTo>
                  <a:lnTo>
                    <a:pt x="1467517" y="392874"/>
                  </a:lnTo>
                  <a:lnTo>
                    <a:pt x="1151477" y="74358"/>
                  </a:lnTo>
                  <a:cubicBezTo>
                    <a:pt x="1168527" y="67976"/>
                    <a:pt x="1187006" y="65118"/>
                    <a:pt x="1204627" y="66357"/>
                  </a:cubicBezTo>
                  <a:close/>
                  <a:moveTo>
                    <a:pt x="1012127" y="66357"/>
                  </a:moveTo>
                  <a:cubicBezTo>
                    <a:pt x="1033463" y="67881"/>
                    <a:pt x="1052894" y="76358"/>
                    <a:pt x="1068800" y="89883"/>
                  </a:cubicBezTo>
                  <a:lnTo>
                    <a:pt x="1068324" y="90360"/>
                  </a:lnTo>
                  <a:lnTo>
                    <a:pt x="1125379" y="147795"/>
                  </a:lnTo>
                  <a:lnTo>
                    <a:pt x="1133475" y="155987"/>
                  </a:lnTo>
                  <a:lnTo>
                    <a:pt x="1418082" y="442880"/>
                  </a:lnTo>
                  <a:lnTo>
                    <a:pt x="1371410" y="490029"/>
                  </a:lnTo>
                  <a:lnTo>
                    <a:pt x="958977" y="74358"/>
                  </a:lnTo>
                  <a:cubicBezTo>
                    <a:pt x="976122" y="67976"/>
                    <a:pt x="994505" y="65118"/>
                    <a:pt x="1012127" y="66357"/>
                  </a:cubicBezTo>
                  <a:close/>
                  <a:moveTo>
                    <a:pt x="760667" y="76834"/>
                  </a:moveTo>
                  <a:cubicBezTo>
                    <a:pt x="779336" y="68643"/>
                    <a:pt x="800005" y="65023"/>
                    <a:pt x="819722" y="66357"/>
                  </a:cubicBezTo>
                  <a:cubicBezTo>
                    <a:pt x="841058" y="67881"/>
                    <a:pt x="860488" y="76358"/>
                    <a:pt x="876395" y="89883"/>
                  </a:cubicBezTo>
                  <a:lnTo>
                    <a:pt x="875919" y="90360"/>
                  </a:lnTo>
                  <a:lnTo>
                    <a:pt x="932974" y="147795"/>
                  </a:lnTo>
                  <a:lnTo>
                    <a:pt x="941070" y="155987"/>
                  </a:lnTo>
                  <a:lnTo>
                    <a:pt x="1322070" y="539940"/>
                  </a:lnTo>
                  <a:lnTo>
                    <a:pt x="1270540" y="591946"/>
                  </a:lnTo>
                  <a:lnTo>
                    <a:pt x="760667" y="76834"/>
                  </a:lnTo>
                  <a:close/>
                  <a:moveTo>
                    <a:pt x="591598" y="1022762"/>
                  </a:moveTo>
                  <a:cubicBezTo>
                    <a:pt x="570262" y="1021238"/>
                    <a:pt x="550831" y="1012761"/>
                    <a:pt x="534924" y="999235"/>
                  </a:cubicBezTo>
                  <a:lnTo>
                    <a:pt x="535400" y="998759"/>
                  </a:lnTo>
                  <a:lnTo>
                    <a:pt x="478346" y="941323"/>
                  </a:lnTo>
                  <a:lnTo>
                    <a:pt x="470249" y="933132"/>
                  </a:lnTo>
                  <a:lnTo>
                    <a:pt x="282035" y="743394"/>
                  </a:lnTo>
                  <a:lnTo>
                    <a:pt x="328708" y="696245"/>
                  </a:lnTo>
                  <a:lnTo>
                    <a:pt x="644747" y="1014761"/>
                  </a:lnTo>
                  <a:cubicBezTo>
                    <a:pt x="627698" y="1021238"/>
                    <a:pt x="609314" y="1024000"/>
                    <a:pt x="591598" y="1022762"/>
                  </a:cubicBezTo>
                  <a:close/>
                  <a:moveTo>
                    <a:pt x="784098" y="1022762"/>
                  </a:moveTo>
                  <a:cubicBezTo>
                    <a:pt x="762762" y="1021238"/>
                    <a:pt x="743331" y="1012761"/>
                    <a:pt x="727424" y="999235"/>
                  </a:cubicBezTo>
                  <a:lnTo>
                    <a:pt x="727901" y="998759"/>
                  </a:lnTo>
                  <a:lnTo>
                    <a:pt x="670846" y="941323"/>
                  </a:lnTo>
                  <a:lnTo>
                    <a:pt x="662750" y="933132"/>
                  </a:lnTo>
                  <a:lnTo>
                    <a:pt x="378143" y="646239"/>
                  </a:lnTo>
                  <a:lnTo>
                    <a:pt x="424815" y="599090"/>
                  </a:lnTo>
                  <a:lnTo>
                    <a:pt x="837248" y="1014761"/>
                  </a:lnTo>
                  <a:cubicBezTo>
                    <a:pt x="820103" y="1021238"/>
                    <a:pt x="801719" y="1024000"/>
                    <a:pt x="784098" y="1022762"/>
                  </a:cubicBezTo>
                  <a:close/>
                  <a:moveTo>
                    <a:pt x="976503" y="1022762"/>
                  </a:moveTo>
                  <a:cubicBezTo>
                    <a:pt x="955167" y="1021238"/>
                    <a:pt x="935736" y="1012761"/>
                    <a:pt x="919829" y="999235"/>
                  </a:cubicBezTo>
                  <a:lnTo>
                    <a:pt x="920306" y="998759"/>
                  </a:lnTo>
                  <a:lnTo>
                    <a:pt x="863251" y="941323"/>
                  </a:lnTo>
                  <a:lnTo>
                    <a:pt x="855155" y="933132"/>
                  </a:lnTo>
                  <a:lnTo>
                    <a:pt x="474155" y="549179"/>
                  </a:lnTo>
                  <a:lnTo>
                    <a:pt x="525685" y="497077"/>
                  </a:lnTo>
                  <a:lnTo>
                    <a:pt x="1035558" y="1012380"/>
                  </a:lnTo>
                  <a:cubicBezTo>
                    <a:pt x="1016889" y="1020476"/>
                    <a:pt x="996220" y="1024191"/>
                    <a:pt x="976503" y="1022762"/>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0" name="Freeform 49">
              <a:extLst>
                <a:ext uri="{FF2B5EF4-FFF2-40B4-BE49-F238E27FC236}">
                  <a16:creationId xmlns:a16="http://schemas.microsoft.com/office/drawing/2014/main" id="{4733B434-5C98-9049-BC7E-D9B7487C67D5}"/>
                </a:ext>
              </a:extLst>
            </p:cNvPr>
            <p:cNvSpPr/>
            <p:nvPr/>
          </p:nvSpPr>
          <p:spPr>
            <a:xfrm>
              <a:off x="4216644" y="9643542"/>
              <a:ext cx="199052" cy="198405"/>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90 w 199052"/>
                <a:gd name="connsiteY3" fmla="*/ 93631 h 198405"/>
                <a:gd name="connsiteX4" fmla="*/ 149904 w 199052"/>
                <a:gd name="connsiteY4" fmla="*/ 91345 h 198405"/>
                <a:gd name="connsiteX5" fmla="*/ 152190 w 199052"/>
                <a:gd name="connsiteY5" fmla="*/ 89059 h 198405"/>
                <a:gd name="connsiteX6" fmla="*/ 157809 w 199052"/>
                <a:gd name="connsiteY6" fmla="*/ 89059 h 198405"/>
                <a:gd name="connsiteX7" fmla="*/ 191337 w 199052"/>
                <a:gd name="connsiteY7" fmla="*/ 51530 h 198405"/>
                <a:gd name="connsiteX8" fmla="*/ 191337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7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1 w 199052"/>
                <a:gd name="connsiteY23" fmla="*/ 198406 h 198405"/>
                <a:gd name="connsiteX24" fmla="*/ 153618 w 199052"/>
                <a:gd name="connsiteY24" fmla="*/ 198406 h 198405"/>
                <a:gd name="connsiteX25" fmla="*/ 199052 w 199052"/>
                <a:gd name="connsiteY25" fmla="*/ 151447 h 198405"/>
                <a:gd name="connsiteX26" fmla="*/ 199052 w 199052"/>
                <a:gd name="connsiteY26" fmla="*/ 131826 h 198405"/>
                <a:gd name="connsiteX27" fmla="*/ 153618 w 199052"/>
                <a:gd name="connsiteY27" fmla="*/ 93917 h 198405"/>
                <a:gd name="connsiteX28" fmla="*/ 147522 w 199052"/>
                <a:gd name="connsiteY28" fmla="*/ 140208 h 198405"/>
                <a:gd name="connsiteX29" fmla="*/ 119328 w 199052"/>
                <a:gd name="connsiteY29" fmla="*/ 165830 h 198405"/>
                <a:gd name="connsiteX30" fmla="*/ 75132 w 199052"/>
                <a:gd name="connsiteY30" fmla="*/ 165830 h 198405"/>
                <a:gd name="connsiteX31" fmla="*/ 73418 w 199052"/>
                <a:gd name="connsiteY31" fmla="*/ 165449 h 198405"/>
                <a:gd name="connsiteX32" fmla="*/ 72465 w 199052"/>
                <a:gd name="connsiteY32" fmla="*/ 163544 h 198405"/>
                <a:gd name="connsiteX33" fmla="*/ 72465 w 199052"/>
                <a:gd name="connsiteY33" fmla="*/ 35719 h 198405"/>
                <a:gd name="connsiteX34" fmla="*/ 73227 w 199052"/>
                <a:gd name="connsiteY34" fmla="*/ 33052 h 198405"/>
                <a:gd name="connsiteX35" fmla="*/ 75704 w 199052"/>
                <a:gd name="connsiteY35" fmla="*/ 32480 h 198405"/>
                <a:gd name="connsiteX36" fmla="*/ 119328 w 199052"/>
                <a:gd name="connsiteY36" fmla="*/ 32480 h 198405"/>
                <a:gd name="connsiteX37" fmla="*/ 138188 w 199052"/>
                <a:gd name="connsiteY37" fmla="*/ 49435 h 198405"/>
                <a:gd name="connsiteX38" fmla="*/ 138188 w 199052"/>
                <a:gd name="connsiteY38" fmla="*/ 60770 h 198405"/>
                <a:gd name="connsiteX39" fmla="*/ 118947 w 199052"/>
                <a:gd name="connsiteY39" fmla="*/ 79534 h 198405"/>
                <a:gd name="connsiteX40" fmla="*/ 99135 w 199052"/>
                <a:gd name="connsiteY40" fmla="*/ 79724 h 198405"/>
                <a:gd name="connsiteX41" fmla="*/ 93039 w 199052"/>
                <a:gd name="connsiteY41" fmla="*/ 85820 h 198405"/>
                <a:gd name="connsiteX42" fmla="*/ 93039 w 199052"/>
                <a:gd name="connsiteY42" fmla="*/ 107156 h 198405"/>
                <a:gd name="connsiteX43" fmla="*/ 99135 w 199052"/>
                <a:gd name="connsiteY43" fmla="*/ 113252 h 198405"/>
                <a:gd name="connsiteX44" fmla="*/ 121329 w 199052"/>
                <a:gd name="connsiteY44" fmla="*/ 113252 h 198405"/>
                <a:gd name="connsiteX45" fmla="*/ 147522 w 199052"/>
                <a:gd name="connsiteY45" fmla="*/ 131540 h 198405"/>
                <a:gd name="connsiteX46" fmla="*/ 147522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90" y="93631"/>
                  </a:lnTo>
                  <a:cubicBezTo>
                    <a:pt x="150951" y="93631"/>
                    <a:pt x="149904" y="92583"/>
                    <a:pt x="149904" y="91345"/>
                  </a:cubicBezTo>
                  <a:cubicBezTo>
                    <a:pt x="149904" y="90106"/>
                    <a:pt x="150951" y="89059"/>
                    <a:pt x="152190" y="89059"/>
                  </a:cubicBezTo>
                  <a:lnTo>
                    <a:pt x="157809" y="89059"/>
                  </a:lnTo>
                  <a:cubicBezTo>
                    <a:pt x="176669" y="86963"/>
                    <a:pt x="191337" y="70961"/>
                    <a:pt x="191337" y="51530"/>
                  </a:cubicBezTo>
                  <a:lnTo>
                    <a:pt x="191337" y="37814"/>
                  </a:lnTo>
                  <a:cubicBezTo>
                    <a:pt x="191337" y="16954"/>
                    <a:pt x="174383" y="95"/>
                    <a:pt x="153618" y="95"/>
                  </a:cubicBezTo>
                  <a:lnTo>
                    <a:pt x="1885" y="0"/>
                  </a:lnTo>
                  <a:cubicBezTo>
                    <a:pt x="837" y="0"/>
                    <a:pt x="75" y="857"/>
                    <a:pt x="75" y="1810"/>
                  </a:cubicBezTo>
                  <a:cubicBezTo>
                    <a:pt x="75" y="1810"/>
                    <a:pt x="-20" y="25717"/>
                    <a:pt x="75" y="25717"/>
                  </a:cubicBezTo>
                  <a:cubicBezTo>
                    <a:pt x="75" y="25717"/>
                    <a:pt x="-115" y="27051"/>
                    <a:pt x="837" y="27813"/>
                  </a:cubicBezTo>
                  <a:cubicBezTo>
                    <a:pt x="1409" y="28194"/>
                    <a:pt x="3123" y="28384"/>
                    <a:pt x="3123" y="28384"/>
                  </a:cubicBezTo>
                  <a:cubicBezTo>
                    <a:pt x="10172" y="29146"/>
                    <a:pt x="21221" y="34862"/>
                    <a:pt x="21221" y="39529"/>
                  </a:cubicBezTo>
                  <a:lnTo>
                    <a:pt x="21221" y="158115"/>
                  </a:lnTo>
                  <a:cubicBezTo>
                    <a:pt x="21030"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3" y="198310"/>
                    <a:pt x="1885" y="198310"/>
                  </a:cubicBezTo>
                  <a:lnTo>
                    <a:pt x="21221" y="198310"/>
                  </a:lnTo>
                  <a:cubicBezTo>
                    <a:pt x="21792" y="198310"/>
                    <a:pt x="22364" y="198406"/>
                    <a:pt x="23031" y="198406"/>
                  </a:cubicBezTo>
                  <a:lnTo>
                    <a:pt x="153618" y="198406"/>
                  </a:lnTo>
                  <a:cubicBezTo>
                    <a:pt x="180383" y="198406"/>
                    <a:pt x="199052" y="172307"/>
                    <a:pt x="199052" y="151447"/>
                  </a:cubicBezTo>
                  <a:lnTo>
                    <a:pt x="199052" y="131826"/>
                  </a:lnTo>
                  <a:cubicBezTo>
                    <a:pt x="199148" y="110871"/>
                    <a:pt x="187337" y="93917"/>
                    <a:pt x="153618" y="93917"/>
                  </a:cubicBezTo>
                  <a:close/>
                  <a:moveTo>
                    <a:pt x="147522" y="140208"/>
                  </a:moveTo>
                  <a:cubicBezTo>
                    <a:pt x="147713" y="160115"/>
                    <a:pt x="135711" y="165830"/>
                    <a:pt x="119328" y="165830"/>
                  </a:cubicBezTo>
                  <a:lnTo>
                    <a:pt x="75132" y="165830"/>
                  </a:lnTo>
                  <a:lnTo>
                    <a:pt x="73418" y="165449"/>
                  </a:lnTo>
                  <a:cubicBezTo>
                    <a:pt x="72465" y="164497"/>
                    <a:pt x="72465" y="163544"/>
                    <a:pt x="72465" y="163544"/>
                  </a:cubicBezTo>
                  <a:lnTo>
                    <a:pt x="72465" y="35719"/>
                  </a:lnTo>
                  <a:cubicBezTo>
                    <a:pt x="72465" y="35719"/>
                    <a:pt x="72465" y="33623"/>
                    <a:pt x="73227" y="33052"/>
                  </a:cubicBezTo>
                  <a:cubicBezTo>
                    <a:pt x="73989" y="32480"/>
                    <a:pt x="75704" y="32480"/>
                    <a:pt x="75704" y="32480"/>
                  </a:cubicBezTo>
                  <a:lnTo>
                    <a:pt x="119328" y="32480"/>
                  </a:lnTo>
                  <a:cubicBezTo>
                    <a:pt x="128758" y="32480"/>
                    <a:pt x="138188" y="40100"/>
                    <a:pt x="138188" y="49435"/>
                  </a:cubicBezTo>
                  <a:lnTo>
                    <a:pt x="138188" y="60770"/>
                  </a:lnTo>
                  <a:cubicBezTo>
                    <a:pt x="138378" y="66104"/>
                    <a:pt x="130091" y="80200"/>
                    <a:pt x="118947" y="79534"/>
                  </a:cubicBezTo>
                  <a:lnTo>
                    <a:pt x="99135" y="79724"/>
                  </a:lnTo>
                  <a:cubicBezTo>
                    <a:pt x="95801" y="79724"/>
                    <a:pt x="93039" y="82487"/>
                    <a:pt x="93039" y="85820"/>
                  </a:cubicBezTo>
                  <a:lnTo>
                    <a:pt x="93039" y="107156"/>
                  </a:lnTo>
                  <a:cubicBezTo>
                    <a:pt x="93039" y="110490"/>
                    <a:pt x="95801" y="113252"/>
                    <a:pt x="99135" y="113252"/>
                  </a:cubicBezTo>
                  <a:lnTo>
                    <a:pt x="121329" y="113252"/>
                  </a:lnTo>
                  <a:cubicBezTo>
                    <a:pt x="142188" y="114491"/>
                    <a:pt x="147427" y="126397"/>
                    <a:pt x="147522" y="131540"/>
                  </a:cubicBezTo>
                  <a:lnTo>
                    <a:pt x="147522" y="140208"/>
                  </a:ln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1" name="Freeform 50">
              <a:extLst>
                <a:ext uri="{FF2B5EF4-FFF2-40B4-BE49-F238E27FC236}">
                  <a16:creationId xmlns:a16="http://schemas.microsoft.com/office/drawing/2014/main" id="{A5DAEE13-02E8-7A4C-9658-0539FFA29413}"/>
                </a:ext>
              </a:extLst>
            </p:cNvPr>
            <p:cNvSpPr/>
            <p:nvPr/>
          </p:nvSpPr>
          <p:spPr>
            <a:xfrm>
              <a:off x="6929269" y="9643542"/>
              <a:ext cx="199052" cy="198405"/>
            </a:xfrm>
            <a:custGeom>
              <a:avLst/>
              <a:gdLst>
                <a:gd name="connsiteX0" fmla="*/ 153618 w 199052"/>
                <a:gd name="connsiteY0" fmla="*/ 93917 h 198405"/>
                <a:gd name="connsiteX1" fmla="*/ 152475 w 199052"/>
                <a:gd name="connsiteY1" fmla="*/ 93917 h 198405"/>
                <a:gd name="connsiteX2" fmla="*/ 152475 w 199052"/>
                <a:gd name="connsiteY2" fmla="*/ 93631 h 198405"/>
                <a:gd name="connsiteX3" fmla="*/ 152189 w 199052"/>
                <a:gd name="connsiteY3" fmla="*/ 93631 h 198405"/>
                <a:gd name="connsiteX4" fmla="*/ 149903 w 199052"/>
                <a:gd name="connsiteY4" fmla="*/ 91345 h 198405"/>
                <a:gd name="connsiteX5" fmla="*/ 152189 w 199052"/>
                <a:gd name="connsiteY5" fmla="*/ 89059 h 198405"/>
                <a:gd name="connsiteX6" fmla="*/ 157809 w 199052"/>
                <a:gd name="connsiteY6" fmla="*/ 89059 h 198405"/>
                <a:gd name="connsiteX7" fmla="*/ 191338 w 199052"/>
                <a:gd name="connsiteY7" fmla="*/ 51530 h 198405"/>
                <a:gd name="connsiteX8" fmla="*/ 191338 w 199052"/>
                <a:gd name="connsiteY8" fmla="*/ 37814 h 198405"/>
                <a:gd name="connsiteX9" fmla="*/ 153618 w 199052"/>
                <a:gd name="connsiteY9" fmla="*/ 95 h 198405"/>
                <a:gd name="connsiteX10" fmla="*/ 1885 w 199052"/>
                <a:gd name="connsiteY10" fmla="*/ 0 h 198405"/>
                <a:gd name="connsiteX11" fmla="*/ 75 w 199052"/>
                <a:gd name="connsiteY11" fmla="*/ 1810 h 198405"/>
                <a:gd name="connsiteX12" fmla="*/ 75 w 199052"/>
                <a:gd name="connsiteY12" fmla="*/ 25717 h 198405"/>
                <a:gd name="connsiteX13" fmla="*/ 838 w 199052"/>
                <a:gd name="connsiteY13" fmla="*/ 27813 h 198405"/>
                <a:gd name="connsiteX14" fmla="*/ 3123 w 199052"/>
                <a:gd name="connsiteY14" fmla="*/ 28384 h 198405"/>
                <a:gd name="connsiteX15" fmla="*/ 21221 w 199052"/>
                <a:gd name="connsiteY15" fmla="*/ 39529 h 198405"/>
                <a:gd name="connsiteX16" fmla="*/ 21221 w 199052"/>
                <a:gd name="connsiteY16" fmla="*/ 158115 h 198405"/>
                <a:gd name="connsiteX17" fmla="*/ 2742 w 199052"/>
                <a:gd name="connsiteY17" fmla="*/ 169354 h 198405"/>
                <a:gd name="connsiteX18" fmla="*/ 647 w 199052"/>
                <a:gd name="connsiteY18" fmla="*/ 170688 h 198405"/>
                <a:gd name="connsiteX19" fmla="*/ 75 w 199052"/>
                <a:gd name="connsiteY19" fmla="*/ 173355 h 198405"/>
                <a:gd name="connsiteX20" fmla="*/ 75 w 199052"/>
                <a:gd name="connsiteY20" fmla="*/ 196501 h 198405"/>
                <a:gd name="connsiteX21" fmla="*/ 1885 w 199052"/>
                <a:gd name="connsiteY21" fmla="*/ 198310 h 198405"/>
                <a:gd name="connsiteX22" fmla="*/ 21221 w 199052"/>
                <a:gd name="connsiteY22" fmla="*/ 198310 h 198405"/>
                <a:gd name="connsiteX23" fmla="*/ 23030 w 199052"/>
                <a:gd name="connsiteY23" fmla="*/ 198406 h 198405"/>
                <a:gd name="connsiteX24" fmla="*/ 153618 w 199052"/>
                <a:gd name="connsiteY24" fmla="*/ 198406 h 198405"/>
                <a:gd name="connsiteX25" fmla="*/ 199053 w 199052"/>
                <a:gd name="connsiteY25" fmla="*/ 151447 h 198405"/>
                <a:gd name="connsiteX26" fmla="*/ 199053 w 199052"/>
                <a:gd name="connsiteY26" fmla="*/ 131826 h 198405"/>
                <a:gd name="connsiteX27" fmla="*/ 153618 w 199052"/>
                <a:gd name="connsiteY27" fmla="*/ 93917 h 198405"/>
                <a:gd name="connsiteX28" fmla="*/ 147427 w 199052"/>
                <a:gd name="connsiteY28" fmla="*/ 140208 h 198405"/>
                <a:gd name="connsiteX29" fmla="*/ 119233 w 199052"/>
                <a:gd name="connsiteY29" fmla="*/ 165830 h 198405"/>
                <a:gd name="connsiteX30" fmla="*/ 75037 w 199052"/>
                <a:gd name="connsiteY30" fmla="*/ 165830 h 198405"/>
                <a:gd name="connsiteX31" fmla="*/ 73323 w 199052"/>
                <a:gd name="connsiteY31" fmla="*/ 165449 h 198405"/>
                <a:gd name="connsiteX32" fmla="*/ 72370 w 199052"/>
                <a:gd name="connsiteY32" fmla="*/ 163544 h 198405"/>
                <a:gd name="connsiteX33" fmla="*/ 72370 w 199052"/>
                <a:gd name="connsiteY33" fmla="*/ 35719 h 198405"/>
                <a:gd name="connsiteX34" fmla="*/ 73132 w 199052"/>
                <a:gd name="connsiteY34" fmla="*/ 33052 h 198405"/>
                <a:gd name="connsiteX35" fmla="*/ 75609 w 199052"/>
                <a:gd name="connsiteY35" fmla="*/ 32480 h 198405"/>
                <a:gd name="connsiteX36" fmla="*/ 119233 w 199052"/>
                <a:gd name="connsiteY36" fmla="*/ 32480 h 198405"/>
                <a:gd name="connsiteX37" fmla="*/ 138093 w 199052"/>
                <a:gd name="connsiteY37" fmla="*/ 49435 h 198405"/>
                <a:gd name="connsiteX38" fmla="*/ 138093 w 199052"/>
                <a:gd name="connsiteY38" fmla="*/ 60770 h 198405"/>
                <a:gd name="connsiteX39" fmla="*/ 118852 w 199052"/>
                <a:gd name="connsiteY39" fmla="*/ 79534 h 198405"/>
                <a:gd name="connsiteX40" fmla="*/ 99040 w 199052"/>
                <a:gd name="connsiteY40" fmla="*/ 79724 h 198405"/>
                <a:gd name="connsiteX41" fmla="*/ 92944 w 199052"/>
                <a:gd name="connsiteY41" fmla="*/ 85820 h 198405"/>
                <a:gd name="connsiteX42" fmla="*/ 92944 w 199052"/>
                <a:gd name="connsiteY42" fmla="*/ 107156 h 198405"/>
                <a:gd name="connsiteX43" fmla="*/ 99040 w 199052"/>
                <a:gd name="connsiteY43" fmla="*/ 113252 h 198405"/>
                <a:gd name="connsiteX44" fmla="*/ 121233 w 199052"/>
                <a:gd name="connsiteY44" fmla="*/ 113252 h 198405"/>
                <a:gd name="connsiteX45" fmla="*/ 147427 w 199052"/>
                <a:gd name="connsiteY45" fmla="*/ 131540 h 198405"/>
                <a:gd name="connsiteX46" fmla="*/ 147427 w 199052"/>
                <a:gd name="connsiteY46" fmla="*/ 140208 h 19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52" h="198405">
                  <a:moveTo>
                    <a:pt x="153618" y="93917"/>
                  </a:moveTo>
                  <a:lnTo>
                    <a:pt x="152475" y="93917"/>
                  </a:lnTo>
                  <a:lnTo>
                    <a:pt x="152475" y="93631"/>
                  </a:lnTo>
                  <a:lnTo>
                    <a:pt x="152189" y="93631"/>
                  </a:lnTo>
                  <a:cubicBezTo>
                    <a:pt x="150951" y="93631"/>
                    <a:pt x="149903" y="92583"/>
                    <a:pt x="149903" y="91345"/>
                  </a:cubicBezTo>
                  <a:cubicBezTo>
                    <a:pt x="149903" y="90106"/>
                    <a:pt x="150951" y="89059"/>
                    <a:pt x="152189" y="89059"/>
                  </a:cubicBezTo>
                  <a:lnTo>
                    <a:pt x="157809" y="89059"/>
                  </a:lnTo>
                  <a:cubicBezTo>
                    <a:pt x="176669" y="86963"/>
                    <a:pt x="191338" y="70961"/>
                    <a:pt x="191338" y="51530"/>
                  </a:cubicBezTo>
                  <a:lnTo>
                    <a:pt x="191338" y="37814"/>
                  </a:lnTo>
                  <a:cubicBezTo>
                    <a:pt x="191338" y="16954"/>
                    <a:pt x="174478" y="95"/>
                    <a:pt x="153618" y="95"/>
                  </a:cubicBezTo>
                  <a:lnTo>
                    <a:pt x="1885" y="0"/>
                  </a:lnTo>
                  <a:cubicBezTo>
                    <a:pt x="838" y="0"/>
                    <a:pt x="75" y="857"/>
                    <a:pt x="75" y="1810"/>
                  </a:cubicBezTo>
                  <a:cubicBezTo>
                    <a:pt x="75" y="1810"/>
                    <a:pt x="-20" y="25717"/>
                    <a:pt x="75" y="25717"/>
                  </a:cubicBezTo>
                  <a:cubicBezTo>
                    <a:pt x="75" y="25717"/>
                    <a:pt x="-115" y="27051"/>
                    <a:pt x="838" y="27813"/>
                  </a:cubicBezTo>
                  <a:cubicBezTo>
                    <a:pt x="1409" y="28194"/>
                    <a:pt x="3123" y="28384"/>
                    <a:pt x="3123" y="28384"/>
                  </a:cubicBezTo>
                  <a:cubicBezTo>
                    <a:pt x="10172" y="29146"/>
                    <a:pt x="21221" y="34862"/>
                    <a:pt x="21221" y="39529"/>
                  </a:cubicBezTo>
                  <a:lnTo>
                    <a:pt x="21221" y="158115"/>
                  </a:lnTo>
                  <a:cubicBezTo>
                    <a:pt x="21031" y="163259"/>
                    <a:pt x="11029" y="168021"/>
                    <a:pt x="2742" y="169354"/>
                  </a:cubicBezTo>
                  <a:cubicBezTo>
                    <a:pt x="2742" y="169354"/>
                    <a:pt x="1504" y="169831"/>
                    <a:pt x="647" y="170688"/>
                  </a:cubicBezTo>
                  <a:cubicBezTo>
                    <a:pt x="-306" y="171641"/>
                    <a:pt x="75" y="173355"/>
                    <a:pt x="75" y="173355"/>
                  </a:cubicBezTo>
                  <a:cubicBezTo>
                    <a:pt x="-20" y="173355"/>
                    <a:pt x="75" y="196501"/>
                    <a:pt x="75" y="196501"/>
                  </a:cubicBezTo>
                  <a:cubicBezTo>
                    <a:pt x="75" y="197549"/>
                    <a:pt x="932" y="198310"/>
                    <a:pt x="1885" y="198310"/>
                  </a:cubicBezTo>
                  <a:lnTo>
                    <a:pt x="21221" y="198310"/>
                  </a:lnTo>
                  <a:cubicBezTo>
                    <a:pt x="21792" y="198310"/>
                    <a:pt x="22364" y="198406"/>
                    <a:pt x="23030" y="198406"/>
                  </a:cubicBezTo>
                  <a:lnTo>
                    <a:pt x="153618" y="198406"/>
                  </a:lnTo>
                  <a:cubicBezTo>
                    <a:pt x="180384" y="198406"/>
                    <a:pt x="199053" y="172307"/>
                    <a:pt x="199053" y="151447"/>
                  </a:cubicBezTo>
                  <a:lnTo>
                    <a:pt x="199053" y="131826"/>
                  </a:lnTo>
                  <a:cubicBezTo>
                    <a:pt x="199053" y="110871"/>
                    <a:pt x="187241" y="93917"/>
                    <a:pt x="153618" y="93917"/>
                  </a:cubicBezTo>
                  <a:close/>
                  <a:moveTo>
                    <a:pt x="147427" y="140208"/>
                  </a:moveTo>
                  <a:cubicBezTo>
                    <a:pt x="147618" y="160115"/>
                    <a:pt x="135616" y="165830"/>
                    <a:pt x="119233" y="165830"/>
                  </a:cubicBezTo>
                  <a:lnTo>
                    <a:pt x="75037" y="165830"/>
                  </a:lnTo>
                  <a:lnTo>
                    <a:pt x="73323" y="165449"/>
                  </a:lnTo>
                  <a:cubicBezTo>
                    <a:pt x="72370" y="164497"/>
                    <a:pt x="72370" y="163544"/>
                    <a:pt x="72370" y="163544"/>
                  </a:cubicBezTo>
                  <a:lnTo>
                    <a:pt x="72370" y="35719"/>
                  </a:lnTo>
                  <a:cubicBezTo>
                    <a:pt x="72370" y="35719"/>
                    <a:pt x="72370" y="33623"/>
                    <a:pt x="73132" y="33052"/>
                  </a:cubicBezTo>
                  <a:cubicBezTo>
                    <a:pt x="73894" y="32480"/>
                    <a:pt x="75609" y="32480"/>
                    <a:pt x="75609" y="32480"/>
                  </a:cubicBezTo>
                  <a:lnTo>
                    <a:pt x="119233" y="32480"/>
                  </a:lnTo>
                  <a:cubicBezTo>
                    <a:pt x="128663" y="32480"/>
                    <a:pt x="138093" y="40100"/>
                    <a:pt x="138093" y="49435"/>
                  </a:cubicBezTo>
                  <a:lnTo>
                    <a:pt x="138093" y="60770"/>
                  </a:lnTo>
                  <a:cubicBezTo>
                    <a:pt x="138283" y="66104"/>
                    <a:pt x="129901" y="80200"/>
                    <a:pt x="118852" y="79534"/>
                  </a:cubicBezTo>
                  <a:lnTo>
                    <a:pt x="99040" y="79724"/>
                  </a:lnTo>
                  <a:cubicBezTo>
                    <a:pt x="95706" y="79724"/>
                    <a:pt x="92944" y="82487"/>
                    <a:pt x="92944" y="85820"/>
                  </a:cubicBezTo>
                  <a:lnTo>
                    <a:pt x="92944" y="107156"/>
                  </a:lnTo>
                  <a:cubicBezTo>
                    <a:pt x="92944" y="110490"/>
                    <a:pt x="95706" y="113252"/>
                    <a:pt x="99040" y="113252"/>
                  </a:cubicBezTo>
                  <a:lnTo>
                    <a:pt x="121233" y="113252"/>
                  </a:lnTo>
                  <a:cubicBezTo>
                    <a:pt x="142093" y="114491"/>
                    <a:pt x="147237" y="126397"/>
                    <a:pt x="147427" y="131540"/>
                  </a:cubicBezTo>
                  <a:lnTo>
                    <a:pt x="147427" y="140208"/>
                  </a:ln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2" name="Freeform 51">
              <a:extLst>
                <a:ext uri="{FF2B5EF4-FFF2-40B4-BE49-F238E27FC236}">
                  <a16:creationId xmlns:a16="http://schemas.microsoft.com/office/drawing/2014/main" id="{6D613894-7CF5-A844-AA04-3D7DCBEE6FB8}"/>
                </a:ext>
              </a:extLst>
            </p:cNvPr>
            <p:cNvSpPr/>
            <p:nvPr/>
          </p:nvSpPr>
          <p:spPr>
            <a:xfrm>
              <a:off x="4630295" y="9643245"/>
              <a:ext cx="197182" cy="198607"/>
            </a:xfrm>
            <a:custGeom>
              <a:avLst/>
              <a:gdLst>
                <a:gd name="connsiteX0" fmla="*/ 191167 w 197182"/>
                <a:gd name="connsiteY0" fmla="*/ 11 h 198607"/>
                <a:gd name="connsiteX1" fmla="*/ 130492 w 197182"/>
                <a:gd name="connsiteY1" fmla="*/ 11 h 198607"/>
                <a:gd name="connsiteX2" fmla="*/ 124396 w 197182"/>
                <a:gd name="connsiteY2" fmla="*/ 6107 h 198607"/>
                <a:gd name="connsiteX3" fmla="*/ 124396 w 197182"/>
                <a:gd name="connsiteY3" fmla="*/ 20395 h 198607"/>
                <a:gd name="connsiteX4" fmla="*/ 129921 w 197182"/>
                <a:gd name="connsiteY4" fmla="*/ 22205 h 198607"/>
                <a:gd name="connsiteX5" fmla="*/ 134874 w 197182"/>
                <a:gd name="connsiteY5" fmla="*/ 25253 h 198607"/>
                <a:gd name="connsiteX6" fmla="*/ 135826 w 197182"/>
                <a:gd name="connsiteY6" fmla="*/ 27539 h 198607"/>
                <a:gd name="connsiteX7" fmla="*/ 133350 w 197182"/>
                <a:gd name="connsiteY7" fmla="*/ 36492 h 198607"/>
                <a:gd name="connsiteX8" fmla="*/ 112490 w 197182"/>
                <a:gd name="connsiteY8" fmla="*/ 70877 h 198607"/>
                <a:gd name="connsiteX9" fmla="*/ 105537 w 197182"/>
                <a:gd name="connsiteY9" fmla="*/ 75449 h 198607"/>
                <a:gd name="connsiteX10" fmla="*/ 105061 w 197182"/>
                <a:gd name="connsiteY10" fmla="*/ 75449 h 198607"/>
                <a:gd name="connsiteX11" fmla="*/ 99250 w 197182"/>
                <a:gd name="connsiteY11" fmla="*/ 71163 h 198607"/>
                <a:gd name="connsiteX12" fmla="*/ 76390 w 197182"/>
                <a:gd name="connsiteY12" fmla="*/ 38111 h 198607"/>
                <a:gd name="connsiteX13" fmla="*/ 76009 w 197182"/>
                <a:gd name="connsiteY13" fmla="*/ 24872 h 198607"/>
                <a:gd name="connsiteX14" fmla="*/ 83153 w 197182"/>
                <a:gd name="connsiteY14" fmla="*/ 21538 h 198607"/>
                <a:gd name="connsiteX15" fmla="*/ 87058 w 197182"/>
                <a:gd name="connsiteY15" fmla="*/ 16680 h 198607"/>
                <a:gd name="connsiteX16" fmla="*/ 87058 w 197182"/>
                <a:gd name="connsiteY16" fmla="*/ 4774 h 198607"/>
                <a:gd name="connsiteX17" fmla="*/ 82963 w 197182"/>
                <a:gd name="connsiteY17" fmla="*/ 11 h 198607"/>
                <a:gd name="connsiteX18" fmla="*/ 6096 w 197182"/>
                <a:gd name="connsiteY18" fmla="*/ 11 h 198607"/>
                <a:gd name="connsiteX19" fmla="*/ 0 w 197182"/>
                <a:gd name="connsiteY19" fmla="*/ 3726 h 198607"/>
                <a:gd name="connsiteX20" fmla="*/ 0 w 197182"/>
                <a:gd name="connsiteY20" fmla="*/ 19347 h 198607"/>
                <a:gd name="connsiteX21" fmla="*/ 3429 w 197182"/>
                <a:gd name="connsiteY21" fmla="*/ 26396 h 198607"/>
                <a:gd name="connsiteX22" fmla="*/ 17431 w 197182"/>
                <a:gd name="connsiteY22" fmla="*/ 33349 h 198607"/>
                <a:gd name="connsiteX23" fmla="*/ 71533 w 197182"/>
                <a:gd name="connsiteY23" fmla="*/ 110597 h 198607"/>
                <a:gd name="connsiteX24" fmla="*/ 71533 w 197182"/>
                <a:gd name="connsiteY24" fmla="*/ 162794 h 198607"/>
                <a:gd name="connsiteX25" fmla="*/ 61055 w 197182"/>
                <a:gd name="connsiteY25" fmla="*/ 167937 h 198607"/>
                <a:gd name="connsiteX26" fmla="*/ 56007 w 197182"/>
                <a:gd name="connsiteY26" fmla="*/ 168985 h 198607"/>
                <a:gd name="connsiteX27" fmla="*/ 54197 w 197182"/>
                <a:gd name="connsiteY27" fmla="*/ 170509 h 198607"/>
                <a:gd name="connsiteX28" fmla="*/ 54102 w 197182"/>
                <a:gd name="connsiteY28" fmla="*/ 170509 h 198607"/>
                <a:gd name="connsiteX29" fmla="*/ 54102 w 197182"/>
                <a:gd name="connsiteY29" fmla="*/ 170795 h 198607"/>
                <a:gd name="connsiteX30" fmla="*/ 54102 w 197182"/>
                <a:gd name="connsiteY30" fmla="*/ 196798 h 198607"/>
                <a:gd name="connsiteX31" fmla="*/ 54102 w 197182"/>
                <a:gd name="connsiteY31" fmla="*/ 197084 h 198607"/>
                <a:gd name="connsiteX32" fmla="*/ 54197 w 197182"/>
                <a:gd name="connsiteY32" fmla="*/ 197084 h 198607"/>
                <a:gd name="connsiteX33" fmla="*/ 56007 w 197182"/>
                <a:gd name="connsiteY33" fmla="*/ 198608 h 198607"/>
                <a:gd name="connsiteX34" fmla="*/ 140779 w 197182"/>
                <a:gd name="connsiteY34" fmla="*/ 198608 h 198607"/>
                <a:gd name="connsiteX35" fmla="*/ 142589 w 197182"/>
                <a:gd name="connsiteY35" fmla="*/ 197084 h 198607"/>
                <a:gd name="connsiteX36" fmla="*/ 142684 w 197182"/>
                <a:gd name="connsiteY36" fmla="*/ 197084 h 198607"/>
                <a:gd name="connsiteX37" fmla="*/ 142684 w 197182"/>
                <a:gd name="connsiteY37" fmla="*/ 196798 h 198607"/>
                <a:gd name="connsiteX38" fmla="*/ 142684 w 197182"/>
                <a:gd name="connsiteY38" fmla="*/ 170795 h 198607"/>
                <a:gd name="connsiteX39" fmla="*/ 142684 w 197182"/>
                <a:gd name="connsiteY39" fmla="*/ 170509 h 198607"/>
                <a:gd name="connsiteX40" fmla="*/ 142589 w 197182"/>
                <a:gd name="connsiteY40" fmla="*/ 170509 h 198607"/>
                <a:gd name="connsiteX41" fmla="*/ 140779 w 197182"/>
                <a:gd name="connsiteY41" fmla="*/ 168985 h 198607"/>
                <a:gd name="connsiteX42" fmla="*/ 138589 w 197182"/>
                <a:gd name="connsiteY42" fmla="*/ 168985 h 198607"/>
                <a:gd name="connsiteX43" fmla="*/ 122777 w 197182"/>
                <a:gd name="connsiteY43" fmla="*/ 160698 h 198607"/>
                <a:gd name="connsiteX44" fmla="*/ 122777 w 197182"/>
                <a:gd name="connsiteY44" fmla="*/ 115454 h 198607"/>
                <a:gd name="connsiteX45" fmla="*/ 167068 w 197182"/>
                <a:gd name="connsiteY45" fmla="*/ 46874 h 198607"/>
                <a:gd name="connsiteX46" fmla="*/ 177260 w 197182"/>
                <a:gd name="connsiteY46" fmla="*/ 33635 h 198607"/>
                <a:gd name="connsiteX47" fmla="*/ 185547 w 197182"/>
                <a:gd name="connsiteY47" fmla="*/ 28015 h 198607"/>
                <a:gd name="connsiteX48" fmla="*/ 192214 w 197182"/>
                <a:gd name="connsiteY48" fmla="*/ 26967 h 198607"/>
                <a:gd name="connsiteX49" fmla="*/ 197167 w 197182"/>
                <a:gd name="connsiteY49" fmla="*/ 21919 h 198607"/>
                <a:gd name="connsiteX50" fmla="*/ 197167 w 197182"/>
                <a:gd name="connsiteY50" fmla="*/ 6107 h 198607"/>
                <a:gd name="connsiteX51" fmla="*/ 191167 w 197182"/>
                <a:gd name="connsiteY51" fmla="*/ 11 h 19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7182" h="198607">
                  <a:moveTo>
                    <a:pt x="191167" y="11"/>
                  </a:moveTo>
                  <a:lnTo>
                    <a:pt x="130492" y="11"/>
                  </a:lnTo>
                  <a:cubicBezTo>
                    <a:pt x="125158" y="-84"/>
                    <a:pt x="124492" y="297"/>
                    <a:pt x="124396" y="6107"/>
                  </a:cubicBezTo>
                  <a:lnTo>
                    <a:pt x="124396" y="20395"/>
                  </a:lnTo>
                  <a:cubicBezTo>
                    <a:pt x="124492" y="23443"/>
                    <a:pt x="129921" y="22205"/>
                    <a:pt x="129921" y="22205"/>
                  </a:cubicBezTo>
                  <a:cubicBezTo>
                    <a:pt x="129921" y="22205"/>
                    <a:pt x="133159" y="22395"/>
                    <a:pt x="134874" y="25253"/>
                  </a:cubicBezTo>
                  <a:cubicBezTo>
                    <a:pt x="135255" y="25919"/>
                    <a:pt x="135826" y="27539"/>
                    <a:pt x="135826" y="27539"/>
                  </a:cubicBezTo>
                  <a:cubicBezTo>
                    <a:pt x="135826" y="27539"/>
                    <a:pt x="135922" y="31920"/>
                    <a:pt x="133350" y="36492"/>
                  </a:cubicBezTo>
                  <a:cubicBezTo>
                    <a:pt x="130492" y="41636"/>
                    <a:pt x="117919" y="62495"/>
                    <a:pt x="112490" y="70877"/>
                  </a:cubicBezTo>
                  <a:cubicBezTo>
                    <a:pt x="111823" y="73544"/>
                    <a:pt x="108394" y="75449"/>
                    <a:pt x="105537" y="75449"/>
                  </a:cubicBezTo>
                  <a:lnTo>
                    <a:pt x="105061" y="75449"/>
                  </a:lnTo>
                  <a:cubicBezTo>
                    <a:pt x="102298" y="75449"/>
                    <a:pt x="100489" y="73354"/>
                    <a:pt x="99250" y="71163"/>
                  </a:cubicBezTo>
                  <a:lnTo>
                    <a:pt x="76390" y="38111"/>
                  </a:lnTo>
                  <a:cubicBezTo>
                    <a:pt x="76390" y="38111"/>
                    <a:pt x="72676" y="30872"/>
                    <a:pt x="76009" y="24872"/>
                  </a:cubicBezTo>
                  <a:cubicBezTo>
                    <a:pt x="77343" y="22490"/>
                    <a:pt x="81915" y="21538"/>
                    <a:pt x="83153" y="21538"/>
                  </a:cubicBezTo>
                  <a:cubicBezTo>
                    <a:pt x="85725" y="21538"/>
                    <a:pt x="87058" y="21252"/>
                    <a:pt x="87058" y="16680"/>
                  </a:cubicBezTo>
                  <a:cubicBezTo>
                    <a:pt x="87058" y="15347"/>
                    <a:pt x="87058" y="4774"/>
                    <a:pt x="87058" y="4774"/>
                  </a:cubicBezTo>
                  <a:cubicBezTo>
                    <a:pt x="87058" y="2774"/>
                    <a:pt x="86392" y="11"/>
                    <a:pt x="82963" y="11"/>
                  </a:cubicBezTo>
                  <a:lnTo>
                    <a:pt x="6096" y="11"/>
                  </a:lnTo>
                  <a:cubicBezTo>
                    <a:pt x="2762" y="11"/>
                    <a:pt x="0" y="392"/>
                    <a:pt x="0" y="3726"/>
                  </a:cubicBezTo>
                  <a:lnTo>
                    <a:pt x="0" y="19347"/>
                  </a:lnTo>
                  <a:cubicBezTo>
                    <a:pt x="286" y="25062"/>
                    <a:pt x="-667" y="26205"/>
                    <a:pt x="3429" y="26396"/>
                  </a:cubicBezTo>
                  <a:cubicBezTo>
                    <a:pt x="10477" y="26681"/>
                    <a:pt x="17431" y="33349"/>
                    <a:pt x="17431" y="33349"/>
                  </a:cubicBezTo>
                  <a:lnTo>
                    <a:pt x="71533" y="110597"/>
                  </a:lnTo>
                  <a:lnTo>
                    <a:pt x="71533" y="162794"/>
                  </a:lnTo>
                  <a:cubicBezTo>
                    <a:pt x="71723" y="165461"/>
                    <a:pt x="65437" y="167175"/>
                    <a:pt x="61055" y="167937"/>
                  </a:cubicBezTo>
                  <a:lnTo>
                    <a:pt x="56007" y="168985"/>
                  </a:lnTo>
                  <a:cubicBezTo>
                    <a:pt x="55054" y="168985"/>
                    <a:pt x="54388" y="169652"/>
                    <a:pt x="54197" y="170509"/>
                  </a:cubicBezTo>
                  <a:cubicBezTo>
                    <a:pt x="54197" y="170509"/>
                    <a:pt x="54197" y="170509"/>
                    <a:pt x="54102" y="170509"/>
                  </a:cubicBezTo>
                  <a:lnTo>
                    <a:pt x="54102" y="170795"/>
                  </a:lnTo>
                  <a:lnTo>
                    <a:pt x="54102" y="196798"/>
                  </a:lnTo>
                  <a:lnTo>
                    <a:pt x="54102" y="197084"/>
                  </a:lnTo>
                  <a:lnTo>
                    <a:pt x="54197" y="197084"/>
                  </a:lnTo>
                  <a:cubicBezTo>
                    <a:pt x="54292" y="197941"/>
                    <a:pt x="55054" y="198608"/>
                    <a:pt x="56007" y="198608"/>
                  </a:cubicBezTo>
                  <a:lnTo>
                    <a:pt x="140779" y="198608"/>
                  </a:lnTo>
                  <a:cubicBezTo>
                    <a:pt x="141732" y="198608"/>
                    <a:pt x="142399" y="197941"/>
                    <a:pt x="142589" y="197084"/>
                  </a:cubicBezTo>
                  <a:lnTo>
                    <a:pt x="142684" y="197084"/>
                  </a:lnTo>
                  <a:lnTo>
                    <a:pt x="142684" y="196798"/>
                  </a:lnTo>
                  <a:lnTo>
                    <a:pt x="142684" y="170795"/>
                  </a:lnTo>
                  <a:lnTo>
                    <a:pt x="142684" y="170509"/>
                  </a:lnTo>
                  <a:cubicBezTo>
                    <a:pt x="142684" y="170509"/>
                    <a:pt x="142684" y="170509"/>
                    <a:pt x="142589" y="170509"/>
                  </a:cubicBezTo>
                  <a:cubicBezTo>
                    <a:pt x="142399" y="169652"/>
                    <a:pt x="141732" y="168985"/>
                    <a:pt x="140779" y="168985"/>
                  </a:cubicBezTo>
                  <a:lnTo>
                    <a:pt x="138589" y="168985"/>
                  </a:lnTo>
                  <a:cubicBezTo>
                    <a:pt x="131921" y="167937"/>
                    <a:pt x="123158" y="163937"/>
                    <a:pt x="122777" y="160698"/>
                  </a:cubicBezTo>
                  <a:lnTo>
                    <a:pt x="122777" y="115454"/>
                  </a:lnTo>
                  <a:lnTo>
                    <a:pt x="167068" y="46874"/>
                  </a:lnTo>
                  <a:cubicBezTo>
                    <a:pt x="167068" y="46874"/>
                    <a:pt x="174879" y="36397"/>
                    <a:pt x="177260" y="33635"/>
                  </a:cubicBezTo>
                  <a:cubicBezTo>
                    <a:pt x="180022" y="30491"/>
                    <a:pt x="182975" y="28872"/>
                    <a:pt x="185547" y="28015"/>
                  </a:cubicBezTo>
                  <a:lnTo>
                    <a:pt x="192214" y="26967"/>
                  </a:lnTo>
                  <a:cubicBezTo>
                    <a:pt x="197263" y="27253"/>
                    <a:pt x="197167" y="25253"/>
                    <a:pt x="197167" y="21919"/>
                  </a:cubicBezTo>
                  <a:lnTo>
                    <a:pt x="197167" y="6107"/>
                  </a:lnTo>
                  <a:cubicBezTo>
                    <a:pt x="197358" y="583"/>
                    <a:pt x="195739" y="11"/>
                    <a:pt x="191167" y="11"/>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3" name="Freeform 52">
              <a:extLst>
                <a:ext uri="{FF2B5EF4-FFF2-40B4-BE49-F238E27FC236}">
                  <a16:creationId xmlns:a16="http://schemas.microsoft.com/office/drawing/2014/main" id="{14367821-9A02-E341-B303-F6E976EE4AF1}"/>
                </a:ext>
              </a:extLst>
            </p:cNvPr>
            <p:cNvSpPr/>
            <p:nvPr/>
          </p:nvSpPr>
          <p:spPr>
            <a:xfrm>
              <a:off x="6547487" y="9643923"/>
              <a:ext cx="161795" cy="196881"/>
            </a:xfrm>
            <a:custGeom>
              <a:avLst/>
              <a:gdLst>
                <a:gd name="connsiteX0" fmla="*/ 161258 w 161795"/>
                <a:gd name="connsiteY0" fmla="*/ 166116 h 196881"/>
                <a:gd name="connsiteX1" fmla="*/ 161258 w 161795"/>
                <a:gd name="connsiteY1" fmla="*/ 124968 h 196881"/>
                <a:gd name="connsiteX2" fmla="*/ 155163 w 161795"/>
                <a:gd name="connsiteY2" fmla="*/ 118872 h 196881"/>
                <a:gd name="connsiteX3" fmla="*/ 139351 w 161795"/>
                <a:gd name="connsiteY3" fmla="*/ 118872 h 196881"/>
                <a:gd name="connsiteX4" fmla="*/ 133255 w 161795"/>
                <a:gd name="connsiteY4" fmla="*/ 124968 h 196881"/>
                <a:gd name="connsiteX5" fmla="*/ 133255 w 161795"/>
                <a:gd name="connsiteY5" fmla="*/ 132874 h 196881"/>
                <a:gd name="connsiteX6" fmla="*/ 130683 w 161795"/>
                <a:gd name="connsiteY6" fmla="*/ 143351 h 196881"/>
                <a:gd name="connsiteX7" fmla="*/ 112395 w 161795"/>
                <a:gd name="connsiteY7" fmla="*/ 160115 h 196881"/>
                <a:gd name="connsiteX8" fmla="*/ 89440 w 161795"/>
                <a:gd name="connsiteY8" fmla="*/ 162687 h 196881"/>
                <a:gd name="connsiteX9" fmla="*/ 89440 w 161795"/>
                <a:gd name="connsiteY9" fmla="*/ 162782 h 196881"/>
                <a:gd name="connsiteX10" fmla="*/ 68485 w 161795"/>
                <a:gd name="connsiteY10" fmla="*/ 162782 h 196881"/>
                <a:gd name="connsiteX11" fmla="*/ 64484 w 161795"/>
                <a:gd name="connsiteY11" fmla="*/ 157639 h 196881"/>
                <a:gd name="connsiteX12" fmla="*/ 64484 w 161795"/>
                <a:gd name="connsiteY12" fmla="*/ 39243 h 196881"/>
                <a:gd name="connsiteX13" fmla="*/ 83534 w 161795"/>
                <a:gd name="connsiteY13" fmla="*/ 28480 h 196881"/>
                <a:gd name="connsiteX14" fmla="*/ 85440 w 161795"/>
                <a:gd name="connsiteY14" fmla="*/ 27718 h 196881"/>
                <a:gd name="connsiteX15" fmla="*/ 85820 w 161795"/>
                <a:gd name="connsiteY15" fmla="*/ 25813 h 196881"/>
                <a:gd name="connsiteX16" fmla="*/ 85630 w 161795"/>
                <a:gd name="connsiteY16" fmla="*/ 1810 h 196881"/>
                <a:gd name="connsiteX17" fmla="*/ 83820 w 161795"/>
                <a:gd name="connsiteY17" fmla="*/ 0 h 196881"/>
                <a:gd name="connsiteX18" fmla="*/ 2000 w 161795"/>
                <a:gd name="connsiteY18" fmla="*/ 0 h 196881"/>
                <a:gd name="connsiteX19" fmla="*/ 191 w 161795"/>
                <a:gd name="connsiteY19" fmla="*/ 1810 h 196881"/>
                <a:gd name="connsiteX20" fmla="*/ 0 w 161795"/>
                <a:gd name="connsiteY20" fmla="*/ 25813 h 196881"/>
                <a:gd name="connsiteX21" fmla="*/ 381 w 161795"/>
                <a:gd name="connsiteY21" fmla="*/ 27718 h 196881"/>
                <a:gd name="connsiteX22" fmla="*/ 2286 w 161795"/>
                <a:gd name="connsiteY22" fmla="*/ 28480 h 196881"/>
                <a:gd name="connsiteX23" fmla="*/ 21336 w 161795"/>
                <a:gd name="connsiteY23" fmla="*/ 39243 h 196881"/>
                <a:gd name="connsiteX24" fmla="*/ 21336 w 161795"/>
                <a:gd name="connsiteY24" fmla="*/ 157639 h 196881"/>
                <a:gd name="connsiteX25" fmla="*/ 2286 w 161795"/>
                <a:gd name="connsiteY25" fmla="*/ 168402 h 196881"/>
                <a:gd name="connsiteX26" fmla="*/ 381 w 161795"/>
                <a:gd name="connsiteY26" fmla="*/ 169164 h 196881"/>
                <a:gd name="connsiteX27" fmla="*/ 0 w 161795"/>
                <a:gd name="connsiteY27" fmla="*/ 171069 h 196881"/>
                <a:gd name="connsiteX28" fmla="*/ 191 w 161795"/>
                <a:gd name="connsiteY28" fmla="*/ 195072 h 196881"/>
                <a:gd name="connsiteX29" fmla="*/ 2000 w 161795"/>
                <a:gd name="connsiteY29" fmla="*/ 196882 h 196881"/>
                <a:gd name="connsiteX30" fmla="*/ 67437 w 161795"/>
                <a:gd name="connsiteY30" fmla="*/ 196882 h 196881"/>
                <a:gd name="connsiteX31" fmla="*/ 67533 w 161795"/>
                <a:gd name="connsiteY31" fmla="*/ 196882 h 196881"/>
                <a:gd name="connsiteX32" fmla="*/ 155639 w 161795"/>
                <a:gd name="connsiteY32" fmla="*/ 196882 h 196881"/>
                <a:gd name="connsiteX33" fmla="*/ 161735 w 161795"/>
                <a:gd name="connsiteY33" fmla="*/ 190786 h 196881"/>
                <a:gd name="connsiteX34" fmla="*/ 161735 w 161795"/>
                <a:gd name="connsiteY34" fmla="*/ 168878 h 196881"/>
                <a:gd name="connsiteX35" fmla="*/ 161258 w 161795"/>
                <a:gd name="connsiteY35" fmla="*/ 166116 h 19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881">
                  <a:moveTo>
                    <a:pt x="161258" y="166116"/>
                  </a:moveTo>
                  <a:lnTo>
                    <a:pt x="161258" y="124968"/>
                  </a:lnTo>
                  <a:cubicBezTo>
                    <a:pt x="161258" y="121634"/>
                    <a:pt x="158496" y="118872"/>
                    <a:pt x="155163" y="118872"/>
                  </a:cubicBezTo>
                  <a:lnTo>
                    <a:pt x="139351" y="118872"/>
                  </a:lnTo>
                  <a:cubicBezTo>
                    <a:pt x="136017" y="118872"/>
                    <a:pt x="133255" y="121634"/>
                    <a:pt x="133255" y="124968"/>
                  </a:cubicBezTo>
                  <a:lnTo>
                    <a:pt x="133255" y="132874"/>
                  </a:lnTo>
                  <a:cubicBezTo>
                    <a:pt x="132969" y="136493"/>
                    <a:pt x="132112" y="140399"/>
                    <a:pt x="130683" y="143351"/>
                  </a:cubicBezTo>
                  <a:cubicBezTo>
                    <a:pt x="126588" y="151543"/>
                    <a:pt x="116396" y="158591"/>
                    <a:pt x="112395" y="160115"/>
                  </a:cubicBezTo>
                  <a:cubicBezTo>
                    <a:pt x="102394" y="163830"/>
                    <a:pt x="89440" y="162687"/>
                    <a:pt x="89440" y="162687"/>
                  </a:cubicBezTo>
                  <a:lnTo>
                    <a:pt x="89440" y="162782"/>
                  </a:lnTo>
                  <a:lnTo>
                    <a:pt x="68485" y="162782"/>
                  </a:lnTo>
                  <a:cubicBezTo>
                    <a:pt x="66104" y="161163"/>
                    <a:pt x="64484" y="159353"/>
                    <a:pt x="64484" y="157639"/>
                  </a:cubicBezTo>
                  <a:lnTo>
                    <a:pt x="64484" y="39243"/>
                  </a:lnTo>
                  <a:cubicBezTo>
                    <a:pt x="64484" y="34576"/>
                    <a:pt x="75248" y="29813"/>
                    <a:pt x="83534" y="28480"/>
                  </a:cubicBezTo>
                  <a:cubicBezTo>
                    <a:pt x="83534" y="28480"/>
                    <a:pt x="84868" y="28575"/>
                    <a:pt x="85440" y="27718"/>
                  </a:cubicBezTo>
                  <a:cubicBezTo>
                    <a:pt x="86011" y="26861"/>
                    <a:pt x="85725" y="25813"/>
                    <a:pt x="85820" y="25813"/>
                  </a:cubicBezTo>
                  <a:lnTo>
                    <a:pt x="85630" y="1810"/>
                  </a:lnTo>
                  <a:cubicBezTo>
                    <a:pt x="85630" y="762"/>
                    <a:pt x="84773" y="0"/>
                    <a:pt x="83820" y="0"/>
                  </a:cubicBezTo>
                  <a:lnTo>
                    <a:pt x="2000" y="0"/>
                  </a:lnTo>
                  <a:cubicBezTo>
                    <a:pt x="953" y="0"/>
                    <a:pt x="191" y="857"/>
                    <a:pt x="191" y="1810"/>
                  </a:cubicBezTo>
                  <a:lnTo>
                    <a:pt x="0" y="25813"/>
                  </a:lnTo>
                  <a:cubicBezTo>
                    <a:pt x="95" y="25813"/>
                    <a:pt x="-190" y="26861"/>
                    <a:pt x="381" y="27718"/>
                  </a:cubicBezTo>
                  <a:cubicBezTo>
                    <a:pt x="953" y="28575"/>
                    <a:pt x="2286" y="28480"/>
                    <a:pt x="2286" y="28480"/>
                  </a:cubicBezTo>
                  <a:cubicBezTo>
                    <a:pt x="10573" y="29813"/>
                    <a:pt x="21336" y="34576"/>
                    <a:pt x="21336" y="39243"/>
                  </a:cubicBezTo>
                  <a:lnTo>
                    <a:pt x="21336" y="157639"/>
                  </a:lnTo>
                  <a:cubicBezTo>
                    <a:pt x="21336" y="162306"/>
                    <a:pt x="10478" y="167069"/>
                    <a:pt x="2286" y="168402"/>
                  </a:cubicBezTo>
                  <a:cubicBezTo>
                    <a:pt x="2286" y="168402"/>
                    <a:pt x="953" y="168307"/>
                    <a:pt x="381" y="169164"/>
                  </a:cubicBezTo>
                  <a:cubicBezTo>
                    <a:pt x="-190" y="170021"/>
                    <a:pt x="95" y="171069"/>
                    <a:pt x="0" y="171069"/>
                  </a:cubicBezTo>
                  <a:lnTo>
                    <a:pt x="191" y="195072"/>
                  </a:lnTo>
                  <a:cubicBezTo>
                    <a:pt x="191" y="196120"/>
                    <a:pt x="1048" y="196882"/>
                    <a:pt x="2000" y="196882"/>
                  </a:cubicBezTo>
                  <a:lnTo>
                    <a:pt x="67437" y="196882"/>
                  </a:lnTo>
                  <a:cubicBezTo>
                    <a:pt x="67437" y="196882"/>
                    <a:pt x="67533" y="196882"/>
                    <a:pt x="67533" y="196882"/>
                  </a:cubicBezTo>
                  <a:lnTo>
                    <a:pt x="155639" y="196882"/>
                  </a:lnTo>
                  <a:cubicBezTo>
                    <a:pt x="158972" y="196882"/>
                    <a:pt x="161735" y="194120"/>
                    <a:pt x="161735" y="190786"/>
                  </a:cubicBezTo>
                  <a:lnTo>
                    <a:pt x="161735" y="168878"/>
                  </a:lnTo>
                  <a:cubicBezTo>
                    <a:pt x="161925" y="167831"/>
                    <a:pt x="161640" y="166878"/>
                    <a:pt x="161258" y="166116"/>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4" name="Freeform 53">
              <a:extLst>
                <a:ext uri="{FF2B5EF4-FFF2-40B4-BE49-F238E27FC236}">
                  <a16:creationId xmlns:a16="http://schemas.microsoft.com/office/drawing/2014/main" id="{C4E220BF-A6DF-A548-931F-381315522189}"/>
                </a:ext>
              </a:extLst>
            </p:cNvPr>
            <p:cNvSpPr/>
            <p:nvPr/>
          </p:nvSpPr>
          <p:spPr>
            <a:xfrm>
              <a:off x="5924362" y="9644304"/>
              <a:ext cx="161795" cy="196500"/>
            </a:xfrm>
            <a:custGeom>
              <a:avLst/>
              <a:gdLst>
                <a:gd name="connsiteX0" fmla="*/ 161258 w 161795"/>
                <a:gd name="connsiteY0" fmla="*/ 165735 h 196500"/>
                <a:gd name="connsiteX1" fmla="*/ 161258 w 161795"/>
                <a:gd name="connsiteY1" fmla="*/ 124587 h 196500"/>
                <a:gd name="connsiteX2" fmla="*/ 155162 w 161795"/>
                <a:gd name="connsiteY2" fmla="*/ 118491 h 196500"/>
                <a:gd name="connsiteX3" fmla="*/ 139351 w 161795"/>
                <a:gd name="connsiteY3" fmla="*/ 118491 h 196500"/>
                <a:gd name="connsiteX4" fmla="*/ 133255 w 161795"/>
                <a:gd name="connsiteY4" fmla="*/ 124587 h 196500"/>
                <a:gd name="connsiteX5" fmla="*/ 133255 w 161795"/>
                <a:gd name="connsiteY5" fmla="*/ 132493 h 196500"/>
                <a:gd name="connsiteX6" fmla="*/ 130683 w 161795"/>
                <a:gd name="connsiteY6" fmla="*/ 142970 h 196500"/>
                <a:gd name="connsiteX7" fmla="*/ 112395 w 161795"/>
                <a:gd name="connsiteY7" fmla="*/ 159734 h 196500"/>
                <a:gd name="connsiteX8" fmla="*/ 89440 w 161795"/>
                <a:gd name="connsiteY8" fmla="*/ 162306 h 196500"/>
                <a:gd name="connsiteX9" fmla="*/ 89440 w 161795"/>
                <a:gd name="connsiteY9" fmla="*/ 162401 h 196500"/>
                <a:gd name="connsiteX10" fmla="*/ 68485 w 161795"/>
                <a:gd name="connsiteY10" fmla="*/ 162401 h 196500"/>
                <a:gd name="connsiteX11" fmla="*/ 64484 w 161795"/>
                <a:gd name="connsiteY11" fmla="*/ 157258 h 196500"/>
                <a:gd name="connsiteX12" fmla="*/ 64484 w 161795"/>
                <a:gd name="connsiteY12" fmla="*/ 39243 h 196500"/>
                <a:gd name="connsiteX13" fmla="*/ 83534 w 161795"/>
                <a:gd name="connsiteY13" fmla="*/ 28480 h 196500"/>
                <a:gd name="connsiteX14" fmla="*/ 85439 w 161795"/>
                <a:gd name="connsiteY14" fmla="*/ 27718 h 196500"/>
                <a:gd name="connsiteX15" fmla="*/ 85820 w 161795"/>
                <a:gd name="connsiteY15" fmla="*/ 25813 h 196500"/>
                <a:gd name="connsiteX16" fmla="*/ 85630 w 161795"/>
                <a:gd name="connsiteY16" fmla="*/ 1810 h 196500"/>
                <a:gd name="connsiteX17" fmla="*/ 83820 w 161795"/>
                <a:gd name="connsiteY17" fmla="*/ 0 h 196500"/>
                <a:gd name="connsiteX18" fmla="*/ 2000 w 161795"/>
                <a:gd name="connsiteY18" fmla="*/ 0 h 196500"/>
                <a:gd name="connsiteX19" fmla="*/ 190 w 161795"/>
                <a:gd name="connsiteY19" fmla="*/ 1810 h 196500"/>
                <a:gd name="connsiteX20" fmla="*/ 0 w 161795"/>
                <a:gd name="connsiteY20" fmla="*/ 25813 h 196500"/>
                <a:gd name="connsiteX21" fmla="*/ 381 w 161795"/>
                <a:gd name="connsiteY21" fmla="*/ 27718 h 196500"/>
                <a:gd name="connsiteX22" fmla="*/ 2286 w 161795"/>
                <a:gd name="connsiteY22" fmla="*/ 28480 h 196500"/>
                <a:gd name="connsiteX23" fmla="*/ 21336 w 161795"/>
                <a:gd name="connsiteY23" fmla="*/ 39243 h 196500"/>
                <a:gd name="connsiteX24" fmla="*/ 21336 w 161795"/>
                <a:gd name="connsiteY24" fmla="*/ 157258 h 196500"/>
                <a:gd name="connsiteX25" fmla="*/ 2286 w 161795"/>
                <a:gd name="connsiteY25" fmla="*/ 168021 h 196500"/>
                <a:gd name="connsiteX26" fmla="*/ 381 w 161795"/>
                <a:gd name="connsiteY26" fmla="*/ 168783 h 196500"/>
                <a:gd name="connsiteX27" fmla="*/ 0 w 161795"/>
                <a:gd name="connsiteY27" fmla="*/ 170688 h 196500"/>
                <a:gd name="connsiteX28" fmla="*/ 190 w 161795"/>
                <a:gd name="connsiteY28" fmla="*/ 194691 h 196500"/>
                <a:gd name="connsiteX29" fmla="*/ 2000 w 161795"/>
                <a:gd name="connsiteY29" fmla="*/ 196501 h 196500"/>
                <a:gd name="connsiteX30" fmla="*/ 67437 w 161795"/>
                <a:gd name="connsiteY30" fmla="*/ 196501 h 196500"/>
                <a:gd name="connsiteX31" fmla="*/ 67532 w 161795"/>
                <a:gd name="connsiteY31" fmla="*/ 196501 h 196500"/>
                <a:gd name="connsiteX32" fmla="*/ 155638 w 161795"/>
                <a:gd name="connsiteY32" fmla="*/ 196501 h 196500"/>
                <a:gd name="connsiteX33" fmla="*/ 161735 w 161795"/>
                <a:gd name="connsiteY33" fmla="*/ 190405 h 196500"/>
                <a:gd name="connsiteX34" fmla="*/ 161735 w 161795"/>
                <a:gd name="connsiteY34" fmla="*/ 168497 h 196500"/>
                <a:gd name="connsiteX35" fmla="*/ 161258 w 161795"/>
                <a:gd name="connsiteY35" fmla="*/ 165735 h 19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1795" h="196500">
                  <a:moveTo>
                    <a:pt x="161258" y="165735"/>
                  </a:moveTo>
                  <a:lnTo>
                    <a:pt x="161258" y="124587"/>
                  </a:lnTo>
                  <a:cubicBezTo>
                    <a:pt x="161258" y="121253"/>
                    <a:pt x="158496" y="118491"/>
                    <a:pt x="155162" y="118491"/>
                  </a:cubicBezTo>
                  <a:lnTo>
                    <a:pt x="139351" y="118491"/>
                  </a:lnTo>
                  <a:cubicBezTo>
                    <a:pt x="136017" y="118491"/>
                    <a:pt x="133255" y="121253"/>
                    <a:pt x="133255" y="124587"/>
                  </a:cubicBezTo>
                  <a:lnTo>
                    <a:pt x="133255" y="132493"/>
                  </a:lnTo>
                  <a:cubicBezTo>
                    <a:pt x="132969" y="136112"/>
                    <a:pt x="132112" y="140017"/>
                    <a:pt x="130683" y="142970"/>
                  </a:cubicBezTo>
                  <a:cubicBezTo>
                    <a:pt x="126587" y="151162"/>
                    <a:pt x="116396" y="158210"/>
                    <a:pt x="112395" y="159734"/>
                  </a:cubicBezTo>
                  <a:cubicBezTo>
                    <a:pt x="102489" y="163449"/>
                    <a:pt x="89440" y="162306"/>
                    <a:pt x="89440" y="162306"/>
                  </a:cubicBezTo>
                  <a:lnTo>
                    <a:pt x="89440" y="162401"/>
                  </a:lnTo>
                  <a:lnTo>
                    <a:pt x="68485" y="162401"/>
                  </a:lnTo>
                  <a:cubicBezTo>
                    <a:pt x="66104" y="160782"/>
                    <a:pt x="64484" y="158972"/>
                    <a:pt x="64484" y="157258"/>
                  </a:cubicBezTo>
                  <a:lnTo>
                    <a:pt x="64484" y="39243"/>
                  </a:lnTo>
                  <a:cubicBezTo>
                    <a:pt x="64484" y="34576"/>
                    <a:pt x="75247" y="29813"/>
                    <a:pt x="83534" y="28480"/>
                  </a:cubicBezTo>
                  <a:cubicBezTo>
                    <a:pt x="83534" y="28480"/>
                    <a:pt x="84868" y="28480"/>
                    <a:pt x="85439" y="27718"/>
                  </a:cubicBezTo>
                  <a:cubicBezTo>
                    <a:pt x="86011" y="26956"/>
                    <a:pt x="85725" y="25813"/>
                    <a:pt x="85820" y="25813"/>
                  </a:cubicBezTo>
                  <a:lnTo>
                    <a:pt x="85630" y="1810"/>
                  </a:lnTo>
                  <a:cubicBezTo>
                    <a:pt x="85630" y="762"/>
                    <a:pt x="84772" y="0"/>
                    <a:pt x="83820" y="0"/>
                  </a:cubicBezTo>
                  <a:lnTo>
                    <a:pt x="2000" y="0"/>
                  </a:lnTo>
                  <a:cubicBezTo>
                    <a:pt x="953" y="0"/>
                    <a:pt x="190" y="857"/>
                    <a:pt x="190" y="1810"/>
                  </a:cubicBezTo>
                  <a:lnTo>
                    <a:pt x="0" y="25813"/>
                  </a:lnTo>
                  <a:cubicBezTo>
                    <a:pt x="95" y="25813"/>
                    <a:pt x="-190" y="26956"/>
                    <a:pt x="381" y="27718"/>
                  </a:cubicBezTo>
                  <a:cubicBezTo>
                    <a:pt x="953" y="28575"/>
                    <a:pt x="2286" y="28480"/>
                    <a:pt x="2286" y="28480"/>
                  </a:cubicBezTo>
                  <a:cubicBezTo>
                    <a:pt x="10573" y="29813"/>
                    <a:pt x="21336" y="34576"/>
                    <a:pt x="21336" y="39243"/>
                  </a:cubicBezTo>
                  <a:lnTo>
                    <a:pt x="21336" y="157258"/>
                  </a:lnTo>
                  <a:cubicBezTo>
                    <a:pt x="21336" y="161925"/>
                    <a:pt x="10573" y="166688"/>
                    <a:pt x="2286" y="168021"/>
                  </a:cubicBezTo>
                  <a:cubicBezTo>
                    <a:pt x="2286" y="168021"/>
                    <a:pt x="953" y="167926"/>
                    <a:pt x="381" y="168783"/>
                  </a:cubicBezTo>
                  <a:cubicBezTo>
                    <a:pt x="-190" y="169640"/>
                    <a:pt x="95" y="170688"/>
                    <a:pt x="0" y="170688"/>
                  </a:cubicBezTo>
                  <a:lnTo>
                    <a:pt x="190" y="194691"/>
                  </a:lnTo>
                  <a:cubicBezTo>
                    <a:pt x="190" y="195739"/>
                    <a:pt x="1048" y="196501"/>
                    <a:pt x="2000" y="196501"/>
                  </a:cubicBezTo>
                  <a:lnTo>
                    <a:pt x="67437" y="196501"/>
                  </a:lnTo>
                  <a:cubicBezTo>
                    <a:pt x="67437" y="196501"/>
                    <a:pt x="67532" y="196501"/>
                    <a:pt x="67532" y="196501"/>
                  </a:cubicBezTo>
                  <a:lnTo>
                    <a:pt x="155638" y="196501"/>
                  </a:lnTo>
                  <a:cubicBezTo>
                    <a:pt x="158972" y="196501"/>
                    <a:pt x="161735" y="193738"/>
                    <a:pt x="161735" y="190405"/>
                  </a:cubicBezTo>
                  <a:lnTo>
                    <a:pt x="161735" y="168497"/>
                  </a:lnTo>
                  <a:cubicBezTo>
                    <a:pt x="161925" y="167450"/>
                    <a:pt x="161639" y="166497"/>
                    <a:pt x="161258" y="165735"/>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5" name="Freeform 54">
              <a:extLst>
                <a:ext uri="{FF2B5EF4-FFF2-40B4-BE49-F238E27FC236}">
                  <a16:creationId xmlns:a16="http://schemas.microsoft.com/office/drawing/2014/main" id="{598B4A95-B128-6F46-A446-7080DBA119E2}"/>
                </a:ext>
              </a:extLst>
            </p:cNvPr>
            <p:cNvSpPr/>
            <p:nvPr/>
          </p:nvSpPr>
          <p:spPr>
            <a:xfrm>
              <a:off x="6698649" y="9643733"/>
              <a:ext cx="221456" cy="200120"/>
            </a:xfrm>
            <a:custGeom>
              <a:avLst/>
              <a:gdLst>
                <a:gd name="connsiteX0" fmla="*/ 110680 w 221456"/>
                <a:gd name="connsiteY0" fmla="*/ 165259 h 200120"/>
                <a:gd name="connsiteX1" fmla="*/ 90488 w 221456"/>
                <a:gd name="connsiteY1" fmla="*/ 164306 h 200120"/>
                <a:gd name="connsiteX2" fmla="*/ 74009 w 221456"/>
                <a:gd name="connsiteY2" fmla="*/ 154114 h 200120"/>
                <a:gd name="connsiteX3" fmla="*/ 72295 w 221456"/>
                <a:gd name="connsiteY3" fmla="*/ 127444 h 200120"/>
                <a:gd name="connsiteX4" fmla="*/ 72295 w 221456"/>
                <a:gd name="connsiteY4" fmla="*/ 39243 h 200120"/>
                <a:gd name="connsiteX5" fmla="*/ 91345 w 221456"/>
                <a:gd name="connsiteY5" fmla="*/ 28480 h 200120"/>
                <a:gd name="connsiteX6" fmla="*/ 93250 w 221456"/>
                <a:gd name="connsiteY6" fmla="*/ 27718 h 200120"/>
                <a:gd name="connsiteX7" fmla="*/ 93631 w 221456"/>
                <a:gd name="connsiteY7" fmla="*/ 25813 h 200120"/>
                <a:gd name="connsiteX8" fmla="*/ 93440 w 221456"/>
                <a:gd name="connsiteY8" fmla="*/ 1810 h 200120"/>
                <a:gd name="connsiteX9" fmla="*/ 91630 w 221456"/>
                <a:gd name="connsiteY9" fmla="*/ 0 h 200120"/>
                <a:gd name="connsiteX10" fmla="*/ 2000 w 221456"/>
                <a:gd name="connsiteY10" fmla="*/ 0 h 200120"/>
                <a:gd name="connsiteX11" fmla="*/ 191 w 221456"/>
                <a:gd name="connsiteY11" fmla="*/ 1810 h 200120"/>
                <a:gd name="connsiteX12" fmla="*/ 0 w 221456"/>
                <a:gd name="connsiteY12" fmla="*/ 25813 h 200120"/>
                <a:gd name="connsiteX13" fmla="*/ 381 w 221456"/>
                <a:gd name="connsiteY13" fmla="*/ 27718 h 200120"/>
                <a:gd name="connsiteX14" fmla="*/ 2286 w 221456"/>
                <a:gd name="connsiteY14" fmla="*/ 28480 h 200120"/>
                <a:gd name="connsiteX15" fmla="*/ 21336 w 221456"/>
                <a:gd name="connsiteY15" fmla="*/ 39243 h 200120"/>
                <a:gd name="connsiteX16" fmla="*/ 21336 w 221456"/>
                <a:gd name="connsiteY16" fmla="*/ 122968 h 200120"/>
                <a:gd name="connsiteX17" fmla="*/ 21241 w 221456"/>
                <a:gd name="connsiteY17" fmla="*/ 123063 h 200120"/>
                <a:gd name="connsiteX18" fmla="*/ 21241 w 221456"/>
                <a:gd name="connsiteY18" fmla="*/ 140398 h 200120"/>
                <a:gd name="connsiteX19" fmla="*/ 25432 w 221456"/>
                <a:gd name="connsiteY19" fmla="*/ 172593 h 200120"/>
                <a:gd name="connsiteX20" fmla="*/ 104585 w 221456"/>
                <a:gd name="connsiteY20" fmla="*/ 200120 h 200120"/>
                <a:gd name="connsiteX21" fmla="*/ 114491 w 221456"/>
                <a:gd name="connsiteY21" fmla="*/ 200120 h 200120"/>
                <a:gd name="connsiteX22" fmla="*/ 196025 w 221456"/>
                <a:gd name="connsiteY22" fmla="*/ 172593 h 200120"/>
                <a:gd name="connsiteX23" fmla="*/ 200216 w 221456"/>
                <a:gd name="connsiteY23" fmla="*/ 140398 h 200120"/>
                <a:gd name="connsiteX24" fmla="*/ 200216 w 221456"/>
                <a:gd name="connsiteY24" fmla="*/ 123063 h 200120"/>
                <a:gd name="connsiteX25" fmla="*/ 200120 w 221456"/>
                <a:gd name="connsiteY25" fmla="*/ 122968 h 200120"/>
                <a:gd name="connsiteX26" fmla="*/ 200120 w 221456"/>
                <a:gd name="connsiteY26" fmla="*/ 39243 h 200120"/>
                <a:gd name="connsiteX27" fmla="*/ 219170 w 221456"/>
                <a:gd name="connsiteY27" fmla="*/ 28480 h 200120"/>
                <a:gd name="connsiteX28" fmla="*/ 221075 w 221456"/>
                <a:gd name="connsiteY28" fmla="*/ 27718 h 200120"/>
                <a:gd name="connsiteX29" fmla="*/ 221456 w 221456"/>
                <a:gd name="connsiteY29" fmla="*/ 25813 h 200120"/>
                <a:gd name="connsiteX30" fmla="*/ 221266 w 221456"/>
                <a:gd name="connsiteY30" fmla="*/ 1810 h 200120"/>
                <a:gd name="connsiteX31" fmla="*/ 219456 w 221456"/>
                <a:gd name="connsiteY31" fmla="*/ 0 h 200120"/>
                <a:gd name="connsiteX32" fmla="*/ 129826 w 221456"/>
                <a:gd name="connsiteY32" fmla="*/ 0 h 200120"/>
                <a:gd name="connsiteX33" fmla="*/ 128016 w 221456"/>
                <a:gd name="connsiteY33" fmla="*/ 1810 h 200120"/>
                <a:gd name="connsiteX34" fmla="*/ 127826 w 221456"/>
                <a:gd name="connsiteY34" fmla="*/ 25813 h 200120"/>
                <a:gd name="connsiteX35" fmla="*/ 128207 w 221456"/>
                <a:gd name="connsiteY35" fmla="*/ 27718 h 200120"/>
                <a:gd name="connsiteX36" fmla="*/ 130112 w 221456"/>
                <a:gd name="connsiteY36" fmla="*/ 28480 h 200120"/>
                <a:gd name="connsiteX37" fmla="*/ 149162 w 221456"/>
                <a:gd name="connsiteY37" fmla="*/ 39243 h 200120"/>
                <a:gd name="connsiteX38" fmla="*/ 149162 w 221456"/>
                <a:gd name="connsiteY38" fmla="*/ 127444 h 200120"/>
                <a:gd name="connsiteX39" fmla="*/ 147447 w 221456"/>
                <a:gd name="connsiteY39" fmla="*/ 154114 h 200120"/>
                <a:gd name="connsiteX40" fmla="*/ 130969 w 221456"/>
                <a:gd name="connsiteY40" fmla="*/ 164306 h 200120"/>
                <a:gd name="connsiteX41" fmla="*/ 110680 w 221456"/>
                <a:gd name="connsiteY41" fmla="*/ 165259 h 20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1456" h="200120">
                  <a:moveTo>
                    <a:pt x="110680" y="165259"/>
                  </a:moveTo>
                  <a:cubicBezTo>
                    <a:pt x="105252" y="165163"/>
                    <a:pt x="93917" y="164878"/>
                    <a:pt x="90488" y="164306"/>
                  </a:cubicBezTo>
                  <a:cubicBezTo>
                    <a:pt x="84677" y="163259"/>
                    <a:pt x="77534" y="160210"/>
                    <a:pt x="74009" y="154114"/>
                  </a:cubicBezTo>
                  <a:cubicBezTo>
                    <a:pt x="71152" y="149257"/>
                    <a:pt x="72580" y="132969"/>
                    <a:pt x="72295" y="127444"/>
                  </a:cubicBezTo>
                  <a:lnTo>
                    <a:pt x="72295" y="39243"/>
                  </a:lnTo>
                  <a:cubicBezTo>
                    <a:pt x="72295" y="34576"/>
                    <a:pt x="83058" y="29813"/>
                    <a:pt x="91345" y="28480"/>
                  </a:cubicBezTo>
                  <a:cubicBezTo>
                    <a:pt x="91345" y="28480"/>
                    <a:pt x="92679" y="28575"/>
                    <a:pt x="93250" y="27718"/>
                  </a:cubicBezTo>
                  <a:cubicBezTo>
                    <a:pt x="93822" y="26860"/>
                    <a:pt x="93536" y="25813"/>
                    <a:pt x="93631" y="25813"/>
                  </a:cubicBezTo>
                  <a:lnTo>
                    <a:pt x="93440" y="1810"/>
                  </a:lnTo>
                  <a:cubicBezTo>
                    <a:pt x="93440" y="762"/>
                    <a:pt x="92583" y="0"/>
                    <a:pt x="91630" y="0"/>
                  </a:cubicBezTo>
                  <a:lnTo>
                    <a:pt x="2000" y="0"/>
                  </a:lnTo>
                  <a:cubicBezTo>
                    <a:pt x="953" y="0"/>
                    <a:pt x="191" y="857"/>
                    <a:pt x="191" y="1810"/>
                  </a:cubicBezTo>
                  <a:lnTo>
                    <a:pt x="0" y="25813"/>
                  </a:lnTo>
                  <a:cubicBezTo>
                    <a:pt x="95" y="25813"/>
                    <a:pt x="-190" y="26860"/>
                    <a:pt x="381" y="27718"/>
                  </a:cubicBezTo>
                  <a:cubicBezTo>
                    <a:pt x="953" y="28575"/>
                    <a:pt x="2286" y="28480"/>
                    <a:pt x="2286" y="28480"/>
                  </a:cubicBezTo>
                  <a:cubicBezTo>
                    <a:pt x="10573" y="29813"/>
                    <a:pt x="21336" y="34576"/>
                    <a:pt x="21336" y="39243"/>
                  </a:cubicBezTo>
                  <a:lnTo>
                    <a:pt x="21336" y="122968"/>
                  </a:lnTo>
                  <a:lnTo>
                    <a:pt x="21241" y="123063"/>
                  </a:lnTo>
                  <a:lnTo>
                    <a:pt x="21241" y="140398"/>
                  </a:lnTo>
                  <a:cubicBezTo>
                    <a:pt x="21241" y="140398"/>
                    <a:pt x="20955" y="165544"/>
                    <a:pt x="25432" y="172593"/>
                  </a:cubicBezTo>
                  <a:cubicBezTo>
                    <a:pt x="36672" y="190214"/>
                    <a:pt x="53626" y="200120"/>
                    <a:pt x="104585" y="200120"/>
                  </a:cubicBezTo>
                  <a:cubicBezTo>
                    <a:pt x="104966" y="200120"/>
                    <a:pt x="114110" y="200120"/>
                    <a:pt x="114491" y="200120"/>
                  </a:cubicBezTo>
                  <a:cubicBezTo>
                    <a:pt x="165449" y="200120"/>
                    <a:pt x="184881" y="190214"/>
                    <a:pt x="196025" y="172593"/>
                  </a:cubicBezTo>
                  <a:cubicBezTo>
                    <a:pt x="200502" y="165544"/>
                    <a:pt x="200216" y="140398"/>
                    <a:pt x="200216" y="140398"/>
                  </a:cubicBezTo>
                  <a:lnTo>
                    <a:pt x="200216" y="123063"/>
                  </a:lnTo>
                  <a:lnTo>
                    <a:pt x="200120" y="122968"/>
                  </a:lnTo>
                  <a:lnTo>
                    <a:pt x="200120" y="39243"/>
                  </a:lnTo>
                  <a:cubicBezTo>
                    <a:pt x="200120" y="34576"/>
                    <a:pt x="210884" y="29813"/>
                    <a:pt x="219170" y="28480"/>
                  </a:cubicBezTo>
                  <a:cubicBezTo>
                    <a:pt x="219170" y="28480"/>
                    <a:pt x="220504" y="28575"/>
                    <a:pt x="221075" y="27718"/>
                  </a:cubicBezTo>
                  <a:cubicBezTo>
                    <a:pt x="221647" y="26860"/>
                    <a:pt x="221361" y="25813"/>
                    <a:pt x="221456" y="25813"/>
                  </a:cubicBezTo>
                  <a:lnTo>
                    <a:pt x="221266" y="1810"/>
                  </a:lnTo>
                  <a:cubicBezTo>
                    <a:pt x="221266" y="762"/>
                    <a:pt x="220409" y="0"/>
                    <a:pt x="219456" y="0"/>
                  </a:cubicBezTo>
                  <a:lnTo>
                    <a:pt x="129826" y="0"/>
                  </a:lnTo>
                  <a:cubicBezTo>
                    <a:pt x="128778" y="0"/>
                    <a:pt x="128016" y="857"/>
                    <a:pt x="128016" y="1810"/>
                  </a:cubicBezTo>
                  <a:lnTo>
                    <a:pt x="127826" y="25813"/>
                  </a:lnTo>
                  <a:cubicBezTo>
                    <a:pt x="127921" y="25813"/>
                    <a:pt x="127635" y="26860"/>
                    <a:pt x="128207" y="27718"/>
                  </a:cubicBezTo>
                  <a:cubicBezTo>
                    <a:pt x="128778" y="28575"/>
                    <a:pt x="130112" y="28480"/>
                    <a:pt x="130112" y="28480"/>
                  </a:cubicBezTo>
                  <a:cubicBezTo>
                    <a:pt x="138399" y="29813"/>
                    <a:pt x="149162" y="34576"/>
                    <a:pt x="149162" y="39243"/>
                  </a:cubicBezTo>
                  <a:lnTo>
                    <a:pt x="149162" y="127444"/>
                  </a:lnTo>
                  <a:cubicBezTo>
                    <a:pt x="148780" y="132969"/>
                    <a:pt x="150305" y="149257"/>
                    <a:pt x="147447" y="154114"/>
                  </a:cubicBezTo>
                  <a:cubicBezTo>
                    <a:pt x="143923" y="160210"/>
                    <a:pt x="136779" y="163259"/>
                    <a:pt x="130969" y="164306"/>
                  </a:cubicBezTo>
                  <a:cubicBezTo>
                    <a:pt x="127445" y="164973"/>
                    <a:pt x="116110" y="165163"/>
                    <a:pt x="110680" y="165259"/>
                  </a:cubicBezTo>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6" name="Freeform 55">
              <a:extLst>
                <a:ext uri="{FF2B5EF4-FFF2-40B4-BE49-F238E27FC236}">
                  <a16:creationId xmlns:a16="http://schemas.microsoft.com/office/drawing/2014/main" id="{AC4223B5-DAF7-FE4C-AFBE-393B274A67B8}"/>
                </a:ext>
              </a:extLst>
            </p:cNvPr>
            <p:cNvSpPr/>
            <p:nvPr/>
          </p:nvSpPr>
          <p:spPr>
            <a:xfrm>
              <a:off x="6352510" y="9639336"/>
              <a:ext cx="183165" cy="206289"/>
            </a:xfrm>
            <a:custGeom>
              <a:avLst/>
              <a:gdLst>
                <a:gd name="connsiteX0" fmla="*/ 182689 w 183165"/>
                <a:gd name="connsiteY0" fmla="*/ 146319 h 206289"/>
                <a:gd name="connsiteX1" fmla="*/ 176593 w 183165"/>
                <a:gd name="connsiteY1" fmla="*/ 140223 h 206289"/>
                <a:gd name="connsiteX2" fmla="*/ 160782 w 183165"/>
                <a:gd name="connsiteY2" fmla="*/ 140223 h 206289"/>
                <a:gd name="connsiteX3" fmla="*/ 154686 w 183165"/>
                <a:gd name="connsiteY3" fmla="*/ 146319 h 206289"/>
                <a:gd name="connsiteX4" fmla="*/ 154686 w 183165"/>
                <a:gd name="connsiteY4" fmla="*/ 148415 h 206289"/>
                <a:gd name="connsiteX5" fmla="*/ 137922 w 183165"/>
                <a:gd name="connsiteY5" fmla="*/ 169751 h 206289"/>
                <a:gd name="connsiteX6" fmla="*/ 109918 w 183165"/>
                <a:gd name="connsiteY6" fmla="*/ 174323 h 206289"/>
                <a:gd name="connsiteX7" fmla="*/ 109251 w 183165"/>
                <a:gd name="connsiteY7" fmla="*/ 174323 h 206289"/>
                <a:gd name="connsiteX8" fmla="*/ 109156 w 183165"/>
                <a:gd name="connsiteY8" fmla="*/ 174323 h 206289"/>
                <a:gd name="connsiteX9" fmla="*/ 81153 w 183165"/>
                <a:gd name="connsiteY9" fmla="*/ 169751 h 206289"/>
                <a:gd name="connsiteX10" fmla="*/ 60770 w 183165"/>
                <a:gd name="connsiteY10" fmla="*/ 146700 h 206289"/>
                <a:gd name="connsiteX11" fmla="*/ 55054 w 183165"/>
                <a:gd name="connsiteY11" fmla="*/ 101266 h 206289"/>
                <a:gd name="connsiteX12" fmla="*/ 60770 w 183165"/>
                <a:gd name="connsiteY12" fmla="*/ 52403 h 206289"/>
                <a:gd name="connsiteX13" fmla="*/ 101632 w 183165"/>
                <a:gd name="connsiteY13" fmla="*/ 31352 h 206289"/>
                <a:gd name="connsiteX14" fmla="*/ 138684 w 183165"/>
                <a:gd name="connsiteY14" fmla="*/ 45831 h 206289"/>
                <a:gd name="connsiteX15" fmla="*/ 145542 w 183165"/>
                <a:gd name="connsiteY15" fmla="*/ 58594 h 206289"/>
                <a:gd name="connsiteX16" fmla="*/ 145542 w 183165"/>
                <a:gd name="connsiteY16" fmla="*/ 60690 h 206289"/>
                <a:gd name="connsiteX17" fmla="*/ 151638 w 183165"/>
                <a:gd name="connsiteY17" fmla="*/ 66786 h 206289"/>
                <a:gd name="connsiteX18" fmla="*/ 167450 w 183165"/>
                <a:gd name="connsiteY18" fmla="*/ 66786 h 206289"/>
                <a:gd name="connsiteX19" fmla="*/ 173545 w 183165"/>
                <a:gd name="connsiteY19" fmla="*/ 60690 h 206289"/>
                <a:gd name="connsiteX20" fmla="*/ 174021 w 183165"/>
                <a:gd name="connsiteY20" fmla="*/ 13350 h 206289"/>
                <a:gd name="connsiteX21" fmla="*/ 170688 w 183165"/>
                <a:gd name="connsiteY21" fmla="*/ 6492 h 206289"/>
                <a:gd name="connsiteX22" fmla="*/ 109633 w 183165"/>
                <a:gd name="connsiteY22" fmla="*/ 15 h 206289"/>
                <a:gd name="connsiteX23" fmla="*/ 38576 w 183165"/>
                <a:gd name="connsiteY23" fmla="*/ 15255 h 206289"/>
                <a:gd name="connsiteX24" fmla="*/ 0 w 183165"/>
                <a:gd name="connsiteY24" fmla="*/ 98123 h 206289"/>
                <a:gd name="connsiteX25" fmla="*/ 24384 w 183165"/>
                <a:gd name="connsiteY25" fmla="*/ 179085 h 206289"/>
                <a:gd name="connsiteX26" fmla="*/ 85249 w 183165"/>
                <a:gd name="connsiteY26" fmla="*/ 204517 h 206289"/>
                <a:gd name="connsiteX27" fmla="*/ 102298 w 183165"/>
                <a:gd name="connsiteY27" fmla="*/ 205946 h 206289"/>
                <a:gd name="connsiteX28" fmla="*/ 109251 w 183165"/>
                <a:gd name="connsiteY28" fmla="*/ 206232 h 206289"/>
                <a:gd name="connsiteX29" fmla="*/ 127540 w 183165"/>
                <a:gd name="connsiteY29" fmla="*/ 205470 h 206289"/>
                <a:gd name="connsiteX30" fmla="*/ 177069 w 183165"/>
                <a:gd name="connsiteY30" fmla="*/ 199659 h 206289"/>
                <a:gd name="connsiteX31" fmla="*/ 183166 w 183165"/>
                <a:gd name="connsiteY31" fmla="*/ 193563 h 206289"/>
                <a:gd name="connsiteX32" fmla="*/ 182689 w 183165"/>
                <a:gd name="connsiteY32" fmla="*/ 146319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3165" h="206289">
                  <a:moveTo>
                    <a:pt x="182689" y="146319"/>
                  </a:moveTo>
                  <a:cubicBezTo>
                    <a:pt x="182689" y="142986"/>
                    <a:pt x="179927" y="140223"/>
                    <a:pt x="176593" y="140223"/>
                  </a:cubicBezTo>
                  <a:lnTo>
                    <a:pt x="160782" y="140223"/>
                  </a:lnTo>
                  <a:cubicBezTo>
                    <a:pt x="157448" y="140223"/>
                    <a:pt x="154686" y="142986"/>
                    <a:pt x="154686" y="146319"/>
                  </a:cubicBezTo>
                  <a:lnTo>
                    <a:pt x="154686" y="148415"/>
                  </a:lnTo>
                  <a:cubicBezTo>
                    <a:pt x="154305" y="157178"/>
                    <a:pt x="143542" y="167465"/>
                    <a:pt x="137922" y="169751"/>
                  </a:cubicBezTo>
                  <a:cubicBezTo>
                    <a:pt x="127730" y="173847"/>
                    <a:pt x="124206" y="173847"/>
                    <a:pt x="109918" y="174323"/>
                  </a:cubicBezTo>
                  <a:cubicBezTo>
                    <a:pt x="109728" y="174323"/>
                    <a:pt x="109538" y="174323"/>
                    <a:pt x="109251" y="174323"/>
                  </a:cubicBezTo>
                  <a:lnTo>
                    <a:pt x="109156" y="174323"/>
                  </a:lnTo>
                  <a:cubicBezTo>
                    <a:pt x="94869" y="173847"/>
                    <a:pt x="91344" y="173847"/>
                    <a:pt x="81153" y="169751"/>
                  </a:cubicBezTo>
                  <a:cubicBezTo>
                    <a:pt x="75438" y="167465"/>
                    <a:pt x="64198" y="155844"/>
                    <a:pt x="60770" y="146700"/>
                  </a:cubicBezTo>
                  <a:cubicBezTo>
                    <a:pt x="58293" y="139652"/>
                    <a:pt x="55054" y="130698"/>
                    <a:pt x="55054" y="101266"/>
                  </a:cubicBezTo>
                  <a:cubicBezTo>
                    <a:pt x="55054" y="71834"/>
                    <a:pt x="57150" y="58213"/>
                    <a:pt x="60770" y="52403"/>
                  </a:cubicBezTo>
                  <a:cubicBezTo>
                    <a:pt x="67246" y="42116"/>
                    <a:pt x="77534" y="31352"/>
                    <a:pt x="101632" y="31352"/>
                  </a:cubicBezTo>
                  <a:cubicBezTo>
                    <a:pt x="125730" y="31352"/>
                    <a:pt x="134493" y="40116"/>
                    <a:pt x="138684" y="45831"/>
                  </a:cubicBezTo>
                  <a:cubicBezTo>
                    <a:pt x="138684" y="45831"/>
                    <a:pt x="145161" y="51165"/>
                    <a:pt x="145542" y="58594"/>
                  </a:cubicBezTo>
                  <a:lnTo>
                    <a:pt x="145542" y="60690"/>
                  </a:lnTo>
                  <a:cubicBezTo>
                    <a:pt x="145542" y="64023"/>
                    <a:pt x="148304" y="66786"/>
                    <a:pt x="151638" y="66786"/>
                  </a:cubicBezTo>
                  <a:lnTo>
                    <a:pt x="167450" y="66786"/>
                  </a:lnTo>
                  <a:cubicBezTo>
                    <a:pt x="170783" y="66786"/>
                    <a:pt x="173545" y="64023"/>
                    <a:pt x="173545" y="60690"/>
                  </a:cubicBezTo>
                  <a:lnTo>
                    <a:pt x="174021" y="13350"/>
                  </a:lnTo>
                  <a:cubicBezTo>
                    <a:pt x="174021" y="13350"/>
                    <a:pt x="174879" y="9921"/>
                    <a:pt x="170688" y="6492"/>
                  </a:cubicBezTo>
                  <a:cubicBezTo>
                    <a:pt x="170688" y="6492"/>
                    <a:pt x="147733" y="-366"/>
                    <a:pt x="109633" y="15"/>
                  </a:cubicBezTo>
                  <a:cubicBezTo>
                    <a:pt x="77914" y="301"/>
                    <a:pt x="52006" y="6873"/>
                    <a:pt x="38576" y="15255"/>
                  </a:cubicBezTo>
                  <a:cubicBezTo>
                    <a:pt x="25241" y="23637"/>
                    <a:pt x="0" y="48117"/>
                    <a:pt x="0" y="98123"/>
                  </a:cubicBezTo>
                  <a:cubicBezTo>
                    <a:pt x="0" y="148129"/>
                    <a:pt x="11049" y="166512"/>
                    <a:pt x="24384" y="179085"/>
                  </a:cubicBezTo>
                  <a:cubicBezTo>
                    <a:pt x="35433" y="189468"/>
                    <a:pt x="51816" y="200326"/>
                    <a:pt x="85249" y="204517"/>
                  </a:cubicBezTo>
                  <a:cubicBezTo>
                    <a:pt x="86296" y="205374"/>
                    <a:pt x="95155" y="205946"/>
                    <a:pt x="102298" y="205946"/>
                  </a:cubicBezTo>
                  <a:cubicBezTo>
                    <a:pt x="104584" y="206041"/>
                    <a:pt x="106870" y="206136"/>
                    <a:pt x="109251" y="206232"/>
                  </a:cubicBezTo>
                  <a:cubicBezTo>
                    <a:pt x="116205" y="206422"/>
                    <a:pt x="122301" y="206136"/>
                    <a:pt x="127540" y="205470"/>
                  </a:cubicBezTo>
                  <a:cubicBezTo>
                    <a:pt x="167640" y="203946"/>
                    <a:pt x="177069" y="199659"/>
                    <a:pt x="177069" y="199659"/>
                  </a:cubicBezTo>
                  <a:cubicBezTo>
                    <a:pt x="180404" y="199659"/>
                    <a:pt x="183166" y="196897"/>
                    <a:pt x="183166" y="193563"/>
                  </a:cubicBezTo>
                  <a:lnTo>
                    <a:pt x="182689" y="146319"/>
                  </a:ln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7" name="Freeform 56">
              <a:extLst>
                <a:ext uri="{FF2B5EF4-FFF2-40B4-BE49-F238E27FC236}">
                  <a16:creationId xmlns:a16="http://schemas.microsoft.com/office/drawing/2014/main" id="{B2BC987A-0767-714E-B00E-136822F8FC62}"/>
                </a:ext>
              </a:extLst>
            </p:cNvPr>
            <p:cNvSpPr/>
            <p:nvPr/>
          </p:nvSpPr>
          <p:spPr>
            <a:xfrm>
              <a:off x="5390200" y="9639241"/>
              <a:ext cx="192119" cy="206289"/>
            </a:xfrm>
            <a:custGeom>
              <a:avLst/>
              <a:gdLst>
                <a:gd name="connsiteX0" fmla="*/ 191548 w 192119"/>
                <a:gd name="connsiteY0" fmla="*/ 145843 h 206289"/>
                <a:gd name="connsiteX1" fmla="*/ 192119 w 192119"/>
                <a:gd name="connsiteY1" fmla="*/ 144890 h 206289"/>
                <a:gd name="connsiteX2" fmla="*/ 191643 w 192119"/>
                <a:gd name="connsiteY2" fmla="*/ 97551 h 206289"/>
                <a:gd name="connsiteX3" fmla="*/ 185547 w 192119"/>
                <a:gd name="connsiteY3" fmla="*/ 91455 h 206289"/>
                <a:gd name="connsiteX4" fmla="*/ 114300 w 192119"/>
                <a:gd name="connsiteY4" fmla="*/ 91455 h 206289"/>
                <a:gd name="connsiteX5" fmla="*/ 108204 w 192119"/>
                <a:gd name="connsiteY5" fmla="*/ 97551 h 206289"/>
                <a:gd name="connsiteX6" fmla="*/ 108204 w 192119"/>
                <a:gd name="connsiteY6" fmla="*/ 99647 h 206289"/>
                <a:gd name="connsiteX7" fmla="*/ 108204 w 192119"/>
                <a:gd name="connsiteY7" fmla="*/ 116030 h 206289"/>
                <a:gd name="connsiteX8" fmla="*/ 108204 w 192119"/>
                <a:gd name="connsiteY8" fmla="*/ 118125 h 206289"/>
                <a:gd name="connsiteX9" fmla="*/ 114300 w 192119"/>
                <a:gd name="connsiteY9" fmla="*/ 124221 h 206289"/>
                <a:gd name="connsiteX10" fmla="*/ 141827 w 192119"/>
                <a:gd name="connsiteY10" fmla="*/ 124221 h 206289"/>
                <a:gd name="connsiteX11" fmla="*/ 141827 w 192119"/>
                <a:gd name="connsiteY11" fmla="*/ 167560 h 206289"/>
                <a:gd name="connsiteX12" fmla="*/ 138017 w 192119"/>
                <a:gd name="connsiteY12" fmla="*/ 169751 h 206289"/>
                <a:gd name="connsiteX13" fmla="*/ 110014 w 192119"/>
                <a:gd name="connsiteY13" fmla="*/ 174323 h 206289"/>
                <a:gd name="connsiteX14" fmla="*/ 109347 w 192119"/>
                <a:gd name="connsiteY14" fmla="*/ 174323 h 206289"/>
                <a:gd name="connsiteX15" fmla="*/ 109252 w 192119"/>
                <a:gd name="connsiteY15" fmla="*/ 174323 h 206289"/>
                <a:gd name="connsiteX16" fmla="*/ 81248 w 192119"/>
                <a:gd name="connsiteY16" fmla="*/ 169751 h 206289"/>
                <a:gd name="connsiteX17" fmla="*/ 60769 w 192119"/>
                <a:gd name="connsiteY17" fmla="*/ 146700 h 206289"/>
                <a:gd name="connsiteX18" fmla="*/ 55054 w 192119"/>
                <a:gd name="connsiteY18" fmla="*/ 101266 h 206289"/>
                <a:gd name="connsiteX19" fmla="*/ 60769 w 192119"/>
                <a:gd name="connsiteY19" fmla="*/ 52403 h 206289"/>
                <a:gd name="connsiteX20" fmla="*/ 101632 w 192119"/>
                <a:gd name="connsiteY20" fmla="*/ 31353 h 206289"/>
                <a:gd name="connsiteX21" fmla="*/ 138684 w 192119"/>
                <a:gd name="connsiteY21" fmla="*/ 45831 h 206289"/>
                <a:gd name="connsiteX22" fmla="*/ 145542 w 192119"/>
                <a:gd name="connsiteY22" fmla="*/ 58594 h 206289"/>
                <a:gd name="connsiteX23" fmla="*/ 145542 w 192119"/>
                <a:gd name="connsiteY23" fmla="*/ 60690 h 206289"/>
                <a:gd name="connsiteX24" fmla="*/ 151638 w 192119"/>
                <a:gd name="connsiteY24" fmla="*/ 66786 h 206289"/>
                <a:gd name="connsiteX25" fmla="*/ 167449 w 192119"/>
                <a:gd name="connsiteY25" fmla="*/ 66786 h 206289"/>
                <a:gd name="connsiteX26" fmla="*/ 173546 w 192119"/>
                <a:gd name="connsiteY26" fmla="*/ 60690 h 206289"/>
                <a:gd name="connsiteX27" fmla="*/ 174022 w 192119"/>
                <a:gd name="connsiteY27" fmla="*/ 13350 h 206289"/>
                <a:gd name="connsiteX28" fmla="*/ 170688 w 192119"/>
                <a:gd name="connsiteY28" fmla="*/ 6492 h 206289"/>
                <a:gd name="connsiteX29" fmla="*/ 109633 w 192119"/>
                <a:gd name="connsiteY29" fmla="*/ 15 h 206289"/>
                <a:gd name="connsiteX30" fmla="*/ 38576 w 192119"/>
                <a:gd name="connsiteY30" fmla="*/ 15255 h 206289"/>
                <a:gd name="connsiteX31" fmla="*/ 0 w 192119"/>
                <a:gd name="connsiteY31" fmla="*/ 98123 h 206289"/>
                <a:gd name="connsiteX32" fmla="*/ 24384 w 192119"/>
                <a:gd name="connsiteY32" fmla="*/ 179085 h 206289"/>
                <a:gd name="connsiteX33" fmla="*/ 85249 w 192119"/>
                <a:gd name="connsiteY33" fmla="*/ 204517 h 206289"/>
                <a:gd name="connsiteX34" fmla="*/ 102298 w 192119"/>
                <a:gd name="connsiteY34" fmla="*/ 205946 h 206289"/>
                <a:gd name="connsiteX35" fmla="*/ 109252 w 192119"/>
                <a:gd name="connsiteY35" fmla="*/ 206232 h 206289"/>
                <a:gd name="connsiteX36" fmla="*/ 127540 w 192119"/>
                <a:gd name="connsiteY36" fmla="*/ 205469 h 206289"/>
                <a:gd name="connsiteX37" fmla="*/ 185928 w 192119"/>
                <a:gd name="connsiteY37" fmla="*/ 199659 h 206289"/>
                <a:gd name="connsiteX38" fmla="*/ 192024 w 192119"/>
                <a:gd name="connsiteY38" fmla="*/ 193563 h 206289"/>
                <a:gd name="connsiteX39" fmla="*/ 191548 w 192119"/>
                <a:gd name="connsiteY39" fmla="*/ 146224 h 206289"/>
                <a:gd name="connsiteX40" fmla="*/ 191548 w 192119"/>
                <a:gd name="connsiteY40" fmla="*/ 145843 h 20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2119" h="206289">
                  <a:moveTo>
                    <a:pt x="191548" y="145843"/>
                  </a:moveTo>
                  <a:lnTo>
                    <a:pt x="192119" y="144890"/>
                  </a:lnTo>
                  <a:lnTo>
                    <a:pt x="191643" y="97551"/>
                  </a:lnTo>
                  <a:cubicBezTo>
                    <a:pt x="191643" y="94218"/>
                    <a:pt x="188881" y="91455"/>
                    <a:pt x="185547" y="91455"/>
                  </a:cubicBezTo>
                  <a:lnTo>
                    <a:pt x="114300" y="91455"/>
                  </a:lnTo>
                  <a:cubicBezTo>
                    <a:pt x="110966" y="91455"/>
                    <a:pt x="108204" y="94218"/>
                    <a:pt x="108204" y="97551"/>
                  </a:cubicBezTo>
                  <a:lnTo>
                    <a:pt x="108204" y="99647"/>
                  </a:lnTo>
                  <a:lnTo>
                    <a:pt x="108204" y="116030"/>
                  </a:lnTo>
                  <a:lnTo>
                    <a:pt x="108204" y="118125"/>
                  </a:lnTo>
                  <a:cubicBezTo>
                    <a:pt x="108204" y="121459"/>
                    <a:pt x="110966" y="124221"/>
                    <a:pt x="114300" y="124221"/>
                  </a:cubicBezTo>
                  <a:lnTo>
                    <a:pt x="141827" y="124221"/>
                  </a:lnTo>
                  <a:lnTo>
                    <a:pt x="141827" y="167560"/>
                  </a:lnTo>
                  <a:cubicBezTo>
                    <a:pt x="140398" y="168513"/>
                    <a:pt x="139160" y="169274"/>
                    <a:pt x="138017" y="169751"/>
                  </a:cubicBezTo>
                  <a:cubicBezTo>
                    <a:pt x="127825" y="173847"/>
                    <a:pt x="124301" y="173847"/>
                    <a:pt x="110014" y="174323"/>
                  </a:cubicBezTo>
                  <a:cubicBezTo>
                    <a:pt x="109823" y="174323"/>
                    <a:pt x="109633" y="174323"/>
                    <a:pt x="109347" y="174323"/>
                  </a:cubicBezTo>
                  <a:lnTo>
                    <a:pt x="109252" y="174323"/>
                  </a:lnTo>
                  <a:cubicBezTo>
                    <a:pt x="94964" y="173847"/>
                    <a:pt x="91440" y="173847"/>
                    <a:pt x="81248" y="169751"/>
                  </a:cubicBezTo>
                  <a:cubicBezTo>
                    <a:pt x="75533" y="167465"/>
                    <a:pt x="64294" y="155844"/>
                    <a:pt x="60769" y="146700"/>
                  </a:cubicBezTo>
                  <a:cubicBezTo>
                    <a:pt x="58293" y="139652"/>
                    <a:pt x="55054" y="130698"/>
                    <a:pt x="55054" y="101266"/>
                  </a:cubicBezTo>
                  <a:cubicBezTo>
                    <a:pt x="55054" y="71834"/>
                    <a:pt x="57150" y="58213"/>
                    <a:pt x="60769" y="52403"/>
                  </a:cubicBezTo>
                  <a:cubicBezTo>
                    <a:pt x="67246" y="42116"/>
                    <a:pt x="77533" y="31353"/>
                    <a:pt x="101632" y="31353"/>
                  </a:cubicBezTo>
                  <a:cubicBezTo>
                    <a:pt x="125730" y="31353"/>
                    <a:pt x="134493" y="40115"/>
                    <a:pt x="138684" y="45831"/>
                  </a:cubicBezTo>
                  <a:cubicBezTo>
                    <a:pt x="138684" y="45831"/>
                    <a:pt x="145161" y="51165"/>
                    <a:pt x="145542" y="58594"/>
                  </a:cubicBezTo>
                  <a:lnTo>
                    <a:pt x="145542" y="60690"/>
                  </a:lnTo>
                  <a:cubicBezTo>
                    <a:pt x="145542" y="64023"/>
                    <a:pt x="148304" y="66786"/>
                    <a:pt x="151638" y="66786"/>
                  </a:cubicBezTo>
                  <a:lnTo>
                    <a:pt x="167449" y="66786"/>
                  </a:lnTo>
                  <a:cubicBezTo>
                    <a:pt x="170783" y="66786"/>
                    <a:pt x="173546" y="64023"/>
                    <a:pt x="173546" y="60690"/>
                  </a:cubicBezTo>
                  <a:lnTo>
                    <a:pt x="174022" y="13350"/>
                  </a:lnTo>
                  <a:cubicBezTo>
                    <a:pt x="174022" y="13350"/>
                    <a:pt x="174879" y="9921"/>
                    <a:pt x="170688" y="6492"/>
                  </a:cubicBezTo>
                  <a:cubicBezTo>
                    <a:pt x="170688" y="6492"/>
                    <a:pt x="147733" y="-366"/>
                    <a:pt x="109633" y="15"/>
                  </a:cubicBezTo>
                  <a:cubicBezTo>
                    <a:pt x="77914" y="301"/>
                    <a:pt x="52006" y="6873"/>
                    <a:pt x="38576" y="15255"/>
                  </a:cubicBezTo>
                  <a:cubicBezTo>
                    <a:pt x="25241" y="23637"/>
                    <a:pt x="0" y="48116"/>
                    <a:pt x="0" y="98123"/>
                  </a:cubicBezTo>
                  <a:cubicBezTo>
                    <a:pt x="0" y="148129"/>
                    <a:pt x="11049" y="166512"/>
                    <a:pt x="24384" y="179085"/>
                  </a:cubicBezTo>
                  <a:cubicBezTo>
                    <a:pt x="35433" y="189468"/>
                    <a:pt x="51911" y="200326"/>
                    <a:pt x="85249" y="204517"/>
                  </a:cubicBezTo>
                  <a:cubicBezTo>
                    <a:pt x="86296" y="205374"/>
                    <a:pt x="95155" y="205946"/>
                    <a:pt x="102298" y="205946"/>
                  </a:cubicBezTo>
                  <a:cubicBezTo>
                    <a:pt x="104584" y="206041"/>
                    <a:pt x="106775" y="206136"/>
                    <a:pt x="109252" y="206232"/>
                  </a:cubicBezTo>
                  <a:cubicBezTo>
                    <a:pt x="116205" y="206422"/>
                    <a:pt x="122301" y="206136"/>
                    <a:pt x="127540" y="205469"/>
                  </a:cubicBezTo>
                  <a:cubicBezTo>
                    <a:pt x="167640" y="203945"/>
                    <a:pt x="185928" y="199659"/>
                    <a:pt x="185928" y="199659"/>
                  </a:cubicBezTo>
                  <a:cubicBezTo>
                    <a:pt x="189262" y="199659"/>
                    <a:pt x="192024" y="196897"/>
                    <a:pt x="192024" y="193563"/>
                  </a:cubicBezTo>
                  <a:lnTo>
                    <a:pt x="191548" y="146224"/>
                  </a:lnTo>
                  <a:cubicBezTo>
                    <a:pt x="191643" y="146224"/>
                    <a:pt x="191643" y="146034"/>
                    <a:pt x="191548" y="145843"/>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8" name="Freeform 57">
              <a:extLst>
                <a:ext uri="{FF2B5EF4-FFF2-40B4-BE49-F238E27FC236}">
                  <a16:creationId xmlns:a16="http://schemas.microsoft.com/office/drawing/2014/main" id="{5FE4735D-98ED-5445-BBA5-E66CA0CAE791}"/>
                </a:ext>
              </a:extLst>
            </p:cNvPr>
            <p:cNvSpPr/>
            <p:nvPr/>
          </p:nvSpPr>
          <p:spPr>
            <a:xfrm>
              <a:off x="4421888" y="9639446"/>
              <a:ext cx="217074" cy="206120"/>
            </a:xfrm>
            <a:custGeom>
              <a:avLst/>
              <a:gdLst>
                <a:gd name="connsiteX0" fmla="*/ 178403 w 217074"/>
                <a:gd name="connsiteY0" fmla="*/ 15240 h 206120"/>
                <a:gd name="connsiteX1" fmla="*/ 111157 w 217074"/>
                <a:gd name="connsiteY1" fmla="*/ 95 h 206120"/>
                <a:gd name="connsiteX2" fmla="*/ 111157 w 217074"/>
                <a:gd name="connsiteY2" fmla="*/ 0 h 206120"/>
                <a:gd name="connsiteX3" fmla="*/ 105823 w 217074"/>
                <a:gd name="connsiteY3" fmla="*/ 0 h 206120"/>
                <a:gd name="connsiteX4" fmla="*/ 105823 w 217074"/>
                <a:gd name="connsiteY4" fmla="*/ 95 h 206120"/>
                <a:gd name="connsiteX5" fmla="*/ 38576 w 217074"/>
                <a:gd name="connsiteY5" fmla="*/ 15240 h 206120"/>
                <a:gd name="connsiteX6" fmla="*/ 0 w 217074"/>
                <a:gd name="connsiteY6" fmla="*/ 98108 h 206120"/>
                <a:gd name="connsiteX7" fmla="*/ 24479 w 217074"/>
                <a:gd name="connsiteY7" fmla="*/ 179070 h 206120"/>
                <a:gd name="connsiteX8" fmla="*/ 85344 w 217074"/>
                <a:gd name="connsiteY8" fmla="*/ 204502 h 206120"/>
                <a:gd name="connsiteX9" fmla="*/ 102394 w 217074"/>
                <a:gd name="connsiteY9" fmla="*/ 205931 h 206120"/>
                <a:gd name="connsiteX10" fmla="*/ 111252 w 217074"/>
                <a:gd name="connsiteY10" fmla="*/ 206121 h 206120"/>
                <a:gd name="connsiteX11" fmla="*/ 131731 w 217074"/>
                <a:gd name="connsiteY11" fmla="*/ 204502 h 206120"/>
                <a:gd name="connsiteX12" fmla="*/ 192596 w 217074"/>
                <a:gd name="connsiteY12" fmla="*/ 179070 h 206120"/>
                <a:gd name="connsiteX13" fmla="*/ 217075 w 217074"/>
                <a:gd name="connsiteY13" fmla="*/ 98108 h 206120"/>
                <a:gd name="connsiteX14" fmla="*/ 178403 w 217074"/>
                <a:gd name="connsiteY14" fmla="*/ 15240 h 206120"/>
                <a:gd name="connsiteX15" fmla="*/ 156210 w 217074"/>
                <a:gd name="connsiteY15" fmla="*/ 146590 h 206120"/>
                <a:gd name="connsiteX16" fmla="*/ 135826 w 217074"/>
                <a:gd name="connsiteY16" fmla="*/ 169640 h 206120"/>
                <a:gd name="connsiteX17" fmla="*/ 108490 w 217074"/>
                <a:gd name="connsiteY17" fmla="*/ 174212 h 206120"/>
                <a:gd name="connsiteX18" fmla="*/ 81153 w 217074"/>
                <a:gd name="connsiteY18" fmla="*/ 169640 h 206120"/>
                <a:gd name="connsiteX19" fmla="*/ 60770 w 217074"/>
                <a:gd name="connsiteY19" fmla="*/ 146590 h 206120"/>
                <a:gd name="connsiteX20" fmla="*/ 55054 w 217074"/>
                <a:gd name="connsiteY20" fmla="*/ 101156 h 206120"/>
                <a:gd name="connsiteX21" fmla="*/ 60770 w 217074"/>
                <a:gd name="connsiteY21" fmla="*/ 52292 h 206120"/>
                <a:gd name="connsiteX22" fmla="*/ 101632 w 217074"/>
                <a:gd name="connsiteY22" fmla="*/ 31242 h 206120"/>
                <a:gd name="connsiteX23" fmla="*/ 115348 w 217074"/>
                <a:gd name="connsiteY23" fmla="*/ 31242 h 206120"/>
                <a:gd name="connsiteX24" fmla="*/ 156210 w 217074"/>
                <a:gd name="connsiteY24" fmla="*/ 52292 h 206120"/>
                <a:gd name="connsiteX25" fmla="*/ 161925 w 217074"/>
                <a:gd name="connsiteY25" fmla="*/ 101156 h 206120"/>
                <a:gd name="connsiteX26" fmla="*/ 156210 w 217074"/>
                <a:gd name="connsiteY26" fmla="*/ 146590 h 20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74" h="206120">
                  <a:moveTo>
                    <a:pt x="178403" y="15240"/>
                  </a:moveTo>
                  <a:cubicBezTo>
                    <a:pt x="165545" y="7144"/>
                    <a:pt x="141160" y="857"/>
                    <a:pt x="111157" y="95"/>
                  </a:cubicBezTo>
                  <a:lnTo>
                    <a:pt x="111157" y="0"/>
                  </a:lnTo>
                  <a:cubicBezTo>
                    <a:pt x="110680" y="0"/>
                    <a:pt x="106299" y="0"/>
                    <a:pt x="105823" y="0"/>
                  </a:cubicBezTo>
                  <a:lnTo>
                    <a:pt x="105823" y="95"/>
                  </a:lnTo>
                  <a:cubicBezTo>
                    <a:pt x="75819" y="857"/>
                    <a:pt x="51435" y="7239"/>
                    <a:pt x="38576" y="15240"/>
                  </a:cubicBezTo>
                  <a:cubicBezTo>
                    <a:pt x="25241" y="23622"/>
                    <a:pt x="0" y="48101"/>
                    <a:pt x="0" y="98108"/>
                  </a:cubicBezTo>
                  <a:cubicBezTo>
                    <a:pt x="0" y="148114"/>
                    <a:pt x="11049" y="166497"/>
                    <a:pt x="24479" y="179070"/>
                  </a:cubicBezTo>
                  <a:cubicBezTo>
                    <a:pt x="35433" y="189452"/>
                    <a:pt x="51911" y="200311"/>
                    <a:pt x="85344" y="204502"/>
                  </a:cubicBezTo>
                  <a:cubicBezTo>
                    <a:pt x="86392" y="205359"/>
                    <a:pt x="95250" y="205931"/>
                    <a:pt x="102394" y="205931"/>
                  </a:cubicBezTo>
                  <a:cubicBezTo>
                    <a:pt x="103537" y="206026"/>
                    <a:pt x="111252" y="206121"/>
                    <a:pt x="111252" y="206121"/>
                  </a:cubicBezTo>
                  <a:cubicBezTo>
                    <a:pt x="112395" y="206121"/>
                    <a:pt x="130683" y="205359"/>
                    <a:pt x="131731" y="204502"/>
                  </a:cubicBezTo>
                  <a:cubicBezTo>
                    <a:pt x="165068" y="200311"/>
                    <a:pt x="181546" y="189452"/>
                    <a:pt x="192596" y="179070"/>
                  </a:cubicBezTo>
                  <a:cubicBezTo>
                    <a:pt x="205930" y="166497"/>
                    <a:pt x="217075" y="148114"/>
                    <a:pt x="217075" y="98108"/>
                  </a:cubicBezTo>
                  <a:cubicBezTo>
                    <a:pt x="216979" y="48101"/>
                    <a:pt x="191738" y="23622"/>
                    <a:pt x="178403" y="15240"/>
                  </a:cubicBezTo>
                  <a:close/>
                  <a:moveTo>
                    <a:pt x="156210" y="146590"/>
                  </a:moveTo>
                  <a:cubicBezTo>
                    <a:pt x="152781" y="155734"/>
                    <a:pt x="141446" y="167354"/>
                    <a:pt x="135826" y="169640"/>
                  </a:cubicBezTo>
                  <a:cubicBezTo>
                    <a:pt x="125825" y="173641"/>
                    <a:pt x="122206" y="173736"/>
                    <a:pt x="108490" y="174212"/>
                  </a:cubicBezTo>
                  <a:cubicBezTo>
                    <a:pt x="94869" y="173736"/>
                    <a:pt x="91154" y="173641"/>
                    <a:pt x="81153" y="169640"/>
                  </a:cubicBezTo>
                  <a:cubicBezTo>
                    <a:pt x="75438" y="167354"/>
                    <a:pt x="64198" y="155734"/>
                    <a:pt x="60770" y="146590"/>
                  </a:cubicBezTo>
                  <a:cubicBezTo>
                    <a:pt x="58293" y="139541"/>
                    <a:pt x="55054" y="130588"/>
                    <a:pt x="55054" y="101156"/>
                  </a:cubicBezTo>
                  <a:cubicBezTo>
                    <a:pt x="55054" y="71723"/>
                    <a:pt x="57150" y="58103"/>
                    <a:pt x="60770" y="52292"/>
                  </a:cubicBezTo>
                  <a:cubicBezTo>
                    <a:pt x="67246" y="42005"/>
                    <a:pt x="77533" y="31242"/>
                    <a:pt x="101632" y="31242"/>
                  </a:cubicBezTo>
                  <a:cubicBezTo>
                    <a:pt x="103060" y="31242"/>
                    <a:pt x="113919" y="31242"/>
                    <a:pt x="115348" y="31242"/>
                  </a:cubicBezTo>
                  <a:cubicBezTo>
                    <a:pt x="143161" y="31147"/>
                    <a:pt x="149733" y="41910"/>
                    <a:pt x="156210" y="52292"/>
                  </a:cubicBezTo>
                  <a:cubicBezTo>
                    <a:pt x="159829" y="58103"/>
                    <a:pt x="161925" y="71723"/>
                    <a:pt x="161925" y="101156"/>
                  </a:cubicBezTo>
                  <a:cubicBezTo>
                    <a:pt x="161925" y="130588"/>
                    <a:pt x="158687" y="139541"/>
                    <a:pt x="156210" y="146590"/>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59" name="Freeform 58">
              <a:extLst>
                <a:ext uri="{FF2B5EF4-FFF2-40B4-BE49-F238E27FC236}">
                  <a16:creationId xmlns:a16="http://schemas.microsoft.com/office/drawing/2014/main" id="{C5465087-D571-4D4F-A628-8E0BD6AE8AE6}"/>
                </a:ext>
              </a:extLst>
            </p:cNvPr>
            <p:cNvSpPr/>
            <p:nvPr/>
          </p:nvSpPr>
          <p:spPr>
            <a:xfrm>
              <a:off x="4213195" y="9954724"/>
              <a:ext cx="166973" cy="158781"/>
            </a:xfrm>
            <a:custGeom>
              <a:avLst/>
              <a:gdLst>
                <a:gd name="connsiteX0" fmla="*/ 137160 w 166973"/>
                <a:gd name="connsiteY0" fmla="*/ 11811 h 158781"/>
                <a:gd name="connsiteX1" fmla="*/ 85439 w 166973"/>
                <a:gd name="connsiteY1" fmla="*/ 95 h 158781"/>
                <a:gd name="connsiteX2" fmla="*/ 85439 w 166973"/>
                <a:gd name="connsiteY2" fmla="*/ 0 h 158781"/>
                <a:gd name="connsiteX3" fmla="*/ 84296 w 166973"/>
                <a:gd name="connsiteY3" fmla="*/ 0 h 158781"/>
                <a:gd name="connsiteX4" fmla="*/ 83439 w 166973"/>
                <a:gd name="connsiteY4" fmla="*/ 0 h 158781"/>
                <a:gd name="connsiteX5" fmla="*/ 82582 w 166973"/>
                <a:gd name="connsiteY5" fmla="*/ 0 h 158781"/>
                <a:gd name="connsiteX6" fmla="*/ 81439 w 166973"/>
                <a:gd name="connsiteY6" fmla="*/ 0 h 158781"/>
                <a:gd name="connsiteX7" fmla="*/ 81439 w 166973"/>
                <a:gd name="connsiteY7" fmla="*/ 95 h 158781"/>
                <a:gd name="connsiteX8" fmla="*/ 29718 w 166973"/>
                <a:gd name="connsiteY8" fmla="*/ 11811 h 158781"/>
                <a:gd name="connsiteX9" fmla="*/ 0 w 166973"/>
                <a:gd name="connsiteY9" fmla="*/ 75629 h 158781"/>
                <a:gd name="connsiteX10" fmla="*/ 18859 w 166973"/>
                <a:gd name="connsiteY10" fmla="*/ 137922 h 158781"/>
                <a:gd name="connsiteX11" fmla="*/ 65722 w 166973"/>
                <a:gd name="connsiteY11" fmla="*/ 157448 h 158781"/>
                <a:gd name="connsiteX12" fmla="*/ 78867 w 166973"/>
                <a:gd name="connsiteY12" fmla="*/ 158591 h 158781"/>
                <a:gd name="connsiteX13" fmla="*/ 81534 w 166973"/>
                <a:gd name="connsiteY13" fmla="*/ 158687 h 158781"/>
                <a:gd name="connsiteX14" fmla="*/ 81534 w 166973"/>
                <a:gd name="connsiteY14" fmla="*/ 158782 h 158781"/>
                <a:gd name="connsiteX15" fmla="*/ 82963 w 166973"/>
                <a:gd name="connsiteY15" fmla="*/ 158782 h 158781"/>
                <a:gd name="connsiteX16" fmla="*/ 83534 w 166973"/>
                <a:gd name="connsiteY16" fmla="*/ 158782 h 158781"/>
                <a:gd name="connsiteX17" fmla="*/ 84106 w 166973"/>
                <a:gd name="connsiteY17" fmla="*/ 158782 h 158781"/>
                <a:gd name="connsiteX18" fmla="*/ 85534 w 166973"/>
                <a:gd name="connsiteY18" fmla="*/ 158782 h 158781"/>
                <a:gd name="connsiteX19" fmla="*/ 85534 w 166973"/>
                <a:gd name="connsiteY19" fmla="*/ 158687 h 158781"/>
                <a:gd name="connsiteX20" fmla="*/ 88201 w 166973"/>
                <a:gd name="connsiteY20" fmla="*/ 158591 h 158781"/>
                <a:gd name="connsiteX21" fmla="*/ 101251 w 166973"/>
                <a:gd name="connsiteY21" fmla="*/ 157448 h 158781"/>
                <a:gd name="connsiteX22" fmla="*/ 148114 w 166973"/>
                <a:gd name="connsiteY22" fmla="*/ 137922 h 158781"/>
                <a:gd name="connsiteX23" fmla="*/ 166973 w 166973"/>
                <a:gd name="connsiteY23" fmla="*/ 75629 h 158781"/>
                <a:gd name="connsiteX24" fmla="*/ 137160 w 166973"/>
                <a:gd name="connsiteY24" fmla="*/ 11811 h 158781"/>
                <a:gd name="connsiteX25" fmla="*/ 120110 w 166973"/>
                <a:gd name="connsiteY25" fmla="*/ 112967 h 158781"/>
                <a:gd name="connsiteX26" fmla="*/ 104394 w 166973"/>
                <a:gd name="connsiteY26" fmla="*/ 130683 h 158781"/>
                <a:gd name="connsiteX27" fmla="*/ 83344 w 166973"/>
                <a:gd name="connsiteY27" fmla="*/ 134207 h 158781"/>
                <a:gd name="connsiteX28" fmla="*/ 62294 w 166973"/>
                <a:gd name="connsiteY28" fmla="*/ 130683 h 158781"/>
                <a:gd name="connsiteX29" fmla="*/ 46577 w 166973"/>
                <a:gd name="connsiteY29" fmla="*/ 112967 h 158781"/>
                <a:gd name="connsiteX30" fmla="*/ 42196 w 166973"/>
                <a:gd name="connsiteY30" fmla="*/ 78010 h 158781"/>
                <a:gd name="connsiteX31" fmla="*/ 46577 w 166973"/>
                <a:gd name="connsiteY31" fmla="*/ 40386 h 158781"/>
                <a:gd name="connsiteX32" fmla="*/ 78010 w 166973"/>
                <a:gd name="connsiteY32" fmla="*/ 24193 h 158781"/>
                <a:gd name="connsiteX33" fmla="*/ 81248 w 166973"/>
                <a:gd name="connsiteY33" fmla="*/ 24289 h 158781"/>
                <a:gd name="connsiteX34" fmla="*/ 81248 w 166973"/>
                <a:gd name="connsiteY34" fmla="*/ 24575 h 158781"/>
                <a:gd name="connsiteX35" fmla="*/ 83344 w 166973"/>
                <a:gd name="connsiteY35" fmla="*/ 24384 h 158781"/>
                <a:gd name="connsiteX36" fmla="*/ 85439 w 166973"/>
                <a:gd name="connsiteY36" fmla="*/ 24575 h 158781"/>
                <a:gd name="connsiteX37" fmla="*/ 85439 w 166973"/>
                <a:gd name="connsiteY37" fmla="*/ 24289 h 158781"/>
                <a:gd name="connsiteX38" fmla="*/ 88678 w 166973"/>
                <a:gd name="connsiteY38" fmla="*/ 24193 h 158781"/>
                <a:gd name="connsiteX39" fmla="*/ 120110 w 166973"/>
                <a:gd name="connsiteY39" fmla="*/ 40386 h 158781"/>
                <a:gd name="connsiteX40" fmla="*/ 124492 w 166973"/>
                <a:gd name="connsiteY40" fmla="*/ 78010 h 158781"/>
                <a:gd name="connsiteX41" fmla="*/ 120110 w 166973"/>
                <a:gd name="connsiteY41" fmla="*/ 112967 h 15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6973" h="158781">
                  <a:moveTo>
                    <a:pt x="137160" y="11811"/>
                  </a:moveTo>
                  <a:cubicBezTo>
                    <a:pt x="127254" y="5620"/>
                    <a:pt x="108490" y="762"/>
                    <a:pt x="85439" y="95"/>
                  </a:cubicBezTo>
                  <a:lnTo>
                    <a:pt x="85439" y="0"/>
                  </a:lnTo>
                  <a:cubicBezTo>
                    <a:pt x="85058" y="0"/>
                    <a:pt x="84677" y="0"/>
                    <a:pt x="84296" y="0"/>
                  </a:cubicBezTo>
                  <a:cubicBezTo>
                    <a:pt x="84011" y="0"/>
                    <a:pt x="83725" y="0"/>
                    <a:pt x="83439" y="0"/>
                  </a:cubicBezTo>
                  <a:cubicBezTo>
                    <a:pt x="83153" y="0"/>
                    <a:pt x="82867" y="0"/>
                    <a:pt x="82582" y="0"/>
                  </a:cubicBezTo>
                  <a:cubicBezTo>
                    <a:pt x="82201" y="0"/>
                    <a:pt x="81820" y="0"/>
                    <a:pt x="81439" y="0"/>
                  </a:cubicBezTo>
                  <a:lnTo>
                    <a:pt x="81439" y="95"/>
                  </a:lnTo>
                  <a:cubicBezTo>
                    <a:pt x="58388" y="667"/>
                    <a:pt x="39529" y="5620"/>
                    <a:pt x="29718" y="11811"/>
                  </a:cubicBezTo>
                  <a:cubicBezTo>
                    <a:pt x="19431" y="18288"/>
                    <a:pt x="0" y="37052"/>
                    <a:pt x="0" y="75629"/>
                  </a:cubicBezTo>
                  <a:cubicBezTo>
                    <a:pt x="0" y="114109"/>
                    <a:pt x="8572" y="128302"/>
                    <a:pt x="18859" y="137922"/>
                  </a:cubicBezTo>
                  <a:cubicBezTo>
                    <a:pt x="27337" y="145923"/>
                    <a:pt x="40005" y="154305"/>
                    <a:pt x="65722" y="157448"/>
                  </a:cubicBezTo>
                  <a:cubicBezTo>
                    <a:pt x="66580" y="158115"/>
                    <a:pt x="73342" y="158591"/>
                    <a:pt x="78867" y="158591"/>
                  </a:cubicBezTo>
                  <a:cubicBezTo>
                    <a:pt x="79724" y="158591"/>
                    <a:pt x="80677" y="158687"/>
                    <a:pt x="81534" y="158687"/>
                  </a:cubicBezTo>
                  <a:lnTo>
                    <a:pt x="81534" y="158782"/>
                  </a:lnTo>
                  <a:cubicBezTo>
                    <a:pt x="82010" y="158782"/>
                    <a:pt x="82487" y="158782"/>
                    <a:pt x="82963" y="158782"/>
                  </a:cubicBezTo>
                  <a:cubicBezTo>
                    <a:pt x="83153" y="158782"/>
                    <a:pt x="83344" y="158782"/>
                    <a:pt x="83534" y="158782"/>
                  </a:cubicBezTo>
                  <a:cubicBezTo>
                    <a:pt x="83725" y="158782"/>
                    <a:pt x="83915" y="158782"/>
                    <a:pt x="84106" y="158782"/>
                  </a:cubicBezTo>
                  <a:cubicBezTo>
                    <a:pt x="84582" y="158782"/>
                    <a:pt x="85058" y="158782"/>
                    <a:pt x="85534" y="158782"/>
                  </a:cubicBezTo>
                  <a:lnTo>
                    <a:pt x="85534" y="158687"/>
                  </a:lnTo>
                  <a:cubicBezTo>
                    <a:pt x="86392" y="158687"/>
                    <a:pt x="87344" y="158591"/>
                    <a:pt x="88201" y="158591"/>
                  </a:cubicBezTo>
                  <a:cubicBezTo>
                    <a:pt x="93631" y="158591"/>
                    <a:pt x="100489" y="158115"/>
                    <a:pt x="101251" y="157448"/>
                  </a:cubicBezTo>
                  <a:cubicBezTo>
                    <a:pt x="126968" y="154210"/>
                    <a:pt x="139637" y="145828"/>
                    <a:pt x="148114" y="137922"/>
                  </a:cubicBezTo>
                  <a:cubicBezTo>
                    <a:pt x="158401" y="128207"/>
                    <a:pt x="166973" y="114109"/>
                    <a:pt x="166973" y="75629"/>
                  </a:cubicBezTo>
                  <a:cubicBezTo>
                    <a:pt x="166878" y="37052"/>
                    <a:pt x="147447" y="18288"/>
                    <a:pt x="137160" y="11811"/>
                  </a:cubicBezTo>
                  <a:close/>
                  <a:moveTo>
                    <a:pt x="120110" y="112967"/>
                  </a:moveTo>
                  <a:cubicBezTo>
                    <a:pt x="117443" y="120015"/>
                    <a:pt x="108775" y="128968"/>
                    <a:pt x="104394" y="130683"/>
                  </a:cubicBezTo>
                  <a:cubicBezTo>
                    <a:pt x="96679" y="133731"/>
                    <a:pt x="93916" y="133826"/>
                    <a:pt x="83344" y="134207"/>
                  </a:cubicBezTo>
                  <a:cubicBezTo>
                    <a:pt x="72866" y="133826"/>
                    <a:pt x="70009" y="133826"/>
                    <a:pt x="62294" y="130683"/>
                  </a:cubicBezTo>
                  <a:cubicBezTo>
                    <a:pt x="57912" y="128968"/>
                    <a:pt x="49244" y="120015"/>
                    <a:pt x="46577" y="112967"/>
                  </a:cubicBezTo>
                  <a:cubicBezTo>
                    <a:pt x="44672" y="107537"/>
                    <a:pt x="42196" y="100584"/>
                    <a:pt x="42196" y="78010"/>
                  </a:cubicBezTo>
                  <a:cubicBezTo>
                    <a:pt x="42196" y="55340"/>
                    <a:pt x="43815" y="44863"/>
                    <a:pt x="46577" y="40386"/>
                  </a:cubicBezTo>
                  <a:cubicBezTo>
                    <a:pt x="51530" y="32480"/>
                    <a:pt x="59531" y="24193"/>
                    <a:pt x="78010" y="24193"/>
                  </a:cubicBezTo>
                  <a:cubicBezTo>
                    <a:pt x="79153" y="24193"/>
                    <a:pt x="80200" y="24193"/>
                    <a:pt x="81248" y="24289"/>
                  </a:cubicBezTo>
                  <a:lnTo>
                    <a:pt x="81248" y="24575"/>
                  </a:lnTo>
                  <a:cubicBezTo>
                    <a:pt x="81915" y="24479"/>
                    <a:pt x="82582" y="24479"/>
                    <a:pt x="83344" y="24384"/>
                  </a:cubicBezTo>
                  <a:cubicBezTo>
                    <a:pt x="84011" y="24479"/>
                    <a:pt x="84772" y="24479"/>
                    <a:pt x="85439" y="24575"/>
                  </a:cubicBezTo>
                  <a:lnTo>
                    <a:pt x="85439" y="24289"/>
                  </a:lnTo>
                  <a:cubicBezTo>
                    <a:pt x="86487" y="24193"/>
                    <a:pt x="87535" y="24193"/>
                    <a:pt x="88678" y="24193"/>
                  </a:cubicBezTo>
                  <a:cubicBezTo>
                    <a:pt x="107156" y="24193"/>
                    <a:pt x="115157" y="32385"/>
                    <a:pt x="120110" y="40386"/>
                  </a:cubicBezTo>
                  <a:cubicBezTo>
                    <a:pt x="122968" y="44863"/>
                    <a:pt x="124492" y="55340"/>
                    <a:pt x="124492" y="78010"/>
                  </a:cubicBezTo>
                  <a:cubicBezTo>
                    <a:pt x="124492" y="100584"/>
                    <a:pt x="122015" y="107537"/>
                    <a:pt x="120110" y="112967"/>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0" name="Freeform 59">
              <a:extLst>
                <a:ext uri="{FF2B5EF4-FFF2-40B4-BE49-F238E27FC236}">
                  <a16:creationId xmlns:a16="http://schemas.microsoft.com/office/drawing/2014/main" id="{862FDB2D-2330-4641-A86F-4C41FB8A7421}"/>
                </a:ext>
              </a:extLst>
            </p:cNvPr>
            <p:cNvSpPr/>
            <p:nvPr/>
          </p:nvSpPr>
          <p:spPr>
            <a:xfrm>
              <a:off x="5602702" y="9644304"/>
              <a:ext cx="85820" cy="196310"/>
            </a:xfrm>
            <a:custGeom>
              <a:avLst/>
              <a:gdLst>
                <a:gd name="connsiteX0" fmla="*/ 85439 w 85820"/>
                <a:gd name="connsiteY0" fmla="*/ 168592 h 196310"/>
                <a:gd name="connsiteX1" fmla="*/ 83534 w 85820"/>
                <a:gd name="connsiteY1" fmla="*/ 167830 h 196310"/>
                <a:gd name="connsiteX2" fmla="*/ 64484 w 85820"/>
                <a:gd name="connsiteY2" fmla="*/ 157067 h 196310"/>
                <a:gd name="connsiteX3" fmla="*/ 64484 w 85820"/>
                <a:gd name="connsiteY3" fmla="*/ 114586 h 196310"/>
                <a:gd name="connsiteX4" fmla="*/ 64484 w 85820"/>
                <a:gd name="connsiteY4" fmla="*/ 83248 h 196310"/>
                <a:gd name="connsiteX5" fmla="*/ 64484 w 85820"/>
                <a:gd name="connsiteY5" fmla="*/ 39243 h 196310"/>
                <a:gd name="connsiteX6" fmla="*/ 83534 w 85820"/>
                <a:gd name="connsiteY6" fmla="*/ 28480 h 196310"/>
                <a:gd name="connsiteX7" fmla="*/ 85439 w 85820"/>
                <a:gd name="connsiteY7" fmla="*/ 27718 h 196310"/>
                <a:gd name="connsiteX8" fmla="*/ 85820 w 85820"/>
                <a:gd name="connsiteY8" fmla="*/ 25813 h 196310"/>
                <a:gd name="connsiteX9" fmla="*/ 85630 w 85820"/>
                <a:gd name="connsiteY9" fmla="*/ 1810 h 196310"/>
                <a:gd name="connsiteX10" fmla="*/ 83820 w 85820"/>
                <a:gd name="connsiteY10" fmla="*/ 0 h 196310"/>
                <a:gd name="connsiteX11" fmla="*/ 2000 w 85820"/>
                <a:gd name="connsiteY11" fmla="*/ 0 h 196310"/>
                <a:gd name="connsiteX12" fmla="*/ 190 w 85820"/>
                <a:gd name="connsiteY12" fmla="*/ 1810 h 196310"/>
                <a:gd name="connsiteX13" fmla="*/ 0 w 85820"/>
                <a:gd name="connsiteY13" fmla="*/ 25813 h 196310"/>
                <a:gd name="connsiteX14" fmla="*/ 381 w 85820"/>
                <a:gd name="connsiteY14" fmla="*/ 27718 h 196310"/>
                <a:gd name="connsiteX15" fmla="*/ 2286 w 85820"/>
                <a:gd name="connsiteY15" fmla="*/ 28480 h 196310"/>
                <a:gd name="connsiteX16" fmla="*/ 21336 w 85820"/>
                <a:gd name="connsiteY16" fmla="*/ 39243 h 196310"/>
                <a:gd name="connsiteX17" fmla="*/ 21336 w 85820"/>
                <a:gd name="connsiteY17" fmla="*/ 83248 h 196310"/>
                <a:gd name="connsiteX18" fmla="*/ 21336 w 85820"/>
                <a:gd name="connsiteY18" fmla="*/ 114586 h 196310"/>
                <a:gd name="connsiteX19" fmla="*/ 21336 w 85820"/>
                <a:gd name="connsiteY19" fmla="*/ 157067 h 196310"/>
                <a:gd name="connsiteX20" fmla="*/ 2286 w 85820"/>
                <a:gd name="connsiteY20" fmla="*/ 167830 h 196310"/>
                <a:gd name="connsiteX21" fmla="*/ 381 w 85820"/>
                <a:gd name="connsiteY21" fmla="*/ 168592 h 196310"/>
                <a:gd name="connsiteX22" fmla="*/ 0 w 85820"/>
                <a:gd name="connsiteY22" fmla="*/ 170497 h 196310"/>
                <a:gd name="connsiteX23" fmla="*/ 190 w 85820"/>
                <a:gd name="connsiteY23" fmla="*/ 194500 h 196310"/>
                <a:gd name="connsiteX24" fmla="*/ 2000 w 85820"/>
                <a:gd name="connsiteY24" fmla="*/ 196310 h 196310"/>
                <a:gd name="connsiteX25" fmla="*/ 83820 w 85820"/>
                <a:gd name="connsiteY25" fmla="*/ 196310 h 196310"/>
                <a:gd name="connsiteX26" fmla="*/ 85630 w 85820"/>
                <a:gd name="connsiteY26" fmla="*/ 194500 h 196310"/>
                <a:gd name="connsiteX27" fmla="*/ 85820 w 85820"/>
                <a:gd name="connsiteY27" fmla="*/ 170497 h 196310"/>
                <a:gd name="connsiteX28" fmla="*/ 85439 w 85820"/>
                <a:gd name="connsiteY28" fmla="*/ 168592 h 196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5820" h="196310">
                  <a:moveTo>
                    <a:pt x="85439" y="168592"/>
                  </a:moveTo>
                  <a:cubicBezTo>
                    <a:pt x="84868" y="167735"/>
                    <a:pt x="83534" y="167830"/>
                    <a:pt x="83534" y="167830"/>
                  </a:cubicBezTo>
                  <a:cubicBezTo>
                    <a:pt x="75247" y="166497"/>
                    <a:pt x="64484" y="161734"/>
                    <a:pt x="64484" y="157067"/>
                  </a:cubicBezTo>
                  <a:lnTo>
                    <a:pt x="64484" y="114586"/>
                  </a:lnTo>
                  <a:lnTo>
                    <a:pt x="64484" y="83248"/>
                  </a:lnTo>
                  <a:lnTo>
                    <a:pt x="64484" y="39243"/>
                  </a:lnTo>
                  <a:cubicBezTo>
                    <a:pt x="64484" y="34576"/>
                    <a:pt x="75343" y="29813"/>
                    <a:pt x="83534" y="28480"/>
                  </a:cubicBezTo>
                  <a:cubicBezTo>
                    <a:pt x="83534" y="28480"/>
                    <a:pt x="84868" y="28575"/>
                    <a:pt x="85439" y="27718"/>
                  </a:cubicBezTo>
                  <a:cubicBezTo>
                    <a:pt x="86011" y="26860"/>
                    <a:pt x="85725" y="25813"/>
                    <a:pt x="85820" y="25813"/>
                  </a:cubicBezTo>
                  <a:lnTo>
                    <a:pt x="85630" y="1810"/>
                  </a:lnTo>
                  <a:cubicBezTo>
                    <a:pt x="85630" y="762"/>
                    <a:pt x="84772" y="0"/>
                    <a:pt x="83820" y="0"/>
                  </a:cubicBezTo>
                  <a:lnTo>
                    <a:pt x="2000" y="0"/>
                  </a:lnTo>
                  <a:cubicBezTo>
                    <a:pt x="952" y="0"/>
                    <a:pt x="190" y="857"/>
                    <a:pt x="190" y="1810"/>
                  </a:cubicBezTo>
                  <a:lnTo>
                    <a:pt x="0" y="25813"/>
                  </a:lnTo>
                  <a:cubicBezTo>
                    <a:pt x="95" y="25813"/>
                    <a:pt x="-191" y="26860"/>
                    <a:pt x="381" y="27718"/>
                  </a:cubicBezTo>
                  <a:cubicBezTo>
                    <a:pt x="952" y="28575"/>
                    <a:pt x="2286" y="28480"/>
                    <a:pt x="2286" y="28480"/>
                  </a:cubicBezTo>
                  <a:cubicBezTo>
                    <a:pt x="10573" y="29813"/>
                    <a:pt x="21336" y="34576"/>
                    <a:pt x="21336" y="39243"/>
                  </a:cubicBezTo>
                  <a:lnTo>
                    <a:pt x="21336" y="83248"/>
                  </a:lnTo>
                  <a:lnTo>
                    <a:pt x="21336" y="114586"/>
                  </a:lnTo>
                  <a:lnTo>
                    <a:pt x="21336" y="157067"/>
                  </a:lnTo>
                  <a:cubicBezTo>
                    <a:pt x="21336" y="161734"/>
                    <a:pt x="10477" y="166497"/>
                    <a:pt x="2286" y="167830"/>
                  </a:cubicBezTo>
                  <a:cubicBezTo>
                    <a:pt x="2286" y="167830"/>
                    <a:pt x="952" y="167735"/>
                    <a:pt x="381" y="168592"/>
                  </a:cubicBezTo>
                  <a:cubicBezTo>
                    <a:pt x="-191" y="169450"/>
                    <a:pt x="95" y="170497"/>
                    <a:pt x="0" y="170497"/>
                  </a:cubicBezTo>
                  <a:lnTo>
                    <a:pt x="190" y="194500"/>
                  </a:lnTo>
                  <a:cubicBezTo>
                    <a:pt x="190" y="195548"/>
                    <a:pt x="1048" y="196310"/>
                    <a:pt x="2000" y="196310"/>
                  </a:cubicBezTo>
                  <a:lnTo>
                    <a:pt x="83820" y="196310"/>
                  </a:lnTo>
                  <a:cubicBezTo>
                    <a:pt x="84868" y="196310"/>
                    <a:pt x="85630" y="195453"/>
                    <a:pt x="85630" y="194500"/>
                  </a:cubicBezTo>
                  <a:lnTo>
                    <a:pt x="85820" y="170497"/>
                  </a:lnTo>
                  <a:cubicBezTo>
                    <a:pt x="85725" y="170497"/>
                    <a:pt x="86011" y="169450"/>
                    <a:pt x="85439" y="168592"/>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1" name="Freeform 60">
              <a:extLst>
                <a:ext uri="{FF2B5EF4-FFF2-40B4-BE49-F238E27FC236}">
                  <a16:creationId xmlns:a16="http://schemas.microsoft.com/office/drawing/2014/main" id="{38860A02-E63E-D94B-AB59-13623F4BF6BA}"/>
                </a:ext>
              </a:extLst>
            </p:cNvPr>
            <p:cNvSpPr/>
            <p:nvPr/>
          </p:nvSpPr>
          <p:spPr>
            <a:xfrm>
              <a:off x="5246811" y="9956724"/>
              <a:ext cx="66274" cy="151161"/>
            </a:xfrm>
            <a:custGeom>
              <a:avLst/>
              <a:gdLst>
                <a:gd name="connsiteX0" fmla="*/ 65951 w 66274"/>
                <a:gd name="connsiteY0" fmla="*/ 129826 h 151161"/>
                <a:gd name="connsiteX1" fmla="*/ 64427 w 66274"/>
                <a:gd name="connsiteY1" fmla="*/ 129254 h 151161"/>
                <a:gd name="connsiteX2" fmla="*/ 49758 w 66274"/>
                <a:gd name="connsiteY2" fmla="*/ 120967 h 151161"/>
                <a:gd name="connsiteX3" fmla="*/ 49758 w 66274"/>
                <a:gd name="connsiteY3" fmla="*/ 88201 h 151161"/>
                <a:gd name="connsiteX4" fmla="*/ 49758 w 66274"/>
                <a:gd name="connsiteY4" fmla="*/ 64103 h 151161"/>
                <a:gd name="connsiteX5" fmla="*/ 49758 w 66274"/>
                <a:gd name="connsiteY5" fmla="*/ 30194 h 151161"/>
                <a:gd name="connsiteX6" fmla="*/ 64427 w 66274"/>
                <a:gd name="connsiteY6" fmla="*/ 21907 h 151161"/>
                <a:gd name="connsiteX7" fmla="*/ 65951 w 66274"/>
                <a:gd name="connsiteY7" fmla="*/ 21336 h 151161"/>
                <a:gd name="connsiteX8" fmla="*/ 66236 w 66274"/>
                <a:gd name="connsiteY8" fmla="*/ 19907 h 151161"/>
                <a:gd name="connsiteX9" fmla="*/ 66046 w 66274"/>
                <a:gd name="connsiteY9" fmla="*/ 1429 h 151161"/>
                <a:gd name="connsiteX10" fmla="*/ 64617 w 66274"/>
                <a:gd name="connsiteY10" fmla="*/ 0 h 151161"/>
                <a:gd name="connsiteX11" fmla="*/ 1657 w 66274"/>
                <a:gd name="connsiteY11" fmla="*/ 0 h 151161"/>
                <a:gd name="connsiteX12" fmla="*/ 228 w 66274"/>
                <a:gd name="connsiteY12" fmla="*/ 1429 h 151161"/>
                <a:gd name="connsiteX13" fmla="*/ 38 w 66274"/>
                <a:gd name="connsiteY13" fmla="*/ 19907 h 151161"/>
                <a:gd name="connsiteX14" fmla="*/ 323 w 66274"/>
                <a:gd name="connsiteY14" fmla="*/ 21336 h 151161"/>
                <a:gd name="connsiteX15" fmla="*/ 1752 w 66274"/>
                <a:gd name="connsiteY15" fmla="*/ 21907 h 151161"/>
                <a:gd name="connsiteX16" fmla="*/ 16421 w 66274"/>
                <a:gd name="connsiteY16" fmla="*/ 30194 h 151161"/>
                <a:gd name="connsiteX17" fmla="*/ 16421 w 66274"/>
                <a:gd name="connsiteY17" fmla="*/ 64103 h 151161"/>
                <a:gd name="connsiteX18" fmla="*/ 16421 w 66274"/>
                <a:gd name="connsiteY18" fmla="*/ 88201 h 151161"/>
                <a:gd name="connsiteX19" fmla="*/ 16421 w 66274"/>
                <a:gd name="connsiteY19" fmla="*/ 120967 h 151161"/>
                <a:gd name="connsiteX20" fmla="*/ 1752 w 66274"/>
                <a:gd name="connsiteY20" fmla="*/ 129254 h 151161"/>
                <a:gd name="connsiteX21" fmla="*/ 323 w 66274"/>
                <a:gd name="connsiteY21" fmla="*/ 129826 h 151161"/>
                <a:gd name="connsiteX22" fmla="*/ 38 w 66274"/>
                <a:gd name="connsiteY22" fmla="*/ 131254 h 151161"/>
                <a:gd name="connsiteX23" fmla="*/ 228 w 66274"/>
                <a:gd name="connsiteY23" fmla="*/ 149733 h 151161"/>
                <a:gd name="connsiteX24" fmla="*/ 1657 w 66274"/>
                <a:gd name="connsiteY24" fmla="*/ 151162 h 151161"/>
                <a:gd name="connsiteX25" fmla="*/ 64617 w 66274"/>
                <a:gd name="connsiteY25" fmla="*/ 151162 h 151161"/>
                <a:gd name="connsiteX26" fmla="*/ 66046 w 66274"/>
                <a:gd name="connsiteY26" fmla="*/ 149733 h 151161"/>
                <a:gd name="connsiteX27" fmla="*/ 66236 w 66274"/>
                <a:gd name="connsiteY27" fmla="*/ 131254 h 151161"/>
                <a:gd name="connsiteX28" fmla="*/ 65951 w 66274"/>
                <a:gd name="connsiteY28" fmla="*/ 129826 h 15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274" h="151161">
                  <a:moveTo>
                    <a:pt x="65951" y="129826"/>
                  </a:moveTo>
                  <a:cubicBezTo>
                    <a:pt x="65474" y="129159"/>
                    <a:pt x="64427" y="129254"/>
                    <a:pt x="64427" y="129254"/>
                  </a:cubicBezTo>
                  <a:cubicBezTo>
                    <a:pt x="58045" y="128206"/>
                    <a:pt x="49758" y="124587"/>
                    <a:pt x="49758" y="120967"/>
                  </a:cubicBezTo>
                  <a:lnTo>
                    <a:pt x="49758" y="88201"/>
                  </a:lnTo>
                  <a:lnTo>
                    <a:pt x="49758" y="64103"/>
                  </a:lnTo>
                  <a:lnTo>
                    <a:pt x="49758" y="30194"/>
                  </a:lnTo>
                  <a:cubicBezTo>
                    <a:pt x="49758" y="26575"/>
                    <a:pt x="58045" y="22955"/>
                    <a:pt x="64427" y="21907"/>
                  </a:cubicBezTo>
                  <a:cubicBezTo>
                    <a:pt x="64427" y="21907"/>
                    <a:pt x="65474" y="21907"/>
                    <a:pt x="65951" y="21336"/>
                  </a:cubicBezTo>
                  <a:cubicBezTo>
                    <a:pt x="66427" y="20669"/>
                    <a:pt x="66236" y="19907"/>
                    <a:pt x="66236" y="19907"/>
                  </a:cubicBezTo>
                  <a:lnTo>
                    <a:pt x="66046" y="1429"/>
                  </a:lnTo>
                  <a:cubicBezTo>
                    <a:pt x="66046" y="667"/>
                    <a:pt x="65379" y="0"/>
                    <a:pt x="64617" y="0"/>
                  </a:cubicBezTo>
                  <a:lnTo>
                    <a:pt x="1657" y="0"/>
                  </a:lnTo>
                  <a:cubicBezTo>
                    <a:pt x="895" y="0"/>
                    <a:pt x="228" y="667"/>
                    <a:pt x="228" y="1429"/>
                  </a:cubicBezTo>
                  <a:lnTo>
                    <a:pt x="38" y="19907"/>
                  </a:lnTo>
                  <a:cubicBezTo>
                    <a:pt x="133" y="19907"/>
                    <a:pt x="-153" y="20764"/>
                    <a:pt x="323" y="21336"/>
                  </a:cubicBezTo>
                  <a:cubicBezTo>
                    <a:pt x="800" y="22003"/>
                    <a:pt x="1752" y="21907"/>
                    <a:pt x="1752" y="21907"/>
                  </a:cubicBezTo>
                  <a:cubicBezTo>
                    <a:pt x="8134" y="22955"/>
                    <a:pt x="16421" y="26575"/>
                    <a:pt x="16421" y="30194"/>
                  </a:cubicBezTo>
                  <a:lnTo>
                    <a:pt x="16421" y="64103"/>
                  </a:lnTo>
                  <a:lnTo>
                    <a:pt x="16421" y="88201"/>
                  </a:lnTo>
                  <a:lnTo>
                    <a:pt x="16421" y="120967"/>
                  </a:lnTo>
                  <a:cubicBezTo>
                    <a:pt x="16421" y="124587"/>
                    <a:pt x="8134" y="128206"/>
                    <a:pt x="1752" y="129254"/>
                  </a:cubicBezTo>
                  <a:cubicBezTo>
                    <a:pt x="1752" y="129254"/>
                    <a:pt x="704" y="129254"/>
                    <a:pt x="323" y="129826"/>
                  </a:cubicBezTo>
                  <a:cubicBezTo>
                    <a:pt x="-153" y="130492"/>
                    <a:pt x="38" y="131254"/>
                    <a:pt x="38" y="131254"/>
                  </a:cubicBezTo>
                  <a:lnTo>
                    <a:pt x="228" y="149733"/>
                  </a:lnTo>
                  <a:cubicBezTo>
                    <a:pt x="228" y="150495"/>
                    <a:pt x="895" y="151162"/>
                    <a:pt x="1657" y="151162"/>
                  </a:cubicBezTo>
                  <a:lnTo>
                    <a:pt x="64617" y="151162"/>
                  </a:lnTo>
                  <a:cubicBezTo>
                    <a:pt x="65379" y="151162"/>
                    <a:pt x="66046" y="150495"/>
                    <a:pt x="66046" y="149733"/>
                  </a:cubicBezTo>
                  <a:lnTo>
                    <a:pt x="66236" y="131254"/>
                  </a:lnTo>
                  <a:cubicBezTo>
                    <a:pt x="66236" y="131350"/>
                    <a:pt x="66427" y="130492"/>
                    <a:pt x="65951" y="129826"/>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2" name="Freeform 61">
              <a:extLst>
                <a:ext uri="{FF2B5EF4-FFF2-40B4-BE49-F238E27FC236}">
                  <a16:creationId xmlns:a16="http://schemas.microsoft.com/office/drawing/2014/main" id="{C823B915-7267-274C-8017-792F7175EE1D}"/>
                </a:ext>
              </a:extLst>
            </p:cNvPr>
            <p:cNvSpPr/>
            <p:nvPr/>
          </p:nvSpPr>
          <p:spPr>
            <a:xfrm>
              <a:off x="5701858" y="9644019"/>
              <a:ext cx="214135" cy="196691"/>
            </a:xfrm>
            <a:custGeom>
              <a:avLst/>
              <a:gdLst>
                <a:gd name="connsiteX0" fmla="*/ 213741 w 214135"/>
                <a:gd name="connsiteY0" fmla="*/ 168878 h 196691"/>
                <a:gd name="connsiteX1" fmla="*/ 211836 w 214135"/>
                <a:gd name="connsiteY1" fmla="*/ 168116 h 196691"/>
                <a:gd name="connsiteX2" fmla="*/ 192786 w 214135"/>
                <a:gd name="connsiteY2" fmla="*/ 157353 h 196691"/>
                <a:gd name="connsiteX3" fmla="*/ 192691 w 214135"/>
                <a:gd name="connsiteY3" fmla="*/ 130492 h 196691"/>
                <a:gd name="connsiteX4" fmla="*/ 153352 w 214135"/>
                <a:gd name="connsiteY4" fmla="*/ 92678 h 196691"/>
                <a:gd name="connsiteX5" fmla="*/ 152209 w 214135"/>
                <a:gd name="connsiteY5" fmla="*/ 92678 h 196691"/>
                <a:gd name="connsiteX6" fmla="*/ 152209 w 214135"/>
                <a:gd name="connsiteY6" fmla="*/ 92392 h 196691"/>
                <a:gd name="connsiteX7" fmla="*/ 151924 w 214135"/>
                <a:gd name="connsiteY7" fmla="*/ 92392 h 196691"/>
                <a:gd name="connsiteX8" fmla="*/ 149638 w 214135"/>
                <a:gd name="connsiteY8" fmla="*/ 90106 h 196691"/>
                <a:gd name="connsiteX9" fmla="*/ 151924 w 214135"/>
                <a:gd name="connsiteY9" fmla="*/ 87821 h 196691"/>
                <a:gd name="connsiteX10" fmla="*/ 157543 w 214135"/>
                <a:gd name="connsiteY10" fmla="*/ 87821 h 196691"/>
                <a:gd name="connsiteX11" fmla="*/ 191071 w 214135"/>
                <a:gd name="connsiteY11" fmla="*/ 48768 h 196691"/>
                <a:gd name="connsiteX12" fmla="*/ 191071 w 214135"/>
                <a:gd name="connsiteY12" fmla="*/ 37719 h 196691"/>
                <a:gd name="connsiteX13" fmla="*/ 153257 w 214135"/>
                <a:gd name="connsiteY13" fmla="*/ 0 h 196691"/>
                <a:gd name="connsiteX14" fmla="*/ 71342 w 214135"/>
                <a:gd name="connsiteY14" fmla="*/ 95 h 196691"/>
                <a:gd name="connsiteX15" fmla="*/ 71342 w 214135"/>
                <a:gd name="connsiteY15" fmla="*/ 286 h 196691"/>
                <a:gd name="connsiteX16" fmla="*/ 2000 w 214135"/>
                <a:gd name="connsiteY16" fmla="*/ 286 h 196691"/>
                <a:gd name="connsiteX17" fmla="*/ 190 w 214135"/>
                <a:gd name="connsiteY17" fmla="*/ 2096 h 196691"/>
                <a:gd name="connsiteX18" fmla="*/ 0 w 214135"/>
                <a:gd name="connsiteY18" fmla="*/ 26098 h 196691"/>
                <a:gd name="connsiteX19" fmla="*/ 381 w 214135"/>
                <a:gd name="connsiteY19" fmla="*/ 28004 h 196691"/>
                <a:gd name="connsiteX20" fmla="*/ 2286 w 214135"/>
                <a:gd name="connsiteY20" fmla="*/ 28765 h 196691"/>
                <a:gd name="connsiteX21" fmla="*/ 21336 w 214135"/>
                <a:gd name="connsiteY21" fmla="*/ 39529 h 196691"/>
                <a:gd name="connsiteX22" fmla="*/ 21336 w 214135"/>
                <a:gd name="connsiteY22" fmla="*/ 83534 h 196691"/>
                <a:gd name="connsiteX23" fmla="*/ 21336 w 214135"/>
                <a:gd name="connsiteY23" fmla="*/ 114871 h 196691"/>
                <a:gd name="connsiteX24" fmla="*/ 21336 w 214135"/>
                <a:gd name="connsiteY24" fmla="*/ 157353 h 196691"/>
                <a:gd name="connsiteX25" fmla="*/ 2286 w 214135"/>
                <a:gd name="connsiteY25" fmla="*/ 168116 h 196691"/>
                <a:gd name="connsiteX26" fmla="*/ 381 w 214135"/>
                <a:gd name="connsiteY26" fmla="*/ 168878 h 196691"/>
                <a:gd name="connsiteX27" fmla="*/ 0 w 214135"/>
                <a:gd name="connsiteY27" fmla="*/ 170783 h 196691"/>
                <a:gd name="connsiteX28" fmla="*/ 190 w 214135"/>
                <a:gd name="connsiteY28" fmla="*/ 194786 h 196691"/>
                <a:gd name="connsiteX29" fmla="*/ 2000 w 214135"/>
                <a:gd name="connsiteY29" fmla="*/ 196596 h 196691"/>
                <a:gd name="connsiteX30" fmla="*/ 83820 w 214135"/>
                <a:gd name="connsiteY30" fmla="*/ 196596 h 196691"/>
                <a:gd name="connsiteX31" fmla="*/ 85630 w 214135"/>
                <a:gd name="connsiteY31" fmla="*/ 194786 h 196691"/>
                <a:gd name="connsiteX32" fmla="*/ 85820 w 214135"/>
                <a:gd name="connsiteY32" fmla="*/ 170783 h 196691"/>
                <a:gd name="connsiteX33" fmla="*/ 85439 w 214135"/>
                <a:gd name="connsiteY33" fmla="*/ 168878 h 196691"/>
                <a:gd name="connsiteX34" fmla="*/ 83534 w 214135"/>
                <a:gd name="connsiteY34" fmla="*/ 168116 h 196691"/>
                <a:gd name="connsiteX35" fmla="*/ 64484 w 214135"/>
                <a:gd name="connsiteY35" fmla="*/ 157353 h 196691"/>
                <a:gd name="connsiteX36" fmla="*/ 64484 w 214135"/>
                <a:gd name="connsiteY36" fmla="*/ 114871 h 196691"/>
                <a:gd name="connsiteX37" fmla="*/ 64484 w 214135"/>
                <a:gd name="connsiteY37" fmla="*/ 83534 h 196691"/>
                <a:gd name="connsiteX38" fmla="*/ 64484 w 214135"/>
                <a:gd name="connsiteY38" fmla="*/ 39529 h 196691"/>
                <a:gd name="connsiteX39" fmla="*/ 71818 w 214135"/>
                <a:gd name="connsiteY39" fmla="*/ 32480 h 196691"/>
                <a:gd name="connsiteX40" fmla="*/ 118967 w 214135"/>
                <a:gd name="connsiteY40" fmla="*/ 32480 h 196691"/>
                <a:gd name="connsiteX41" fmla="*/ 137826 w 214135"/>
                <a:gd name="connsiteY41" fmla="*/ 49435 h 196691"/>
                <a:gd name="connsiteX42" fmla="*/ 137826 w 214135"/>
                <a:gd name="connsiteY42" fmla="*/ 58007 h 196691"/>
                <a:gd name="connsiteX43" fmla="*/ 118586 w 214135"/>
                <a:gd name="connsiteY43" fmla="*/ 78296 h 196691"/>
                <a:gd name="connsiteX44" fmla="*/ 117824 w 214135"/>
                <a:gd name="connsiteY44" fmla="*/ 78486 h 196691"/>
                <a:gd name="connsiteX45" fmla="*/ 89535 w 214135"/>
                <a:gd name="connsiteY45" fmla="*/ 78486 h 196691"/>
                <a:gd name="connsiteX46" fmla="*/ 83439 w 214135"/>
                <a:gd name="connsiteY46" fmla="*/ 84582 h 196691"/>
                <a:gd name="connsiteX47" fmla="*/ 83439 w 214135"/>
                <a:gd name="connsiteY47" fmla="*/ 106013 h 196691"/>
                <a:gd name="connsiteX48" fmla="*/ 89535 w 214135"/>
                <a:gd name="connsiteY48" fmla="*/ 112109 h 196691"/>
                <a:gd name="connsiteX49" fmla="*/ 120872 w 214135"/>
                <a:gd name="connsiteY49" fmla="*/ 112109 h 196691"/>
                <a:gd name="connsiteX50" fmla="*/ 140970 w 214135"/>
                <a:gd name="connsiteY50" fmla="*/ 130397 h 196691"/>
                <a:gd name="connsiteX51" fmla="*/ 140494 w 214135"/>
                <a:gd name="connsiteY51" fmla="*/ 185738 h 196691"/>
                <a:gd name="connsiteX52" fmla="*/ 141256 w 214135"/>
                <a:gd name="connsiteY52" fmla="*/ 192119 h 196691"/>
                <a:gd name="connsiteX53" fmla="*/ 149923 w 214135"/>
                <a:gd name="connsiteY53" fmla="*/ 196691 h 196691"/>
                <a:gd name="connsiteX54" fmla="*/ 212026 w 214135"/>
                <a:gd name="connsiteY54" fmla="*/ 196691 h 196691"/>
                <a:gd name="connsiteX55" fmla="*/ 213836 w 214135"/>
                <a:gd name="connsiteY55" fmla="*/ 194881 h 196691"/>
                <a:gd name="connsiteX56" fmla="*/ 214026 w 214135"/>
                <a:gd name="connsiteY56" fmla="*/ 170879 h 196691"/>
                <a:gd name="connsiteX57" fmla="*/ 213741 w 214135"/>
                <a:gd name="connsiteY57" fmla="*/ 168878 h 19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4135" h="196691">
                  <a:moveTo>
                    <a:pt x="213741" y="168878"/>
                  </a:moveTo>
                  <a:cubicBezTo>
                    <a:pt x="213169" y="168021"/>
                    <a:pt x="211836" y="168116"/>
                    <a:pt x="211836" y="168116"/>
                  </a:cubicBezTo>
                  <a:cubicBezTo>
                    <a:pt x="203549" y="166783"/>
                    <a:pt x="192786" y="162020"/>
                    <a:pt x="192786" y="157353"/>
                  </a:cubicBezTo>
                  <a:lnTo>
                    <a:pt x="192691" y="130492"/>
                  </a:lnTo>
                  <a:cubicBezTo>
                    <a:pt x="192691" y="109633"/>
                    <a:pt x="186976" y="92678"/>
                    <a:pt x="153352" y="92678"/>
                  </a:cubicBezTo>
                  <a:lnTo>
                    <a:pt x="152209" y="92678"/>
                  </a:lnTo>
                  <a:lnTo>
                    <a:pt x="152209" y="92392"/>
                  </a:lnTo>
                  <a:lnTo>
                    <a:pt x="151924" y="92392"/>
                  </a:lnTo>
                  <a:cubicBezTo>
                    <a:pt x="150685" y="92392"/>
                    <a:pt x="149638" y="91345"/>
                    <a:pt x="149638" y="90106"/>
                  </a:cubicBezTo>
                  <a:cubicBezTo>
                    <a:pt x="149638" y="88868"/>
                    <a:pt x="150685" y="87821"/>
                    <a:pt x="151924" y="87821"/>
                  </a:cubicBezTo>
                  <a:lnTo>
                    <a:pt x="157543" y="87821"/>
                  </a:lnTo>
                  <a:cubicBezTo>
                    <a:pt x="176403" y="85725"/>
                    <a:pt x="191071" y="68199"/>
                    <a:pt x="191071" y="48768"/>
                  </a:cubicBezTo>
                  <a:lnTo>
                    <a:pt x="191071" y="37719"/>
                  </a:lnTo>
                  <a:cubicBezTo>
                    <a:pt x="191071" y="16859"/>
                    <a:pt x="174117" y="0"/>
                    <a:pt x="153257" y="0"/>
                  </a:cubicBezTo>
                  <a:lnTo>
                    <a:pt x="71342" y="95"/>
                  </a:lnTo>
                  <a:lnTo>
                    <a:pt x="71342" y="286"/>
                  </a:lnTo>
                  <a:lnTo>
                    <a:pt x="2000" y="286"/>
                  </a:lnTo>
                  <a:cubicBezTo>
                    <a:pt x="952" y="286"/>
                    <a:pt x="190" y="1143"/>
                    <a:pt x="190" y="2096"/>
                  </a:cubicBezTo>
                  <a:lnTo>
                    <a:pt x="0" y="26098"/>
                  </a:lnTo>
                  <a:cubicBezTo>
                    <a:pt x="95" y="26098"/>
                    <a:pt x="-191" y="27146"/>
                    <a:pt x="381" y="28004"/>
                  </a:cubicBezTo>
                  <a:cubicBezTo>
                    <a:pt x="952" y="28861"/>
                    <a:pt x="2286" y="28765"/>
                    <a:pt x="2286" y="28765"/>
                  </a:cubicBezTo>
                  <a:cubicBezTo>
                    <a:pt x="10573" y="30099"/>
                    <a:pt x="21336" y="34861"/>
                    <a:pt x="21336" y="39529"/>
                  </a:cubicBezTo>
                  <a:lnTo>
                    <a:pt x="21336" y="83534"/>
                  </a:lnTo>
                  <a:lnTo>
                    <a:pt x="21336" y="114871"/>
                  </a:lnTo>
                  <a:lnTo>
                    <a:pt x="21336" y="157353"/>
                  </a:lnTo>
                  <a:cubicBezTo>
                    <a:pt x="21336" y="162020"/>
                    <a:pt x="10573" y="166783"/>
                    <a:pt x="2286" y="168116"/>
                  </a:cubicBezTo>
                  <a:cubicBezTo>
                    <a:pt x="2286" y="168116"/>
                    <a:pt x="952" y="168021"/>
                    <a:pt x="381" y="168878"/>
                  </a:cubicBezTo>
                  <a:cubicBezTo>
                    <a:pt x="-191" y="169735"/>
                    <a:pt x="95" y="170783"/>
                    <a:pt x="0" y="170783"/>
                  </a:cubicBezTo>
                  <a:lnTo>
                    <a:pt x="190" y="194786"/>
                  </a:lnTo>
                  <a:cubicBezTo>
                    <a:pt x="190" y="195834"/>
                    <a:pt x="1048" y="196596"/>
                    <a:pt x="2000" y="196596"/>
                  </a:cubicBezTo>
                  <a:lnTo>
                    <a:pt x="83820" y="196596"/>
                  </a:lnTo>
                  <a:cubicBezTo>
                    <a:pt x="84867" y="196596"/>
                    <a:pt x="85630" y="195739"/>
                    <a:pt x="85630" y="194786"/>
                  </a:cubicBezTo>
                  <a:lnTo>
                    <a:pt x="85820" y="170783"/>
                  </a:lnTo>
                  <a:cubicBezTo>
                    <a:pt x="85725" y="170783"/>
                    <a:pt x="86011" y="169735"/>
                    <a:pt x="85439" y="168878"/>
                  </a:cubicBezTo>
                  <a:cubicBezTo>
                    <a:pt x="84867" y="168021"/>
                    <a:pt x="83534" y="168116"/>
                    <a:pt x="83534" y="168116"/>
                  </a:cubicBezTo>
                  <a:cubicBezTo>
                    <a:pt x="75247" y="166783"/>
                    <a:pt x="64484" y="162020"/>
                    <a:pt x="64484" y="157353"/>
                  </a:cubicBezTo>
                  <a:lnTo>
                    <a:pt x="64484" y="114871"/>
                  </a:lnTo>
                  <a:lnTo>
                    <a:pt x="64484" y="83534"/>
                  </a:lnTo>
                  <a:lnTo>
                    <a:pt x="64484" y="39529"/>
                  </a:lnTo>
                  <a:cubicBezTo>
                    <a:pt x="64484" y="37052"/>
                    <a:pt x="67627" y="34480"/>
                    <a:pt x="71818" y="32480"/>
                  </a:cubicBezTo>
                  <a:lnTo>
                    <a:pt x="118967" y="32480"/>
                  </a:lnTo>
                  <a:cubicBezTo>
                    <a:pt x="128301" y="32480"/>
                    <a:pt x="137826" y="40100"/>
                    <a:pt x="137826" y="49435"/>
                  </a:cubicBezTo>
                  <a:lnTo>
                    <a:pt x="137826" y="58007"/>
                  </a:lnTo>
                  <a:cubicBezTo>
                    <a:pt x="138017" y="63341"/>
                    <a:pt x="129635" y="78962"/>
                    <a:pt x="118586" y="78296"/>
                  </a:cubicBezTo>
                  <a:lnTo>
                    <a:pt x="117824" y="78486"/>
                  </a:lnTo>
                  <a:lnTo>
                    <a:pt x="89535" y="78486"/>
                  </a:lnTo>
                  <a:cubicBezTo>
                    <a:pt x="86201" y="78486"/>
                    <a:pt x="83439" y="81248"/>
                    <a:pt x="83439" y="84582"/>
                  </a:cubicBezTo>
                  <a:lnTo>
                    <a:pt x="83439" y="106013"/>
                  </a:lnTo>
                  <a:cubicBezTo>
                    <a:pt x="83439" y="109347"/>
                    <a:pt x="86201" y="112109"/>
                    <a:pt x="89535" y="112109"/>
                  </a:cubicBezTo>
                  <a:lnTo>
                    <a:pt x="120872" y="112109"/>
                  </a:lnTo>
                  <a:cubicBezTo>
                    <a:pt x="141732" y="113347"/>
                    <a:pt x="140779" y="125254"/>
                    <a:pt x="140970" y="130397"/>
                  </a:cubicBezTo>
                  <a:lnTo>
                    <a:pt x="140494" y="185738"/>
                  </a:lnTo>
                  <a:cubicBezTo>
                    <a:pt x="140494" y="185738"/>
                    <a:pt x="140589" y="189833"/>
                    <a:pt x="141256" y="192119"/>
                  </a:cubicBezTo>
                  <a:cubicBezTo>
                    <a:pt x="142494" y="196215"/>
                    <a:pt x="149923" y="196691"/>
                    <a:pt x="149923" y="196691"/>
                  </a:cubicBezTo>
                  <a:lnTo>
                    <a:pt x="212026" y="196691"/>
                  </a:lnTo>
                  <a:cubicBezTo>
                    <a:pt x="213074" y="196691"/>
                    <a:pt x="213836" y="195834"/>
                    <a:pt x="213836" y="194881"/>
                  </a:cubicBezTo>
                  <a:lnTo>
                    <a:pt x="214026" y="170879"/>
                  </a:lnTo>
                  <a:cubicBezTo>
                    <a:pt x="214122" y="170783"/>
                    <a:pt x="214313" y="169735"/>
                    <a:pt x="213741" y="168878"/>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3" name="Freeform 62">
              <a:extLst>
                <a:ext uri="{FF2B5EF4-FFF2-40B4-BE49-F238E27FC236}">
                  <a16:creationId xmlns:a16="http://schemas.microsoft.com/office/drawing/2014/main" id="{0B4E030B-CE1F-D849-B076-C71AE83AD5DB}"/>
                </a:ext>
              </a:extLst>
            </p:cNvPr>
            <p:cNvSpPr/>
            <p:nvPr/>
          </p:nvSpPr>
          <p:spPr>
            <a:xfrm>
              <a:off x="5073551" y="9956629"/>
              <a:ext cx="165106" cy="151352"/>
            </a:xfrm>
            <a:custGeom>
              <a:avLst/>
              <a:gdLst>
                <a:gd name="connsiteX0" fmla="*/ 164535 w 165106"/>
                <a:gd name="connsiteY0" fmla="*/ 130016 h 151352"/>
                <a:gd name="connsiteX1" fmla="*/ 163106 w 165106"/>
                <a:gd name="connsiteY1" fmla="*/ 129445 h 151352"/>
                <a:gd name="connsiteX2" fmla="*/ 148437 w 165106"/>
                <a:gd name="connsiteY2" fmla="*/ 121158 h 151352"/>
                <a:gd name="connsiteX3" fmla="*/ 148342 w 165106"/>
                <a:gd name="connsiteY3" fmla="*/ 100489 h 151352"/>
                <a:gd name="connsiteX4" fmla="*/ 118052 w 165106"/>
                <a:gd name="connsiteY4" fmla="*/ 71438 h 151352"/>
                <a:gd name="connsiteX5" fmla="*/ 117195 w 165106"/>
                <a:gd name="connsiteY5" fmla="*/ 71438 h 151352"/>
                <a:gd name="connsiteX6" fmla="*/ 117195 w 165106"/>
                <a:gd name="connsiteY6" fmla="*/ 71152 h 151352"/>
                <a:gd name="connsiteX7" fmla="*/ 117005 w 165106"/>
                <a:gd name="connsiteY7" fmla="*/ 71152 h 151352"/>
                <a:gd name="connsiteX8" fmla="*/ 115195 w 165106"/>
                <a:gd name="connsiteY8" fmla="*/ 69342 h 151352"/>
                <a:gd name="connsiteX9" fmla="*/ 117005 w 165106"/>
                <a:gd name="connsiteY9" fmla="*/ 67628 h 151352"/>
                <a:gd name="connsiteX10" fmla="*/ 121291 w 165106"/>
                <a:gd name="connsiteY10" fmla="*/ 67628 h 151352"/>
                <a:gd name="connsiteX11" fmla="*/ 147104 w 165106"/>
                <a:gd name="connsiteY11" fmla="*/ 37529 h 151352"/>
                <a:gd name="connsiteX12" fmla="*/ 147104 w 165106"/>
                <a:gd name="connsiteY12" fmla="*/ 29051 h 151352"/>
                <a:gd name="connsiteX13" fmla="*/ 118052 w 165106"/>
                <a:gd name="connsiteY13" fmla="*/ 0 h 151352"/>
                <a:gd name="connsiteX14" fmla="*/ 54997 w 165106"/>
                <a:gd name="connsiteY14" fmla="*/ 0 h 151352"/>
                <a:gd name="connsiteX15" fmla="*/ 54997 w 165106"/>
                <a:gd name="connsiteY15" fmla="*/ 191 h 151352"/>
                <a:gd name="connsiteX16" fmla="*/ 1657 w 165106"/>
                <a:gd name="connsiteY16" fmla="*/ 191 h 151352"/>
                <a:gd name="connsiteX17" fmla="*/ 228 w 165106"/>
                <a:gd name="connsiteY17" fmla="*/ 1619 h 151352"/>
                <a:gd name="connsiteX18" fmla="*/ 38 w 165106"/>
                <a:gd name="connsiteY18" fmla="*/ 20098 h 151352"/>
                <a:gd name="connsiteX19" fmla="*/ 323 w 165106"/>
                <a:gd name="connsiteY19" fmla="*/ 21527 h 151352"/>
                <a:gd name="connsiteX20" fmla="*/ 1752 w 165106"/>
                <a:gd name="connsiteY20" fmla="*/ 22098 h 151352"/>
                <a:gd name="connsiteX21" fmla="*/ 16421 w 165106"/>
                <a:gd name="connsiteY21" fmla="*/ 30385 h 151352"/>
                <a:gd name="connsiteX22" fmla="*/ 16421 w 165106"/>
                <a:gd name="connsiteY22" fmla="*/ 64294 h 151352"/>
                <a:gd name="connsiteX23" fmla="*/ 16421 w 165106"/>
                <a:gd name="connsiteY23" fmla="*/ 88392 h 151352"/>
                <a:gd name="connsiteX24" fmla="*/ 16421 w 165106"/>
                <a:gd name="connsiteY24" fmla="*/ 121158 h 151352"/>
                <a:gd name="connsiteX25" fmla="*/ 1752 w 165106"/>
                <a:gd name="connsiteY25" fmla="*/ 129445 h 151352"/>
                <a:gd name="connsiteX26" fmla="*/ 323 w 165106"/>
                <a:gd name="connsiteY26" fmla="*/ 130016 h 151352"/>
                <a:gd name="connsiteX27" fmla="*/ 38 w 165106"/>
                <a:gd name="connsiteY27" fmla="*/ 131445 h 151352"/>
                <a:gd name="connsiteX28" fmla="*/ 228 w 165106"/>
                <a:gd name="connsiteY28" fmla="*/ 149924 h 151352"/>
                <a:gd name="connsiteX29" fmla="*/ 1657 w 165106"/>
                <a:gd name="connsiteY29" fmla="*/ 151352 h 151352"/>
                <a:gd name="connsiteX30" fmla="*/ 64617 w 165106"/>
                <a:gd name="connsiteY30" fmla="*/ 151352 h 151352"/>
                <a:gd name="connsiteX31" fmla="*/ 66046 w 165106"/>
                <a:gd name="connsiteY31" fmla="*/ 149924 h 151352"/>
                <a:gd name="connsiteX32" fmla="*/ 66236 w 165106"/>
                <a:gd name="connsiteY32" fmla="*/ 131445 h 151352"/>
                <a:gd name="connsiteX33" fmla="*/ 65951 w 165106"/>
                <a:gd name="connsiteY33" fmla="*/ 130016 h 151352"/>
                <a:gd name="connsiteX34" fmla="*/ 64522 w 165106"/>
                <a:gd name="connsiteY34" fmla="*/ 129445 h 151352"/>
                <a:gd name="connsiteX35" fmla="*/ 49853 w 165106"/>
                <a:gd name="connsiteY35" fmla="*/ 121158 h 151352"/>
                <a:gd name="connsiteX36" fmla="*/ 49853 w 165106"/>
                <a:gd name="connsiteY36" fmla="*/ 88392 h 151352"/>
                <a:gd name="connsiteX37" fmla="*/ 49853 w 165106"/>
                <a:gd name="connsiteY37" fmla="*/ 64294 h 151352"/>
                <a:gd name="connsiteX38" fmla="*/ 49853 w 165106"/>
                <a:gd name="connsiteY38" fmla="*/ 30385 h 151352"/>
                <a:gd name="connsiteX39" fmla="*/ 55473 w 165106"/>
                <a:gd name="connsiteY39" fmla="*/ 24956 h 151352"/>
                <a:gd name="connsiteX40" fmla="*/ 91763 w 165106"/>
                <a:gd name="connsiteY40" fmla="*/ 24956 h 151352"/>
                <a:gd name="connsiteX41" fmla="*/ 106241 w 165106"/>
                <a:gd name="connsiteY41" fmla="*/ 38005 h 151352"/>
                <a:gd name="connsiteX42" fmla="*/ 106241 w 165106"/>
                <a:gd name="connsiteY42" fmla="*/ 44577 h 151352"/>
                <a:gd name="connsiteX43" fmla="*/ 91478 w 165106"/>
                <a:gd name="connsiteY43" fmla="*/ 60198 h 151352"/>
                <a:gd name="connsiteX44" fmla="*/ 90906 w 165106"/>
                <a:gd name="connsiteY44" fmla="*/ 60388 h 151352"/>
                <a:gd name="connsiteX45" fmla="*/ 69094 w 165106"/>
                <a:gd name="connsiteY45" fmla="*/ 60388 h 151352"/>
                <a:gd name="connsiteX46" fmla="*/ 64427 w 165106"/>
                <a:gd name="connsiteY46" fmla="*/ 65056 h 151352"/>
                <a:gd name="connsiteX47" fmla="*/ 64427 w 165106"/>
                <a:gd name="connsiteY47" fmla="*/ 81534 h 151352"/>
                <a:gd name="connsiteX48" fmla="*/ 69094 w 165106"/>
                <a:gd name="connsiteY48" fmla="*/ 86201 h 151352"/>
                <a:gd name="connsiteX49" fmla="*/ 93287 w 165106"/>
                <a:gd name="connsiteY49" fmla="*/ 86201 h 151352"/>
                <a:gd name="connsiteX50" fmla="*/ 108813 w 165106"/>
                <a:gd name="connsiteY50" fmla="*/ 100298 h 151352"/>
                <a:gd name="connsiteX51" fmla="*/ 108432 w 165106"/>
                <a:gd name="connsiteY51" fmla="*/ 142875 h 151352"/>
                <a:gd name="connsiteX52" fmla="*/ 109004 w 165106"/>
                <a:gd name="connsiteY52" fmla="*/ 147828 h 151352"/>
                <a:gd name="connsiteX53" fmla="*/ 115671 w 165106"/>
                <a:gd name="connsiteY53" fmla="*/ 151352 h 151352"/>
                <a:gd name="connsiteX54" fmla="*/ 163487 w 165106"/>
                <a:gd name="connsiteY54" fmla="*/ 151352 h 151352"/>
                <a:gd name="connsiteX55" fmla="*/ 164915 w 165106"/>
                <a:gd name="connsiteY55" fmla="*/ 149924 h 151352"/>
                <a:gd name="connsiteX56" fmla="*/ 165106 w 165106"/>
                <a:gd name="connsiteY56" fmla="*/ 131445 h 151352"/>
                <a:gd name="connsiteX57" fmla="*/ 164535 w 165106"/>
                <a:gd name="connsiteY57" fmla="*/ 130016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65106" h="151352">
                  <a:moveTo>
                    <a:pt x="164535" y="130016"/>
                  </a:moveTo>
                  <a:cubicBezTo>
                    <a:pt x="164058" y="129350"/>
                    <a:pt x="163106" y="129445"/>
                    <a:pt x="163106" y="129445"/>
                  </a:cubicBezTo>
                  <a:cubicBezTo>
                    <a:pt x="156724" y="128397"/>
                    <a:pt x="148437" y="124778"/>
                    <a:pt x="148437" y="121158"/>
                  </a:cubicBezTo>
                  <a:lnTo>
                    <a:pt x="148342" y="100489"/>
                  </a:lnTo>
                  <a:cubicBezTo>
                    <a:pt x="148342" y="84392"/>
                    <a:pt x="143961" y="71438"/>
                    <a:pt x="118052" y="71438"/>
                  </a:cubicBezTo>
                  <a:lnTo>
                    <a:pt x="117195" y="71438"/>
                  </a:lnTo>
                  <a:lnTo>
                    <a:pt x="117195" y="71152"/>
                  </a:lnTo>
                  <a:lnTo>
                    <a:pt x="117005" y="71152"/>
                  </a:lnTo>
                  <a:cubicBezTo>
                    <a:pt x="116052" y="71152"/>
                    <a:pt x="115195" y="70390"/>
                    <a:pt x="115195" y="69342"/>
                  </a:cubicBezTo>
                  <a:cubicBezTo>
                    <a:pt x="115195" y="68390"/>
                    <a:pt x="115957" y="67628"/>
                    <a:pt x="117005" y="67628"/>
                  </a:cubicBezTo>
                  <a:lnTo>
                    <a:pt x="121291" y="67628"/>
                  </a:lnTo>
                  <a:cubicBezTo>
                    <a:pt x="135769" y="66008"/>
                    <a:pt x="147104" y="52483"/>
                    <a:pt x="147104" y="37529"/>
                  </a:cubicBezTo>
                  <a:lnTo>
                    <a:pt x="147104" y="29051"/>
                  </a:lnTo>
                  <a:cubicBezTo>
                    <a:pt x="147104" y="12954"/>
                    <a:pt x="134054" y="0"/>
                    <a:pt x="118052" y="0"/>
                  </a:cubicBezTo>
                  <a:lnTo>
                    <a:pt x="54997" y="0"/>
                  </a:lnTo>
                  <a:lnTo>
                    <a:pt x="54997" y="191"/>
                  </a:lnTo>
                  <a:lnTo>
                    <a:pt x="1657" y="191"/>
                  </a:lnTo>
                  <a:cubicBezTo>
                    <a:pt x="895" y="191"/>
                    <a:pt x="228" y="857"/>
                    <a:pt x="228" y="1619"/>
                  </a:cubicBezTo>
                  <a:lnTo>
                    <a:pt x="38" y="20098"/>
                  </a:lnTo>
                  <a:cubicBezTo>
                    <a:pt x="38" y="20098"/>
                    <a:pt x="-153" y="20955"/>
                    <a:pt x="323" y="21527"/>
                  </a:cubicBezTo>
                  <a:cubicBezTo>
                    <a:pt x="800" y="22193"/>
                    <a:pt x="1752" y="22098"/>
                    <a:pt x="1752" y="22098"/>
                  </a:cubicBezTo>
                  <a:cubicBezTo>
                    <a:pt x="8134" y="23146"/>
                    <a:pt x="16421" y="26765"/>
                    <a:pt x="16421" y="30385"/>
                  </a:cubicBezTo>
                  <a:lnTo>
                    <a:pt x="16421" y="64294"/>
                  </a:lnTo>
                  <a:lnTo>
                    <a:pt x="16421" y="88392"/>
                  </a:lnTo>
                  <a:lnTo>
                    <a:pt x="16421" y="121158"/>
                  </a:lnTo>
                  <a:cubicBezTo>
                    <a:pt x="16421" y="124778"/>
                    <a:pt x="8134" y="128397"/>
                    <a:pt x="1752" y="129445"/>
                  </a:cubicBezTo>
                  <a:cubicBezTo>
                    <a:pt x="1752" y="129445"/>
                    <a:pt x="704" y="129445"/>
                    <a:pt x="323" y="130016"/>
                  </a:cubicBezTo>
                  <a:cubicBezTo>
                    <a:pt x="-153" y="130683"/>
                    <a:pt x="38" y="131445"/>
                    <a:pt x="38" y="131445"/>
                  </a:cubicBezTo>
                  <a:lnTo>
                    <a:pt x="228" y="149924"/>
                  </a:lnTo>
                  <a:cubicBezTo>
                    <a:pt x="228" y="150686"/>
                    <a:pt x="895" y="151352"/>
                    <a:pt x="1657" y="151352"/>
                  </a:cubicBezTo>
                  <a:lnTo>
                    <a:pt x="64617" y="151352"/>
                  </a:lnTo>
                  <a:cubicBezTo>
                    <a:pt x="65379" y="151352"/>
                    <a:pt x="66046" y="150686"/>
                    <a:pt x="66046" y="149924"/>
                  </a:cubicBezTo>
                  <a:lnTo>
                    <a:pt x="66236" y="131445"/>
                  </a:lnTo>
                  <a:cubicBezTo>
                    <a:pt x="66236" y="131445"/>
                    <a:pt x="66427" y="130588"/>
                    <a:pt x="65951" y="130016"/>
                  </a:cubicBezTo>
                  <a:cubicBezTo>
                    <a:pt x="65474" y="129350"/>
                    <a:pt x="64522" y="129445"/>
                    <a:pt x="64522" y="129445"/>
                  </a:cubicBezTo>
                  <a:cubicBezTo>
                    <a:pt x="58140" y="128397"/>
                    <a:pt x="49853" y="124778"/>
                    <a:pt x="49853" y="121158"/>
                  </a:cubicBezTo>
                  <a:lnTo>
                    <a:pt x="49853" y="88392"/>
                  </a:lnTo>
                  <a:lnTo>
                    <a:pt x="49853" y="64294"/>
                  </a:lnTo>
                  <a:lnTo>
                    <a:pt x="49853" y="30385"/>
                  </a:lnTo>
                  <a:cubicBezTo>
                    <a:pt x="49853" y="28480"/>
                    <a:pt x="52235" y="26479"/>
                    <a:pt x="55473" y="24956"/>
                  </a:cubicBezTo>
                  <a:lnTo>
                    <a:pt x="91763" y="24956"/>
                  </a:lnTo>
                  <a:cubicBezTo>
                    <a:pt x="99002" y="24956"/>
                    <a:pt x="106241" y="30766"/>
                    <a:pt x="106241" y="38005"/>
                  </a:cubicBezTo>
                  <a:lnTo>
                    <a:pt x="106241" y="44577"/>
                  </a:lnTo>
                  <a:cubicBezTo>
                    <a:pt x="106432" y="48673"/>
                    <a:pt x="99955" y="60770"/>
                    <a:pt x="91478" y="60198"/>
                  </a:cubicBezTo>
                  <a:lnTo>
                    <a:pt x="90906" y="60388"/>
                  </a:lnTo>
                  <a:lnTo>
                    <a:pt x="69094" y="60388"/>
                  </a:lnTo>
                  <a:cubicBezTo>
                    <a:pt x="66522" y="60388"/>
                    <a:pt x="64427" y="62484"/>
                    <a:pt x="64427" y="65056"/>
                  </a:cubicBezTo>
                  <a:lnTo>
                    <a:pt x="64427" y="81534"/>
                  </a:lnTo>
                  <a:cubicBezTo>
                    <a:pt x="64427" y="84106"/>
                    <a:pt x="66522" y="86201"/>
                    <a:pt x="69094" y="86201"/>
                  </a:cubicBezTo>
                  <a:lnTo>
                    <a:pt x="93287" y="86201"/>
                  </a:lnTo>
                  <a:cubicBezTo>
                    <a:pt x="109385" y="87154"/>
                    <a:pt x="108623" y="96298"/>
                    <a:pt x="108813" y="100298"/>
                  </a:cubicBezTo>
                  <a:lnTo>
                    <a:pt x="108432" y="142875"/>
                  </a:lnTo>
                  <a:cubicBezTo>
                    <a:pt x="108432" y="142875"/>
                    <a:pt x="108432" y="146018"/>
                    <a:pt x="109004" y="147828"/>
                  </a:cubicBezTo>
                  <a:cubicBezTo>
                    <a:pt x="109956" y="150971"/>
                    <a:pt x="115671" y="151352"/>
                    <a:pt x="115671" y="151352"/>
                  </a:cubicBezTo>
                  <a:lnTo>
                    <a:pt x="163487" y="151352"/>
                  </a:lnTo>
                  <a:cubicBezTo>
                    <a:pt x="164249" y="151352"/>
                    <a:pt x="164915" y="150686"/>
                    <a:pt x="164915" y="149924"/>
                  </a:cubicBezTo>
                  <a:lnTo>
                    <a:pt x="165106" y="131445"/>
                  </a:lnTo>
                  <a:cubicBezTo>
                    <a:pt x="164820" y="131445"/>
                    <a:pt x="165011" y="130588"/>
                    <a:pt x="164535" y="130016"/>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4" name="Freeform 63">
              <a:extLst>
                <a:ext uri="{FF2B5EF4-FFF2-40B4-BE49-F238E27FC236}">
                  <a16:creationId xmlns:a16="http://schemas.microsoft.com/office/drawing/2014/main" id="{0133E350-6C79-CD44-801B-38FF63FB2845}"/>
                </a:ext>
              </a:extLst>
            </p:cNvPr>
            <p:cNvSpPr/>
            <p:nvPr/>
          </p:nvSpPr>
          <p:spPr>
            <a:xfrm>
              <a:off x="4831707" y="9642397"/>
              <a:ext cx="161807" cy="19985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3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054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3" y="134971"/>
                    <a:pt x="2803"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438" y="77250"/>
                    <a:pt x="99197" y="73154"/>
                    <a:pt x="80147" y="70106"/>
                  </a:cubicBezTo>
                  <a:cubicBezTo>
                    <a:pt x="61097" y="67058"/>
                    <a:pt x="44999" y="64010"/>
                    <a:pt x="44999" y="47246"/>
                  </a:cubicBezTo>
                  <a:cubicBezTo>
                    <a:pt x="44999" y="30482"/>
                    <a:pt x="67097" y="27434"/>
                    <a:pt x="77194" y="27148"/>
                  </a:cubicBezTo>
                  <a:cubicBezTo>
                    <a:pt x="77194" y="27148"/>
                    <a:pt x="90148" y="26005"/>
                    <a:pt x="100054" y="29720"/>
                  </a:cubicBezTo>
                  <a:cubicBezTo>
                    <a:pt x="104150" y="31244"/>
                    <a:pt x="107959"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5" name="Freeform 64">
              <a:extLst>
                <a:ext uri="{FF2B5EF4-FFF2-40B4-BE49-F238E27FC236}">
                  <a16:creationId xmlns:a16="http://schemas.microsoft.com/office/drawing/2014/main" id="{F7E19A56-6054-BE49-9764-B291C7C43032}"/>
                </a:ext>
              </a:extLst>
            </p:cNvPr>
            <p:cNvSpPr/>
            <p:nvPr/>
          </p:nvSpPr>
          <p:spPr>
            <a:xfrm>
              <a:off x="6094913" y="9642397"/>
              <a:ext cx="161807" cy="199852"/>
            </a:xfrm>
            <a:custGeom>
              <a:avLst/>
              <a:gdLst>
                <a:gd name="connsiteX0" fmla="*/ 31283 w 161807"/>
                <a:gd name="connsiteY0" fmla="*/ 103539 h 199852"/>
                <a:gd name="connsiteX1" fmla="*/ 93863 w 161807"/>
                <a:gd name="connsiteY1" fmla="*/ 119540 h 199852"/>
                <a:gd name="connsiteX2" fmla="*/ 118342 w 161807"/>
                <a:gd name="connsiteY2" fmla="*/ 148592 h 199852"/>
                <a:gd name="connsiteX3" fmla="*/ 86147 w 161807"/>
                <a:gd name="connsiteY3" fmla="*/ 168689 h 199852"/>
                <a:gd name="connsiteX4" fmla="*/ 51762 w 161807"/>
                <a:gd name="connsiteY4" fmla="*/ 166118 h 199852"/>
                <a:gd name="connsiteX5" fmla="*/ 34236 w 161807"/>
                <a:gd name="connsiteY5" fmla="*/ 148020 h 199852"/>
                <a:gd name="connsiteX6" fmla="*/ 30235 w 161807"/>
                <a:gd name="connsiteY6" fmla="*/ 138305 h 199852"/>
                <a:gd name="connsiteX7" fmla="*/ 24711 w 161807"/>
                <a:gd name="connsiteY7" fmla="*/ 135066 h 199852"/>
                <a:gd name="connsiteX8" fmla="*/ 7280 w 161807"/>
                <a:gd name="connsiteY8" fmla="*/ 135066 h 199852"/>
                <a:gd name="connsiteX9" fmla="*/ 2804 w 161807"/>
                <a:gd name="connsiteY9" fmla="*/ 138305 h 199852"/>
                <a:gd name="connsiteX10" fmla="*/ 2899 w 161807"/>
                <a:gd name="connsiteY10" fmla="*/ 176500 h 199852"/>
                <a:gd name="connsiteX11" fmla="*/ 2899 w 161807"/>
                <a:gd name="connsiteY11" fmla="*/ 193359 h 199852"/>
                <a:gd name="connsiteX12" fmla="*/ 32712 w 161807"/>
                <a:gd name="connsiteY12" fmla="*/ 199836 h 199852"/>
                <a:gd name="connsiteX13" fmla="*/ 91005 w 161807"/>
                <a:gd name="connsiteY13" fmla="*/ 199836 h 199852"/>
                <a:gd name="connsiteX14" fmla="*/ 134249 w 161807"/>
                <a:gd name="connsiteY14" fmla="*/ 189930 h 199852"/>
                <a:gd name="connsiteX15" fmla="*/ 161776 w 161807"/>
                <a:gd name="connsiteY15" fmla="*/ 139543 h 199852"/>
                <a:gd name="connsiteX16" fmla="*/ 142726 w 161807"/>
                <a:gd name="connsiteY16" fmla="*/ 86108 h 199852"/>
                <a:gd name="connsiteX17" fmla="*/ 80147 w 161807"/>
                <a:gd name="connsiteY17" fmla="*/ 70106 h 199852"/>
                <a:gd name="connsiteX18" fmla="*/ 44999 w 161807"/>
                <a:gd name="connsiteY18" fmla="*/ 47246 h 199852"/>
                <a:gd name="connsiteX19" fmla="*/ 77194 w 161807"/>
                <a:gd name="connsiteY19" fmla="*/ 27148 h 199852"/>
                <a:gd name="connsiteX20" fmla="*/ 100149 w 161807"/>
                <a:gd name="connsiteY20" fmla="*/ 29720 h 199852"/>
                <a:gd name="connsiteX21" fmla="*/ 113770 w 161807"/>
                <a:gd name="connsiteY21" fmla="*/ 39626 h 199852"/>
                <a:gd name="connsiteX22" fmla="*/ 121009 w 161807"/>
                <a:gd name="connsiteY22" fmla="*/ 54199 h 199852"/>
                <a:gd name="connsiteX23" fmla="*/ 127105 w 161807"/>
                <a:gd name="connsiteY23" fmla="*/ 60295 h 199852"/>
                <a:gd name="connsiteX24" fmla="*/ 142916 w 161807"/>
                <a:gd name="connsiteY24" fmla="*/ 60295 h 199852"/>
                <a:gd name="connsiteX25" fmla="*/ 149012 w 161807"/>
                <a:gd name="connsiteY25" fmla="*/ 54199 h 199852"/>
                <a:gd name="connsiteX26" fmla="*/ 148917 w 161807"/>
                <a:gd name="connsiteY26" fmla="*/ 3335 h 199852"/>
                <a:gd name="connsiteX27" fmla="*/ 119104 w 161807"/>
                <a:gd name="connsiteY27" fmla="*/ 2 h 199852"/>
                <a:gd name="connsiteX28" fmla="*/ 54715 w 161807"/>
                <a:gd name="connsiteY28" fmla="*/ 2 h 199852"/>
                <a:gd name="connsiteX29" fmla="*/ 19091 w 161807"/>
                <a:gd name="connsiteY29" fmla="*/ 12956 h 199852"/>
                <a:gd name="connsiteX30" fmla="*/ 41 w 161807"/>
                <a:gd name="connsiteY30" fmla="*/ 58009 h 199852"/>
                <a:gd name="connsiteX31" fmla="*/ 31283 w 161807"/>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807" h="199852">
                  <a:moveTo>
                    <a:pt x="31283" y="103539"/>
                  </a:moveTo>
                  <a:cubicBezTo>
                    <a:pt x="47285" y="108396"/>
                    <a:pt x="74813" y="116493"/>
                    <a:pt x="93863" y="119540"/>
                  </a:cubicBezTo>
                  <a:cubicBezTo>
                    <a:pt x="112913" y="122589"/>
                    <a:pt x="121390" y="131732"/>
                    <a:pt x="118342" y="148592"/>
                  </a:cubicBezTo>
                  <a:cubicBezTo>
                    <a:pt x="115294" y="165165"/>
                    <a:pt x="96149" y="168404"/>
                    <a:pt x="86147" y="168689"/>
                  </a:cubicBezTo>
                  <a:cubicBezTo>
                    <a:pt x="86147" y="168689"/>
                    <a:pt x="61763" y="169832"/>
                    <a:pt x="51762" y="166118"/>
                  </a:cubicBezTo>
                  <a:cubicBezTo>
                    <a:pt x="47666" y="164594"/>
                    <a:pt x="36332" y="151640"/>
                    <a:pt x="34236" y="148020"/>
                  </a:cubicBezTo>
                  <a:lnTo>
                    <a:pt x="30235" y="138305"/>
                  </a:lnTo>
                  <a:cubicBezTo>
                    <a:pt x="30235" y="136685"/>
                    <a:pt x="28140" y="135066"/>
                    <a:pt x="24711" y="135066"/>
                  </a:cubicBezTo>
                  <a:lnTo>
                    <a:pt x="7280" y="135066"/>
                  </a:lnTo>
                  <a:cubicBezTo>
                    <a:pt x="3947" y="135066"/>
                    <a:pt x="2804" y="134971"/>
                    <a:pt x="2804" y="138305"/>
                  </a:cubicBezTo>
                  <a:lnTo>
                    <a:pt x="2899" y="176500"/>
                  </a:lnTo>
                  <a:lnTo>
                    <a:pt x="2899" y="193359"/>
                  </a:lnTo>
                  <a:cubicBezTo>
                    <a:pt x="2899" y="198598"/>
                    <a:pt x="10805" y="199836"/>
                    <a:pt x="32712" y="199836"/>
                  </a:cubicBezTo>
                  <a:lnTo>
                    <a:pt x="91005" y="199836"/>
                  </a:lnTo>
                  <a:cubicBezTo>
                    <a:pt x="91005" y="199836"/>
                    <a:pt x="115865" y="200693"/>
                    <a:pt x="134249" y="189930"/>
                  </a:cubicBezTo>
                  <a:cubicBezTo>
                    <a:pt x="149298" y="181072"/>
                    <a:pt x="162538" y="157069"/>
                    <a:pt x="161776" y="139543"/>
                  </a:cubicBezTo>
                  <a:cubicBezTo>
                    <a:pt x="160538" y="111254"/>
                    <a:pt x="158728" y="96014"/>
                    <a:pt x="142726" y="86108"/>
                  </a:cubicBezTo>
                  <a:cubicBezTo>
                    <a:pt x="128533" y="77250"/>
                    <a:pt x="99197" y="73154"/>
                    <a:pt x="80147" y="70106"/>
                  </a:cubicBezTo>
                  <a:cubicBezTo>
                    <a:pt x="61097" y="67058"/>
                    <a:pt x="44999" y="64010"/>
                    <a:pt x="44999" y="47246"/>
                  </a:cubicBezTo>
                  <a:cubicBezTo>
                    <a:pt x="44999" y="30482"/>
                    <a:pt x="67192" y="27434"/>
                    <a:pt x="77194" y="27148"/>
                  </a:cubicBezTo>
                  <a:cubicBezTo>
                    <a:pt x="77194" y="27148"/>
                    <a:pt x="90148"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4" y="2"/>
                  </a:cubicBezTo>
                  <a:lnTo>
                    <a:pt x="54715" y="2"/>
                  </a:lnTo>
                  <a:cubicBezTo>
                    <a:pt x="54715" y="2"/>
                    <a:pt x="32522" y="192"/>
                    <a:pt x="19091" y="12956"/>
                  </a:cubicBezTo>
                  <a:cubicBezTo>
                    <a:pt x="9185" y="22290"/>
                    <a:pt x="-721" y="40483"/>
                    <a:pt x="41" y="58009"/>
                  </a:cubicBezTo>
                  <a:cubicBezTo>
                    <a:pt x="708" y="75249"/>
                    <a:pt x="3756" y="95156"/>
                    <a:pt x="31283" y="103539"/>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6" name="Freeform 65">
              <a:extLst>
                <a:ext uri="{FF2B5EF4-FFF2-40B4-BE49-F238E27FC236}">
                  <a16:creationId xmlns:a16="http://schemas.microsoft.com/office/drawing/2014/main" id="{2DAA22CB-6CC4-8A40-BAB9-0CA4EDBCD1F7}"/>
                </a:ext>
              </a:extLst>
            </p:cNvPr>
            <p:cNvSpPr/>
            <p:nvPr/>
          </p:nvSpPr>
          <p:spPr>
            <a:xfrm>
              <a:off x="7141044" y="9642397"/>
              <a:ext cx="161901" cy="199852"/>
            </a:xfrm>
            <a:custGeom>
              <a:avLst/>
              <a:gdLst>
                <a:gd name="connsiteX0" fmla="*/ 31379 w 161901"/>
                <a:gd name="connsiteY0" fmla="*/ 103539 h 199852"/>
                <a:gd name="connsiteX1" fmla="*/ 93957 w 161901"/>
                <a:gd name="connsiteY1" fmla="*/ 119540 h 199852"/>
                <a:gd name="connsiteX2" fmla="*/ 118437 w 161901"/>
                <a:gd name="connsiteY2" fmla="*/ 148592 h 199852"/>
                <a:gd name="connsiteX3" fmla="*/ 86242 w 161901"/>
                <a:gd name="connsiteY3" fmla="*/ 168689 h 199852"/>
                <a:gd name="connsiteX4" fmla="*/ 51857 w 161901"/>
                <a:gd name="connsiteY4" fmla="*/ 166118 h 199852"/>
                <a:gd name="connsiteX5" fmla="*/ 34331 w 161901"/>
                <a:gd name="connsiteY5" fmla="*/ 148020 h 199852"/>
                <a:gd name="connsiteX6" fmla="*/ 30330 w 161901"/>
                <a:gd name="connsiteY6" fmla="*/ 138305 h 199852"/>
                <a:gd name="connsiteX7" fmla="*/ 24806 w 161901"/>
                <a:gd name="connsiteY7" fmla="*/ 135066 h 199852"/>
                <a:gd name="connsiteX8" fmla="*/ 7375 w 161901"/>
                <a:gd name="connsiteY8" fmla="*/ 135066 h 199852"/>
                <a:gd name="connsiteX9" fmla="*/ 2898 w 161901"/>
                <a:gd name="connsiteY9" fmla="*/ 138305 h 199852"/>
                <a:gd name="connsiteX10" fmla="*/ 2994 w 161901"/>
                <a:gd name="connsiteY10" fmla="*/ 176500 h 199852"/>
                <a:gd name="connsiteX11" fmla="*/ 2994 w 161901"/>
                <a:gd name="connsiteY11" fmla="*/ 193359 h 199852"/>
                <a:gd name="connsiteX12" fmla="*/ 32807 w 161901"/>
                <a:gd name="connsiteY12" fmla="*/ 199836 h 199852"/>
                <a:gd name="connsiteX13" fmla="*/ 91100 w 161901"/>
                <a:gd name="connsiteY13" fmla="*/ 199836 h 199852"/>
                <a:gd name="connsiteX14" fmla="*/ 134344 w 161901"/>
                <a:gd name="connsiteY14" fmla="*/ 189930 h 199852"/>
                <a:gd name="connsiteX15" fmla="*/ 161871 w 161901"/>
                <a:gd name="connsiteY15" fmla="*/ 139543 h 199852"/>
                <a:gd name="connsiteX16" fmla="*/ 142821 w 161901"/>
                <a:gd name="connsiteY16" fmla="*/ 86108 h 199852"/>
                <a:gd name="connsiteX17" fmla="*/ 80241 w 161901"/>
                <a:gd name="connsiteY17" fmla="*/ 70106 h 199852"/>
                <a:gd name="connsiteX18" fmla="*/ 45094 w 161901"/>
                <a:gd name="connsiteY18" fmla="*/ 47246 h 199852"/>
                <a:gd name="connsiteX19" fmla="*/ 77289 w 161901"/>
                <a:gd name="connsiteY19" fmla="*/ 27148 h 199852"/>
                <a:gd name="connsiteX20" fmla="*/ 100149 w 161901"/>
                <a:gd name="connsiteY20" fmla="*/ 29720 h 199852"/>
                <a:gd name="connsiteX21" fmla="*/ 113770 w 161901"/>
                <a:gd name="connsiteY21" fmla="*/ 39626 h 199852"/>
                <a:gd name="connsiteX22" fmla="*/ 121009 w 161901"/>
                <a:gd name="connsiteY22" fmla="*/ 54199 h 199852"/>
                <a:gd name="connsiteX23" fmla="*/ 127105 w 161901"/>
                <a:gd name="connsiteY23" fmla="*/ 60295 h 199852"/>
                <a:gd name="connsiteX24" fmla="*/ 142916 w 161901"/>
                <a:gd name="connsiteY24" fmla="*/ 60295 h 199852"/>
                <a:gd name="connsiteX25" fmla="*/ 149012 w 161901"/>
                <a:gd name="connsiteY25" fmla="*/ 54199 h 199852"/>
                <a:gd name="connsiteX26" fmla="*/ 148917 w 161901"/>
                <a:gd name="connsiteY26" fmla="*/ 3335 h 199852"/>
                <a:gd name="connsiteX27" fmla="*/ 119103 w 161901"/>
                <a:gd name="connsiteY27" fmla="*/ 2 h 199852"/>
                <a:gd name="connsiteX28" fmla="*/ 54714 w 161901"/>
                <a:gd name="connsiteY28" fmla="*/ 2 h 199852"/>
                <a:gd name="connsiteX29" fmla="*/ 19091 w 161901"/>
                <a:gd name="connsiteY29" fmla="*/ 12956 h 199852"/>
                <a:gd name="connsiteX30" fmla="*/ 41 w 161901"/>
                <a:gd name="connsiteY30" fmla="*/ 58009 h 199852"/>
                <a:gd name="connsiteX31" fmla="*/ 31379 w 161901"/>
                <a:gd name="connsiteY31" fmla="*/ 103539 h 1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1901" h="199852">
                  <a:moveTo>
                    <a:pt x="31379" y="103539"/>
                  </a:moveTo>
                  <a:cubicBezTo>
                    <a:pt x="47381" y="108396"/>
                    <a:pt x="74907" y="116493"/>
                    <a:pt x="93957" y="119540"/>
                  </a:cubicBezTo>
                  <a:cubicBezTo>
                    <a:pt x="113007" y="122589"/>
                    <a:pt x="121485" y="131732"/>
                    <a:pt x="118437" y="148592"/>
                  </a:cubicBezTo>
                  <a:cubicBezTo>
                    <a:pt x="115389" y="165165"/>
                    <a:pt x="96244" y="168404"/>
                    <a:pt x="86242" y="168689"/>
                  </a:cubicBezTo>
                  <a:cubicBezTo>
                    <a:pt x="86242" y="168689"/>
                    <a:pt x="61858" y="169832"/>
                    <a:pt x="51857" y="166118"/>
                  </a:cubicBezTo>
                  <a:cubicBezTo>
                    <a:pt x="47761" y="164594"/>
                    <a:pt x="36427" y="151640"/>
                    <a:pt x="34331" y="148020"/>
                  </a:cubicBezTo>
                  <a:lnTo>
                    <a:pt x="30330" y="138305"/>
                  </a:lnTo>
                  <a:cubicBezTo>
                    <a:pt x="30330" y="136685"/>
                    <a:pt x="28235" y="135066"/>
                    <a:pt x="24806" y="135066"/>
                  </a:cubicBezTo>
                  <a:lnTo>
                    <a:pt x="7375" y="135066"/>
                  </a:lnTo>
                  <a:cubicBezTo>
                    <a:pt x="4041" y="135066"/>
                    <a:pt x="2898" y="134971"/>
                    <a:pt x="2898" y="138305"/>
                  </a:cubicBezTo>
                  <a:lnTo>
                    <a:pt x="2994" y="176500"/>
                  </a:lnTo>
                  <a:lnTo>
                    <a:pt x="2994" y="193359"/>
                  </a:lnTo>
                  <a:cubicBezTo>
                    <a:pt x="2994" y="198598"/>
                    <a:pt x="10900" y="199836"/>
                    <a:pt x="32807" y="199836"/>
                  </a:cubicBezTo>
                  <a:lnTo>
                    <a:pt x="91100" y="199836"/>
                  </a:lnTo>
                  <a:cubicBezTo>
                    <a:pt x="91100" y="199836"/>
                    <a:pt x="115960" y="200693"/>
                    <a:pt x="134344" y="189930"/>
                  </a:cubicBezTo>
                  <a:cubicBezTo>
                    <a:pt x="149393" y="181072"/>
                    <a:pt x="162633" y="157069"/>
                    <a:pt x="161871" y="139543"/>
                  </a:cubicBezTo>
                  <a:cubicBezTo>
                    <a:pt x="160632" y="111254"/>
                    <a:pt x="158823" y="96014"/>
                    <a:pt x="142821" y="86108"/>
                  </a:cubicBezTo>
                  <a:cubicBezTo>
                    <a:pt x="128533" y="77250"/>
                    <a:pt x="99291" y="73154"/>
                    <a:pt x="80241" y="70106"/>
                  </a:cubicBezTo>
                  <a:cubicBezTo>
                    <a:pt x="61191" y="67058"/>
                    <a:pt x="45094" y="64010"/>
                    <a:pt x="45094" y="47246"/>
                  </a:cubicBezTo>
                  <a:cubicBezTo>
                    <a:pt x="45094" y="30482"/>
                    <a:pt x="67192" y="27434"/>
                    <a:pt x="77289" y="27148"/>
                  </a:cubicBezTo>
                  <a:cubicBezTo>
                    <a:pt x="77289" y="27148"/>
                    <a:pt x="90243" y="26005"/>
                    <a:pt x="100149" y="29720"/>
                  </a:cubicBezTo>
                  <a:cubicBezTo>
                    <a:pt x="104245" y="31244"/>
                    <a:pt x="108055" y="32577"/>
                    <a:pt x="113770" y="39626"/>
                  </a:cubicBezTo>
                  <a:cubicBezTo>
                    <a:pt x="116532" y="43055"/>
                    <a:pt x="121009" y="54199"/>
                    <a:pt x="121009" y="54199"/>
                  </a:cubicBezTo>
                  <a:cubicBezTo>
                    <a:pt x="121009" y="57533"/>
                    <a:pt x="123771" y="60295"/>
                    <a:pt x="127105" y="60295"/>
                  </a:cubicBezTo>
                  <a:lnTo>
                    <a:pt x="142916" y="60295"/>
                  </a:lnTo>
                  <a:cubicBezTo>
                    <a:pt x="147774" y="60867"/>
                    <a:pt x="149012" y="59628"/>
                    <a:pt x="149012" y="54199"/>
                  </a:cubicBezTo>
                  <a:lnTo>
                    <a:pt x="148917" y="3335"/>
                  </a:lnTo>
                  <a:cubicBezTo>
                    <a:pt x="148917" y="-189"/>
                    <a:pt x="129105" y="2"/>
                    <a:pt x="119103" y="2"/>
                  </a:cubicBezTo>
                  <a:lnTo>
                    <a:pt x="54714" y="2"/>
                  </a:lnTo>
                  <a:cubicBezTo>
                    <a:pt x="54714" y="2"/>
                    <a:pt x="32522" y="192"/>
                    <a:pt x="19091" y="12956"/>
                  </a:cubicBezTo>
                  <a:cubicBezTo>
                    <a:pt x="9281" y="22290"/>
                    <a:pt x="-721" y="40483"/>
                    <a:pt x="41" y="58009"/>
                  </a:cubicBezTo>
                  <a:cubicBezTo>
                    <a:pt x="803" y="75249"/>
                    <a:pt x="3851" y="95156"/>
                    <a:pt x="31379" y="103539"/>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7" name="Freeform 66">
              <a:extLst>
                <a:ext uri="{FF2B5EF4-FFF2-40B4-BE49-F238E27FC236}">
                  <a16:creationId xmlns:a16="http://schemas.microsoft.com/office/drawing/2014/main" id="{39AF7C28-E731-4145-928A-515DA6A98741}"/>
                </a:ext>
              </a:extLst>
            </p:cNvPr>
            <p:cNvSpPr/>
            <p:nvPr/>
          </p:nvSpPr>
          <p:spPr>
            <a:xfrm>
              <a:off x="5077113" y="9639042"/>
              <a:ext cx="243257" cy="210883"/>
            </a:xfrm>
            <a:custGeom>
              <a:avLst/>
              <a:gdLst>
                <a:gd name="connsiteX0" fmla="*/ 242507 w 243257"/>
                <a:gd name="connsiteY0" fmla="*/ 186523 h 210883"/>
                <a:gd name="connsiteX1" fmla="*/ 234125 w 243257"/>
                <a:gd name="connsiteY1" fmla="*/ 184237 h 210883"/>
                <a:gd name="connsiteX2" fmla="*/ 226504 w 243257"/>
                <a:gd name="connsiteY2" fmla="*/ 181189 h 210883"/>
                <a:gd name="connsiteX3" fmla="*/ 202597 w 243257"/>
                <a:gd name="connsiteY3" fmla="*/ 164234 h 210883"/>
                <a:gd name="connsiteX4" fmla="*/ 210503 w 243257"/>
                <a:gd name="connsiteY4" fmla="*/ 147470 h 210883"/>
                <a:gd name="connsiteX5" fmla="*/ 215075 w 243257"/>
                <a:gd name="connsiteY5" fmla="*/ 110799 h 210883"/>
                <a:gd name="connsiteX6" fmla="*/ 214122 w 243257"/>
                <a:gd name="connsiteY6" fmla="*/ 87558 h 210883"/>
                <a:gd name="connsiteX7" fmla="*/ 210312 w 243257"/>
                <a:gd name="connsiteY7" fmla="*/ 86415 h 210883"/>
                <a:gd name="connsiteX8" fmla="*/ 177641 w 243257"/>
                <a:gd name="connsiteY8" fmla="*/ 86415 h 210883"/>
                <a:gd name="connsiteX9" fmla="*/ 174593 w 243257"/>
                <a:gd name="connsiteY9" fmla="*/ 87939 h 210883"/>
                <a:gd name="connsiteX10" fmla="*/ 173831 w 243257"/>
                <a:gd name="connsiteY10" fmla="*/ 93273 h 210883"/>
                <a:gd name="connsiteX11" fmla="*/ 173831 w 243257"/>
                <a:gd name="connsiteY11" fmla="*/ 109275 h 210883"/>
                <a:gd name="connsiteX12" fmla="*/ 168593 w 243257"/>
                <a:gd name="connsiteY12" fmla="*/ 136040 h 210883"/>
                <a:gd name="connsiteX13" fmla="*/ 120301 w 243257"/>
                <a:gd name="connsiteY13" fmla="*/ 95940 h 210883"/>
                <a:gd name="connsiteX14" fmla="*/ 163830 w 243257"/>
                <a:gd name="connsiteY14" fmla="*/ 46600 h 210883"/>
                <a:gd name="connsiteX15" fmla="*/ 92012 w 243257"/>
                <a:gd name="connsiteY15" fmla="*/ 23 h 210883"/>
                <a:gd name="connsiteX16" fmla="*/ 14097 w 243257"/>
                <a:gd name="connsiteY16" fmla="*/ 46600 h 210883"/>
                <a:gd name="connsiteX17" fmla="*/ 20384 w 243257"/>
                <a:gd name="connsiteY17" fmla="*/ 69270 h 210883"/>
                <a:gd name="connsiteX18" fmla="*/ 20193 w 243257"/>
                <a:gd name="connsiteY18" fmla="*/ 70222 h 210883"/>
                <a:gd name="connsiteX19" fmla="*/ 21908 w 243257"/>
                <a:gd name="connsiteY19" fmla="*/ 71651 h 210883"/>
                <a:gd name="connsiteX20" fmla="*/ 33242 w 243257"/>
                <a:gd name="connsiteY20" fmla="*/ 83462 h 210883"/>
                <a:gd name="connsiteX21" fmla="*/ 0 w 243257"/>
                <a:gd name="connsiteY21" fmla="*/ 139755 h 210883"/>
                <a:gd name="connsiteX22" fmla="*/ 97346 w 243257"/>
                <a:gd name="connsiteY22" fmla="*/ 210811 h 210883"/>
                <a:gd name="connsiteX23" fmla="*/ 172688 w 243257"/>
                <a:gd name="connsiteY23" fmla="*/ 193000 h 210883"/>
                <a:gd name="connsiteX24" fmla="*/ 180594 w 243257"/>
                <a:gd name="connsiteY24" fmla="*/ 196524 h 210883"/>
                <a:gd name="connsiteX25" fmla="*/ 192977 w 243257"/>
                <a:gd name="connsiteY25" fmla="*/ 202620 h 210883"/>
                <a:gd name="connsiteX26" fmla="*/ 237839 w 243257"/>
                <a:gd name="connsiteY26" fmla="*/ 202429 h 210883"/>
                <a:gd name="connsiteX27" fmla="*/ 242983 w 243257"/>
                <a:gd name="connsiteY27" fmla="*/ 198048 h 210883"/>
                <a:gd name="connsiteX28" fmla="*/ 243078 w 243257"/>
                <a:gd name="connsiteY28" fmla="*/ 195571 h 210883"/>
                <a:gd name="connsiteX29" fmla="*/ 242507 w 243257"/>
                <a:gd name="connsiteY29" fmla="*/ 186523 h 210883"/>
                <a:gd name="connsiteX30" fmla="*/ 92107 w 243257"/>
                <a:gd name="connsiteY30" fmla="*/ 28217 h 210883"/>
                <a:gd name="connsiteX31" fmla="*/ 120396 w 243257"/>
                <a:gd name="connsiteY31" fmla="*/ 46505 h 210883"/>
                <a:gd name="connsiteX32" fmla="*/ 89821 w 243257"/>
                <a:gd name="connsiteY32" fmla="*/ 67079 h 210883"/>
                <a:gd name="connsiteX33" fmla="*/ 85916 w 243257"/>
                <a:gd name="connsiteY33" fmla="*/ 66317 h 210883"/>
                <a:gd name="connsiteX34" fmla="*/ 77534 w 243257"/>
                <a:gd name="connsiteY34" fmla="*/ 62983 h 210883"/>
                <a:gd name="connsiteX35" fmla="*/ 61817 w 243257"/>
                <a:gd name="connsiteY35" fmla="*/ 46505 h 210883"/>
                <a:gd name="connsiteX36" fmla="*/ 92107 w 243257"/>
                <a:gd name="connsiteY36" fmla="*/ 28217 h 210883"/>
                <a:gd name="connsiteX37" fmla="*/ 102013 w 243257"/>
                <a:gd name="connsiteY37" fmla="*/ 176426 h 210883"/>
                <a:gd name="connsiteX38" fmla="*/ 51721 w 243257"/>
                <a:gd name="connsiteY38" fmla="*/ 136135 h 210883"/>
                <a:gd name="connsiteX39" fmla="*/ 65913 w 243257"/>
                <a:gd name="connsiteY39" fmla="*/ 106989 h 210883"/>
                <a:gd name="connsiteX40" fmla="*/ 142875 w 243257"/>
                <a:gd name="connsiteY40" fmla="*/ 168901 h 210883"/>
                <a:gd name="connsiteX41" fmla="*/ 102013 w 243257"/>
                <a:gd name="connsiteY41" fmla="*/ 176426 h 2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3257" h="210883">
                  <a:moveTo>
                    <a:pt x="242507" y="186523"/>
                  </a:moveTo>
                  <a:cubicBezTo>
                    <a:pt x="240983" y="184237"/>
                    <a:pt x="238696" y="184999"/>
                    <a:pt x="234125" y="184237"/>
                  </a:cubicBezTo>
                  <a:cubicBezTo>
                    <a:pt x="229553" y="183475"/>
                    <a:pt x="226504" y="181189"/>
                    <a:pt x="226504" y="181189"/>
                  </a:cubicBezTo>
                  <a:lnTo>
                    <a:pt x="202597" y="164234"/>
                  </a:lnTo>
                  <a:cubicBezTo>
                    <a:pt x="205931" y="158233"/>
                    <a:pt x="208502" y="151947"/>
                    <a:pt x="210503" y="147470"/>
                  </a:cubicBezTo>
                  <a:cubicBezTo>
                    <a:pt x="213551" y="140612"/>
                    <a:pt x="215075" y="118419"/>
                    <a:pt x="215075" y="110799"/>
                  </a:cubicBezTo>
                  <a:cubicBezTo>
                    <a:pt x="215075" y="103179"/>
                    <a:pt x="216789" y="89844"/>
                    <a:pt x="214122" y="87558"/>
                  </a:cubicBezTo>
                  <a:cubicBezTo>
                    <a:pt x="213360" y="86891"/>
                    <a:pt x="210312" y="86415"/>
                    <a:pt x="210312" y="86415"/>
                  </a:cubicBezTo>
                  <a:lnTo>
                    <a:pt x="177641" y="86415"/>
                  </a:lnTo>
                  <a:cubicBezTo>
                    <a:pt x="177641" y="86415"/>
                    <a:pt x="175736" y="86796"/>
                    <a:pt x="174593" y="87939"/>
                  </a:cubicBezTo>
                  <a:cubicBezTo>
                    <a:pt x="173641" y="88891"/>
                    <a:pt x="173831" y="93273"/>
                    <a:pt x="173831" y="93273"/>
                  </a:cubicBezTo>
                  <a:cubicBezTo>
                    <a:pt x="173831" y="93273"/>
                    <a:pt x="173450" y="103941"/>
                    <a:pt x="173831" y="109275"/>
                  </a:cubicBezTo>
                  <a:cubicBezTo>
                    <a:pt x="174498" y="119276"/>
                    <a:pt x="172021" y="128420"/>
                    <a:pt x="168593" y="136040"/>
                  </a:cubicBezTo>
                  <a:lnTo>
                    <a:pt x="120301" y="95940"/>
                  </a:lnTo>
                  <a:cubicBezTo>
                    <a:pt x="146876" y="85939"/>
                    <a:pt x="164211" y="63364"/>
                    <a:pt x="163830" y="46600"/>
                  </a:cubicBezTo>
                  <a:cubicBezTo>
                    <a:pt x="163068" y="13739"/>
                    <a:pt x="133826" y="690"/>
                    <a:pt x="92012" y="23"/>
                  </a:cubicBezTo>
                  <a:cubicBezTo>
                    <a:pt x="45434" y="-739"/>
                    <a:pt x="14097" y="17359"/>
                    <a:pt x="14097" y="46600"/>
                  </a:cubicBezTo>
                  <a:cubicBezTo>
                    <a:pt x="14097" y="54982"/>
                    <a:pt x="16383" y="62602"/>
                    <a:pt x="20384" y="69270"/>
                  </a:cubicBezTo>
                  <a:cubicBezTo>
                    <a:pt x="20288" y="69556"/>
                    <a:pt x="20193" y="69937"/>
                    <a:pt x="20193" y="70222"/>
                  </a:cubicBezTo>
                  <a:lnTo>
                    <a:pt x="21908" y="71651"/>
                  </a:lnTo>
                  <a:cubicBezTo>
                    <a:pt x="24956" y="76033"/>
                    <a:pt x="28766" y="79938"/>
                    <a:pt x="33242" y="83462"/>
                  </a:cubicBezTo>
                  <a:cubicBezTo>
                    <a:pt x="12573" y="97845"/>
                    <a:pt x="0" y="118228"/>
                    <a:pt x="0" y="139755"/>
                  </a:cubicBezTo>
                  <a:cubicBezTo>
                    <a:pt x="0" y="180331"/>
                    <a:pt x="18669" y="208430"/>
                    <a:pt x="97346" y="210811"/>
                  </a:cubicBezTo>
                  <a:cubicBezTo>
                    <a:pt x="125730" y="211669"/>
                    <a:pt x="152400" y="204811"/>
                    <a:pt x="172688" y="193000"/>
                  </a:cubicBezTo>
                  <a:lnTo>
                    <a:pt x="180594" y="196524"/>
                  </a:lnTo>
                  <a:cubicBezTo>
                    <a:pt x="183833" y="199191"/>
                    <a:pt x="186500" y="202429"/>
                    <a:pt x="192977" y="202620"/>
                  </a:cubicBezTo>
                  <a:lnTo>
                    <a:pt x="237839" y="202429"/>
                  </a:lnTo>
                  <a:cubicBezTo>
                    <a:pt x="241268" y="202429"/>
                    <a:pt x="242983" y="201382"/>
                    <a:pt x="242983" y="198048"/>
                  </a:cubicBezTo>
                  <a:lnTo>
                    <a:pt x="243078" y="195571"/>
                  </a:lnTo>
                  <a:cubicBezTo>
                    <a:pt x="243173" y="195476"/>
                    <a:pt x="243650" y="188142"/>
                    <a:pt x="242507" y="186523"/>
                  </a:cubicBezTo>
                  <a:close/>
                  <a:moveTo>
                    <a:pt x="92107" y="28217"/>
                  </a:moveTo>
                  <a:cubicBezTo>
                    <a:pt x="110490" y="28979"/>
                    <a:pt x="120396" y="37361"/>
                    <a:pt x="120396" y="46505"/>
                  </a:cubicBezTo>
                  <a:cubicBezTo>
                    <a:pt x="120396" y="57173"/>
                    <a:pt x="95917" y="67079"/>
                    <a:pt x="89821" y="67079"/>
                  </a:cubicBezTo>
                  <a:cubicBezTo>
                    <a:pt x="88868" y="67079"/>
                    <a:pt x="87535" y="66793"/>
                    <a:pt x="85916" y="66317"/>
                  </a:cubicBezTo>
                  <a:cubicBezTo>
                    <a:pt x="83439" y="64888"/>
                    <a:pt x="80105" y="63555"/>
                    <a:pt x="77534" y="62983"/>
                  </a:cubicBezTo>
                  <a:cubicBezTo>
                    <a:pt x="69818" y="59078"/>
                    <a:pt x="61817" y="52887"/>
                    <a:pt x="61817" y="46505"/>
                  </a:cubicBezTo>
                  <a:cubicBezTo>
                    <a:pt x="61722" y="37361"/>
                    <a:pt x="73724" y="27455"/>
                    <a:pt x="92107" y="28217"/>
                  </a:cubicBezTo>
                  <a:close/>
                  <a:moveTo>
                    <a:pt x="102013" y="176426"/>
                  </a:moveTo>
                  <a:cubicBezTo>
                    <a:pt x="58484" y="175664"/>
                    <a:pt x="51721" y="160519"/>
                    <a:pt x="51721" y="136135"/>
                  </a:cubicBezTo>
                  <a:cubicBezTo>
                    <a:pt x="51721" y="125372"/>
                    <a:pt x="56960" y="115085"/>
                    <a:pt x="65913" y="106989"/>
                  </a:cubicBezTo>
                  <a:lnTo>
                    <a:pt x="142875" y="168901"/>
                  </a:lnTo>
                  <a:cubicBezTo>
                    <a:pt x="134779" y="173950"/>
                    <a:pt x="118205" y="176712"/>
                    <a:pt x="102013" y="176426"/>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8" name="Freeform 67">
              <a:extLst>
                <a:ext uri="{FF2B5EF4-FFF2-40B4-BE49-F238E27FC236}">
                  <a16:creationId xmlns:a16="http://schemas.microsoft.com/office/drawing/2014/main" id="{A1B3811C-5FC2-DC44-AFD1-6CDA119CC84D}"/>
                </a:ext>
              </a:extLst>
            </p:cNvPr>
            <p:cNvSpPr/>
            <p:nvPr/>
          </p:nvSpPr>
          <p:spPr>
            <a:xfrm>
              <a:off x="4926009" y="9956629"/>
              <a:ext cx="141864" cy="151352"/>
            </a:xfrm>
            <a:custGeom>
              <a:avLst/>
              <a:gdLst>
                <a:gd name="connsiteX0" fmla="*/ 141198 w 141864"/>
                <a:gd name="connsiteY0" fmla="*/ 108680 h 151352"/>
                <a:gd name="connsiteX1" fmla="*/ 136531 w 141864"/>
                <a:gd name="connsiteY1" fmla="*/ 104013 h 151352"/>
                <a:gd name="connsiteX2" fmla="*/ 124339 w 141864"/>
                <a:gd name="connsiteY2" fmla="*/ 104013 h 151352"/>
                <a:gd name="connsiteX3" fmla="*/ 119672 w 141864"/>
                <a:gd name="connsiteY3" fmla="*/ 108680 h 151352"/>
                <a:gd name="connsiteX4" fmla="*/ 116814 w 141864"/>
                <a:gd name="connsiteY4" fmla="*/ 116205 h 151352"/>
                <a:gd name="connsiteX5" fmla="*/ 112337 w 141864"/>
                <a:gd name="connsiteY5" fmla="*/ 122777 h 151352"/>
                <a:gd name="connsiteX6" fmla="*/ 52711 w 141864"/>
                <a:gd name="connsiteY6" fmla="*/ 125063 h 151352"/>
                <a:gd name="connsiteX7" fmla="*/ 49663 w 141864"/>
                <a:gd name="connsiteY7" fmla="*/ 121063 h 151352"/>
                <a:gd name="connsiteX8" fmla="*/ 49663 w 141864"/>
                <a:gd name="connsiteY8" fmla="*/ 82010 h 151352"/>
                <a:gd name="connsiteX9" fmla="*/ 96145 w 141864"/>
                <a:gd name="connsiteY9" fmla="*/ 82010 h 151352"/>
                <a:gd name="connsiteX10" fmla="*/ 102717 w 141864"/>
                <a:gd name="connsiteY10" fmla="*/ 90583 h 151352"/>
                <a:gd name="connsiteX11" fmla="*/ 103193 w 141864"/>
                <a:gd name="connsiteY11" fmla="*/ 91726 h 151352"/>
                <a:gd name="connsiteX12" fmla="*/ 104336 w 141864"/>
                <a:gd name="connsiteY12" fmla="*/ 91916 h 151352"/>
                <a:gd name="connsiteX13" fmla="*/ 119005 w 141864"/>
                <a:gd name="connsiteY13" fmla="*/ 91821 h 151352"/>
                <a:gd name="connsiteX14" fmla="*/ 120148 w 141864"/>
                <a:gd name="connsiteY14" fmla="*/ 90678 h 151352"/>
                <a:gd name="connsiteX15" fmla="*/ 120148 w 141864"/>
                <a:gd name="connsiteY15" fmla="*/ 57341 h 151352"/>
                <a:gd name="connsiteX16" fmla="*/ 120148 w 141864"/>
                <a:gd name="connsiteY16" fmla="*/ 45815 h 151352"/>
                <a:gd name="connsiteX17" fmla="*/ 119005 w 141864"/>
                <a:gd name="connsiteY17" fmla="*/ 44672 h 151352"/>
                <a:gd name="connsiteX18" fmla="*/ 104336 w 141864"/>
                <a:gd name="connsiteY18" fmla="*/ 44577 h 151352"/>
                <a:gd name="connsiteX19" fmla="*/ 103193 w 141864"/>
                <a:gd name="connsiteY19" fmla="*/ 44863 h 151352"/>
                <a:gd name="connsiteX20" fmla="*/ 102717 w 141864"/>
                <a:gd name="connsiteY20" fmla="*/ 46006 h 151352"/>
                <a:gd name="connsiteX21" fmla="*/ 96145 w 141864"/>
                <a:gd name="connsiteY21" fmla="*/ 54578 h 151352"/>
                <a:gd name="connsiteX22" fmla="*/ 49663 w 141864"/>
                <a:gd name="connsiteY22" fmla="*/ 54578 h 151352"/>
                <a:gd name="connsiteX23" fmla="*/ 49663 w 141864"/>
                <a:gd name="connsiteY23" fmla="*/ 30194 h 151352"/>
                <a:gd name="connsiteX24" fmla="*/ 49949 w 141864"/>
                <a:gd name="connsiteY24" fmla="*/ 25527 h 151352"/>
                <a:gd name="connsiteX25" fmla="*/ 54235 w 141864"/>
                <a:gd name="connsiteY25" fmla="*/ 24289 h 151352"/>
                <a:gd name="connsiteX26" fmla="*/ 97574 w 141864"/>
                <a:gd name="connsiteY26" fmla="*/ 24765 h 151352"/>
                <a:gd name="connsiteX27" fmla="*/ 111671 w 141864"/>
                <a:gd name="connsiteY27" fmla="*/ 27527 h 151352"/>
                <a:gd name="connsiteX28" fmla="*/ 113671 w 141864"/>
                <a:gd name="connsiteY28" fmla="*/ 32385 h 151352"/>
                <a:gd name="connsiteX29" fmla="*/ 118338 w 141864"/>
                <a:gd name="connsiteY29" fmla="*/ 37052 h 151352"/>
                <a:gd name="connsiteX30" fmla="*/ 130530 w 141864"/>
                <a:gd name="connsiteY30" fmla="*/ 37052 h 151352"/>
                <a:gd name="connsiteX31" fmla="*/ 135197 w 141864"/>
                <a:gd name="connsiteY31" fmla="*/ 32385 h 151352"/>
                <a:gd name="connsiteX32" fmla="*/ 135674 w 141864"/>
                <a:gd name="connsiteY32" fmla="*/ 4667 h 151352"/>
                <a:gd name="connsiteX33" fmla="*/ 131006 w 141864"/>
                <a:gd name="connsiteY33" fmla="*/ 0 h 151352"/>
                <a:gd name="connsiteX34" fmla="*/ 64617 w 141864"/>
                <a:gd name="connsiteY34" fmla="*/ 0 h 151352"/>
                <a:gd name="connsiteX35" fmla="*/ 1657 w 141864"/>
                <a:gd name="connsiteY35" fmla="*/ 0 h 151352"/>
                <a:gd name="connsiteX36" fmla="*/ 228 w 141864"/>
                <a:gd name="connsiteY36" fmla="*/ 1429 h 151352"/>
                <a:gd name="connsiteX37" fmla="*/ 38 w 141864"/>
                <a:gd name="connsiteY37" fmla="*/ 19907 h 151352"/>
                <a:gd name="connsiteX38" fmla="*/ 323 w 141864"/>
                <a:gd name="connsiteY38" fmla="*/ 21431 h 151352"/>
                <a:gd name="connsiteX39" fmla="*/ 1752 w 141864"/>
                <a:gd name="connsiteY39" fmla="*/ 22003 h 151352"/>
                <a:gd name="connsiteX40" fmla="*/ 16421 w 141864"/>
                <a:gd name="connsiteY40" fmla="*/ 30290 h 151352"/>
                <a:gd name="connsiteX41" fmla="*/ 16421 w 141864"/>
                <a:gd name="connsiteY41" fmla="*/ 121158 h 151352"/>
                <a:gd name="connsiteX42" fmla="*/ 1752 w 141864"/>
                <a:gd name="connsiteY42" fmla="*/ 129445 h 151352"/>
                <a:gd name="connsiteX43" fmla="*/ 323 w 141864"/>
                <a:gd name="connsiteY43" fmla="*/ 130016 h 151352"/>
                <a:gd name="connsiteX44" fmla="*/ 38 w 141864"/>
                <a:gd name="connsiteY44" fmla="*/ 131445 h 151352"/>
                <a:gd name="connsiteX45" fmla="*/ 228 w 141864"/>
                <a:gd name="connsiteY45" fmla="*/ 149924 h 151352"/>
                <a:gd name="connsiteX46" fmla="*/ 1657 w 141864"/>
                <a:gd name="connsiteY46" fmla="*/ 151352 h 151352"/>
                <a:gd name="connsiteX47" fmla="*/ 52044 w 141864"/>
                <a:gd name="connsiteY47" fmla="*/ 151352 h 151352"/>
                <a:gd name="connsiteX48" fmla="*/ 52139 w 141864"/>
                <a:gd name="connsiteY48" fmla="*/ 151352 h 151352"/>
                <a:gd name="connsiteX49" fmla="*/ 137198 w 141864"/>
                <a:gd name="connsiteY49" fmla="*/ 151352 h 151352"/>
                <a:gd name="connsiteX50" fmla="*/ 141865 w 141864"/>
                <a:gd name="connsiteY50" fmla="*/ 146685 h 151352"/>
                <a:gd name="connsiteX51" fmla="*/ 141198 w 141864"/>
                <a:gd name="connsiteY51" fmla="*/ 10868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1864" h="151352">
                  <a:moveTo>
                    <a:pt x="141198" y="108680"/>
                  </a:moveTo>
                  <a:cubicBezTo>
                    <a:pt x="141198" y="106108"/>
                    <a:pt x="139103" y="104013"/>
                    <a:pt x="136531" y="104013"/>
                  </a:cubicBezTo>
                  <a:lnTo>
                    <a:pt x="124339" y="104013"/>
                  </a:lnTo>
                  <a:cubicBezTo>
                    <a:pt x="121767" y="104013"/>
                    <a:pt x="119672" y="106108"/>
                    <a:pt x="119672" y="108680"/>
                  </a:cubicBezTo>
                  <a:lnTo>
                    <a:pt x="116814" y="116205"/>
                  </a:lnTo>
                  <a:cubicBezTo>
                    <a:pt x="116624" y="118967"/>
                    <a:pt x="113385" y="120587"/>
                    <a:pt x="112337" y="122777"/>
                  </a:cubicBezTo>
                  <a:cubicBezTo>
                    <a:pt x="109194" y="129064"/>
                    <a:pt x="52711" y="125063"/>
                    <a:pt x="52711" y="125063"/>
                  </a:cubicBezTo>
                  <a:cubicBezTo>
                    <a:pt x="50901" y="123825"/>
                    <a:pt x="49663" y="122492"/>
                    <a:pt x="49663" y="121063"/>
                  </a:cubicBezTo>
                  <a:lnTo>
                    <a:pt x="49663" y="82010"/>
                  </a:lnTo>
                  <a:lnTo>
                    <a:pt x="96145" y="82010"/>
                  </a:lnTo>
                  <a:cubicBezTo>
                    <a:pt x="99002" y="82010"/>
                    <a:pt x="101860" y="85534"/>
                    <a:pt x="102717" y="90583"/>
                  </a:cubicBezTo>
                  <a:cubicBezTo>
                    <a:pt x="102717" y="90583"/>
                    <a:pt x="102717" y="91440"/>
                    <a:pt x="103193" y="91726"/>
                  </a:cubicBezTo>
                  <a:cubicBezTo>
                    <a:pt x="103670" y="92107"/>
                    <a:pt x="104336" y="91916"/>
                    <a:pt x="104336" y="91916"/>
                  </a:cubicBezTo>
                  <a:lnTo>
                    <a:pt x="119005" y="91821"/>
                  </a:lnTo>
                  <a:cubicBezTo>
                    <a:pt x="119672" y="91821"/>
                    <a:pt x="120148" y="91345"/>
                    <a:pt x="120148" y="90678"/>
                  </a:cubicBezTo>
                  <a:lnTo>
                    <a:pt x="120148" y="57341"/>
                  </a:lnTo>
                  <a:lnTo>
                    <a:pt x="120148" y="45815"/>
                  </a:lnTo>
                  <a:cubicBezTo>
                    <a:pt x="120148" y="45149"/>
                    <a:pt x="119672" y="44672"/>
                    <a:pt x="119005" y="44672"/>
                  </a:cubicBezTo>
                  <a:lnTo>
                    <a:pt x="104336" y="44577"/>
                  </a:lnTo>
                  <a:cubicBezTo>
                    <a:pt x="104336" y="44577"/>
                    <a:pt x="103670" y="44482"/>
                    <a:pt x="103193" y="44863"/>
                  </a:cubicBezTo>
                  <a:cubicBezTo>
                    <a:pt x="102717" y="45244"/>
                    <a:pt x="102717" y="46006"/>
                    <a:pt x="102717" y="46006"/>
                  </a:cubicBezTo>
                  <a:cubicBezTo>
                    <a:pt x="101860" y="51054"/>
                    <a:pt x="99002" y="54578"/>
                    <a:pt x="96145" y="54578"/>
                  </a:cubicBezTo>
                  <a:lnTo>
                    <a:pt x="49663" y="54578"/>
                  </a:lnTo>
                  <a:lnTo>
                    <a:pt x="49663" y="30194"/>
                  </a:lnTo>
                  <a:lnTo>
                    <a:pt x="49949" y="25527"/>
                  </a:lnTo>
                  <a:cubicBezTo>
                    <a:pt x="51187" y="23527"/>
                    <a:pt x="54235" y="24289"/>
                    <a:pt x="54235" y="24289"/>
                  </a:cubicBezTo>
                  <a:cubicBezTo>
                    <a:pt x="54235" y="24289"/>
                    <a:pt x="89382" y="24289"/>
                    <a:pt x="97574" y="24765"/>
                  </a:cubicBezTo>
                  <a:cubicBezTo>
                    <a:pt x="101574" y="25051"/>
                    <a:pt x="109765" y="24479"/>
                    <a:pt x="111671" y="27527"/>
                  </a:cubicBezTo>
                  <a:cubicBezTo>
                    <a:pt x="113004" y="29623"/>
                    <a:pt x="113671" y="32385"/>
                    <a:pt x="113671" y="32385"/>
                  </a:cubicBezTo>
                  <a:cubicBezTo>
                    <a:pt x="113671" y="34957"/>
                    <a:pt x="115766" y="37052"/>
                    <a:pt x="118338" y="37052"/>
                  </a:cubicBezTo>
                  <a:lnTo>
                    <a:pt x="130530" y="37052"/>
                  </a:lnTo>
                  <a:cubicBezTo>
                    <a:pt x="133102" y="37052"/>
                    <a:pt x="135197" y="34957"/>
                    <a:pt x="135197" y="32385"/>
                  </a:cubicBezTo>
                  <a:lnTo>
                    <a:pt x="135674" y="4667"/>
                  </a:lnTo>
                  <a:cubicBezTo>
                    <a:pt x="135674" y="2096"/>
                    <a:pt x="133578" y="0"/>
                    <a:pt x="131006" y="0"/>
                  </a:cubicBezTo>
                  <a:lnTo>
                    <a:pt x="64617" y="0"/>
                  </a:lnTo>
                  <a:lnTo>
                    <a:pt x="1657" y="0"/>
                  </a:lnTo>
                  <a:cubicBezTo>
                    <a:pt x="895" y="0"/>
                    <a:pt x="228" y="667"/>
                    <a:pt x="228" y="1429"/>
                  </a:cubicBezTo>
                  <a:lnTo>
                    <a:pt x="38" y="19907"/>
                  </a:lnTo>
                  <a:cubicBezTo>
                    <a:pt x="38" y="19907"/>
                    <a:pt x="-153" y="20765"/>
                    <a:pt x="323" y="21431"/>
                  </a:cubicBezTo>
                  <a:cubicBezTo>
                    <a:pt x="799"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228" y="149924"/>
                  </a:lnTo>
                  <a:cubicBezTo>
                    <a:pt x="228" y="150686"/>
                    <a:pt x="895" y="151352"/>
                    <a:pt x="1657" y="151352"/>
                  </a:cubicBezTo>
                  <a:lnTo>
                    <a:pt x="52044" y="151352"/>
                  </a:lnTo>
                  <a:cubicBezTo>
                    <a:pt x="52044" y="151352"/>
                    <a:pt x="52139" y="151352"/>
                    <a:pt x="52139" y="151352"/>
                  </a:cubicBezTo>
                  <a:lnTo>
                    <a:pt x="137198" y="151352"/>
                  </a:lnTo>
                  <a:cubicBezTo>
                    <a:pt x="139769" y="151352"/>
                    <a:pt x="141865" y="149257"/>
                    <a:pt x="141865" y="146685"/>
                  </a:cubicBezTo>
                  <a:lnTo>
                    <a:pt x="141198" y="108680"/>
                  </a:ln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69" name="Freeform 68">
              <a:extLst>
                <a:ext uri="{FF2B5EF4-FFF2-40B4-BE49-F238E27FC236}">
                  <a16:creationId xmlns:a16="http://schemas.microsoft.com/office/drawing/2014/main" id="{6C132A06-4430-6944-85A6-4ADB6BC79426}"/>
                </a:ext>
              </a:extLst>
            </p:cNvPr>
            <p:cNvSpPr/>
            <p:nvPr/>
          </p:nvSpPr>
          <p:spPr>
            <a:xfrm>
              <a:off x="4389561" y="9956629"/>
              <a:ext cx="129672" cy="151352"/>
            </a:xfrm>
            <a:custGeom>
              <a:avLst/>
              <a:gdLst>
                <a:gd name="connsiteX0" fmla="*/ 124815 w 129672"/>
                <a:gd name="connsiteY0" fmla="*/ 0 h 151352"/>
                <a:gd name="connsiteX1" fmla="*/ 64522 w 129672"/>
                <a:gd name="connsiteY1" fmla="*/ 0 h 151352"/>
                <a:gd name="connsiteX2" fmla="*/ 1562 w 129672"/>
                <a:gd name="connsiteY2" fmla="*/ 0 h 151352"/>
                <a:gd name="connsiteX3" fmla="*/ 133 w 129672"/>
                <a:gd name="connsiteY3" fmla="*/ 1429 h 151352"/>
                <a:gd name="connsiteX4" fmla="*/ 38 w 129672"/>
                <a:gd name="connsiteY4" fmla="*/ 19907 h 151352"/>
                <a:gd name="connsiteX5" fmla="*/ 323 w 129672"/>
                <a:gd name="connsiteY5" fmla="*/ 21431 h 151352"/>
                <a:gd name="connsiteX6" fmla="*/ 1752 w 129672"/>
                <a:gd name="connsiteY6" fmla="*/ 22003 h 151352"/>
                <a:gd name="connsiteX7" fmla="*/ 16421 w 129672"/>
                <a:gd name="connsiteY7" fmla="*/ 30290 h 151352"/>
                <a:gd name="connsiteX8" fmla="*/ 16421 w 129672"/>
                <a:gd name="connsiteY8" fmla="*/ 121158 h 151352"/>
                <a:gd name="connsiteX9" fmla="*/ 1752 w 129672"/>
                <a:gd name="connsiteY9" fmla="*/ 129445 h 151352"/>
                <a:gd name="connsiteX10" fmla="*/ 323 w 129672"/>
                <a:gd name="connsiteY10" fmla="*/ 130016 h 151352"/>
                <a:gd name="connsiteX11" fmla="*/ 38 w 129672"/>
                <a:gd name="connsiteY11" fmla="*/ 131445 h 151352"/>
                <a:gd name="connsiteX12" fmla="*/ 133 w 129672"/>
                <a:gd name="connsiteY12" fmla="*/ 149924 h 151352"/>
                <a:gd name="connsiteX13" fmla="*/ 1562 w 129672"/>
                <a:gd name="connsiteY13" fmla="*/ 151352 h 151352"/>
                <a:gd name="connsiteX14" fmla="*/ 51949 w 129672"/>
                <a:gd name="connsiteY14" fmla="*/ 151352 h 151352"/>
                <a:gd name="connsiteX15" fmla="*/ 52044 w 129672"/>
                <a:gd name="connsiteY15" fmla="*/ 151352 h 151352"/>
                <a:gd name="connsiteX16" fmla="*/ 52044 w 129672"/>
                <a:gd name="connsiteY16" fmla="*/ 151352 h 151352"/>
                <a:gd name="connsiteX17" fmla="*/ 64522 w 129672"/>
                <a:gd name="connsiteY17" fmla="*/ 151352 h 151352"/>
                <a:gd name="connsiteX18" fmla="*/ 65951 w 129672"/>
                <a:gd name="connsiteY18" fmla="*/ 149924 h 151352"/>
                <a:gd name="connsiteX19" fmla="*/ 66141 w 129672"/>
                <a:gd name="connsiteY19" fmla="*/ 131445 h 151352"/>
                <a:gd name="connsiteX20" fmla="*/ 65855 w 129672"/>
                <a:gd name="connsiteY20" fmla="*/ 130016 h 151352"/>
                <a:gd name="connsiteX21" fmla="*/ 64427 w 129672"/>
                <a:gd name="connsiteY21" fmla="*/ 129445 h 151352"/>
                <a:gd name="connsiteX22" fmla="*/ 52616 w 129672"/>
                <a:gd name="connsiteY22" fmla="*/ 124968 h 151352"/>
                <a:gd name="connsiteX23" fmla="*/ 51758 w 129672"/>
                <a:gd name="connsiteY23" fmla="*/ 124301 h 151352"/>
                <a:gd name="connsiteX24" fmla="*/ 51377 w 129672"/>
                <a:gd name="connsiteY24" fmla="*/ 124016 h 151352"/>
                <a:gd name="connsiteX25" fmla="*/ 50711 w 129672"/>
                <a:gd name="connsiteY25" fmla="*/ 123254 h 151352"/>
                <a:gd name="connsiteX26" fmla="*/ 50615 w 129672"/>
                <a:gd name="connsiteY26" fmla="*/ 123158 h 151352"/>
                <a:gd name="connsiteX27" fmla="*/ 50044 w 129672"/>
                <a:gd name="connsiteY27" fmla="*/ 122206 h 151352"/>
                <a:gd name="connsiteX28" fmla="*/ 49949 w 129672"/>
                <a:gd name="connsiteY28" fmla="*/ 122015 h 151352"/>
                <a:gd name="connsiteX29" fmla="*/ 49758 w 129672"/>
                <a:gd name="connsiteY29" fmla="*/ 121063 h 151352"/>
                <a:gd name="connsiteX30" fmla="*/ 49758 w 129672"/>
                <a:gd name="connsiteY30" fmla="*/ 82010 h 151352"/>
                <a:gd name="connsiteX31" fmla="*/ 91478 w 129672"/>
                <a:gd name="connsiteY31" fmla="*/ 82010 h 151352"/>
                <a:gd name="connsiteX32" fmla="*/ 98050 w 129672"/>
                <a:gd name="connsiteY32" fmla="*/ 90583 h 151352"/>
                <a:gd name="connsiteX33" fmla="*/ 98526 w 129672"/>
                <a:gd name="connsiteY33" fmla="*/ 91726 h 151352"/>
                <a:gd name="connsiteX34" fmla="*/ 99669 w 129672"/>
                <a:gd name="connsiteY34" fmla="*/ 91916 h 151352"/>
                <a:gd name="connsiteX35" fmla="*/ 114338 w 129672"/>
                <a:gd name="connsiteY35" fmla="*/ 91821 h 151352"/>
                <a:gd name="connsiteX36" fmla="*/ 115481 w 129672"/>
                <a:gd name="connsiteY36" fmla="*/ 90678 h 151352"/>
                <a:gd name="connsiteX37" fmla="*/ 115481 w 129672"/>
                <a:gd name="connsiteY37" fmla="*/ 60388 h 151352"/>
                <a:gd name="connsiteX38" fmla="*/ 115481 w 129672"/>
                <a:gd name="connsiteY38" fmla="*/ 48863 h 151352"/>
                <a:gd name="connsiteX39" fmla="*/ 114338 w 129672"/>
                <a:gd name="connsiteY39" fmla="*/ 47720 h 151352"/>
                <a:gd name="connsiteX40" fmla="*/ 99669 w 129672"/>
                <a:gd name="connsiteY40" fmla="*/ 47625 h 151352"/>
                <a:gd name="connsiteX41" fmla="*/ 98526 w 129672"/>
                <a:gd name="connsiteY41" fmla="*/ 47816 h 151352"/>
                <a:gd name="connsiteX42" fmla="*/ 98050 w 129672"/>
                <a:gd name="connsiteY42" fmla="*/ 48958 h 151352"/>
                <a:gd name="connsiteX43" fmla="*/ 91478 w 129672"/>
                <a:gd name="connsiteY43" fmla="*/ 57531 h 151352"/>
                <a:gd name="connsiteX44" fmla="*/ 49758 w 129672"/>
                <a:gd name="connsiteY44" fmla="*/ 57531 h 151352"/>
                <a:gd name="connsiteX45" fmla="*/ 49758 w 129672"/>
                <a:gd name="connsiteY45" fmla="*/ 30099 h 151352"/>
                <a:gd name="connsiteX46" fmla="*/ 50044 w 129672"/>
                <a:gd name="connsiteY46" fmla="*/ 25432 h 151352"/>
                <a:gd name="connsiteX47" fmla="*/ 54330 w 129672"/>
                <a:gd name="connsiteY47" fmla="*/ 24194 h 151352"/>
                <a:gd name="connsiteX48" fmla="*/ 91573 w 129672"/>
                <a:gd name="connsiteY48" fmla="*/ 24670 h 151352"/>
                <a:gd name="connsiteX49" fmla="*/ 105670 w 129672"/>
                <a:gd name="connsiteY49" fmla="*/ 27432 h 151352"/>
                <a:gd name="connsiteX50" fmla="*/ 107670 w 129672"/>
                <a:gd name="connsiteY50" fmla="*/ 32290 h 151352"/>
                <a:gd name="connsiteX51" fmla="*/ 112337 w 129672"/>
                <a:gd name="connsiteY51" fmla="*/ 36957 h 151352"/>
                <a:gd name="connsiteX52" fmla="*/ 124529 w 129672"/>
                <a:gd name="connsiteY52" fmla="*/ 36957 h 151352"/>
                <a:gd name="connsiteX53" fmla="*/ 129197 w 129672"/>
                <a:gd name="connsiteY53" fmla="*/ 32290 h 151352"/>
                <a:gd name="connsiteX54" fmla="*/ 129673 w 129672"/>
                <a:gd name="connsiteY54" fmla="*/ 4572 h 151352"/>
                <a:gd name="connsiteX55" fmla="*/ 124815 w 129672"/>
                <a:gd name="connsiteY55" fmla="*/ 0 h 1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9672" h="151352">
                  <a:moveTo>
                    <a:pt x="124815" y="0"/>
                  </a:moveTo>
                  <a:lnTo>
                    <a:pt x="64522" y="0"/>
                  </a:lnTo>
                  <a:lnTo>
                    <a:pt x="1562" y="0"/>
                  </a:lnTo>
                  <a:cubicBezTo>
                    <a:pt x="800" y="0"/>
                    <a:pt x="133" y="667"/>
                    <a:pt x="133" y="1429"/>
                  </a:cubicBezTo>
                  <a:lnTo>
                    <a:pt x="38" y="19907"/>
                  </a:lnTo>
                  <a:cubicBezTo>
                    <a:pt x="38" y="19907"/>
                    <a:pt x="-153" y="20765"/>
                    <a:pt x="323" y="21431"/>
                  </a:cubicBezTo>
                  <a:cubicBezTo>
                    <a:pt x="800" y="22098"/>
                    <a:pt x="1752" y="22003"/>
                    <a:pt x="1752" y="22003"/>
                  </a:cubicBezTo>
                  <a:cubicBezTo>
                    <a:pt x="8134" y="23050"/>
                    <a:pt x="16421" y="26670"/>
                    <a:pt x="16421" y="30290"/>
                  </a:cubicBezTo>
                  <a:lnTo>
                    <a:pt x="16421" y="121158"/>
                  </a:lnTo>
                  <a:cubicBezTo>
                    <a:pt x="16421" y="124778"/>
                    <a:pt x="8134" y="128397"/>
                    <a:pt x="1752" y="129445"/>
                  </a:cubicBezTo>
                  <a:cubicBezTo>
                    <a:pt x="1752" y="129445"/>
                    <a:pt x="704" y="129350"/>
                    <a:pt x="323" y="130016"/>
                  </a:cubicBezTo>
                  <a:cubicBezTo>
                    <a:pt x="-153" y="130683"/>
                    <a:pt x="38" y="131445"/>
                    <a:pt x="38" y="131445"/>
                  </a:cubicBezTo>
                  <a:lnTo>
                    <a:pt x="133" y="149924"/>
                  </a:lnTo>
                  <a:cubicBezTo>
                    <a:pt x="133" y="150686"/>
                    <a:pt x="800" y="151352"/>
                    <a:pt x="1562" y="151352"/>
                  </a:cubicBezTo>
                  <a:lnTo>
                    <a:pt x="51949" y="151352"/>
                  </a:lnTo>
                  <a:cubicBezTo>
                    <a:pt x="51949" y="151352"/>
                    <a:pt x="52044" y="151352"/>
                    <a:pt x="52044" y="151352"/>
                  </a:cubicBezTo>
                  <a:lnTo>
                    <a:pt x="52044" y="151352"/>
                  </a:lnTo>
                  <a:lnTo>
                    <a:pt x="64522" y="151352"/>
                  </a:lnTo>
                  <a:cubicBezTo>
                    <a:pt x="65284" y="151352"/>
                    <a:pt x="65951" y="150686"/>
                    <a:pt x="65951" y="149924"/>
                  </a:cubicBezTo>
                  <a:lnTo>
                    <a:pt x="66141" y="131445"/>
                  </a:lnTo>
                  <a:cubicBezTo>
                    <a:pt x="66046" y="131445"/>
                    <a:pt x="66332" y="130588"/>
                    <a:pt x="65855" y="130016"/>
                  </a:cubicBezTo>
                  <a:cubicBezTo>
                    <a:pt x="65379" y="129350"/>
                    <a:pt x="64427" y="129445"/>
                    <a:pt x="64427" y="129445"/>
                  </a:cubicBezTo>
                  <a:cubicBezTo>
                    <a:pt x="60426" y="128778"/>
                    <a:pt x="55569" y="127063"/>
                    <a:pt x="52616" y="124968"/>
                  </a:cubicBezTo>
                  <a:cubicBezTo>
                    <a:pt x="52330" y="124778"/>
                    <a:pt x="52044" y="124492"/>
                    <a:pt x="51758" y="124301"/>
                  </a:cubicBezTo>
                  <a:cubicBezTo>
                    <a:pt x="51663" y="124206"/>
                    <a:pt x="51568" y="124111"/>
                    <a:pt x="51377" y="124016"/>
                  </a:cubicBezTo>
                  <a:cubicBezTo>
                    <a:pt x="51092" y="123730"/>
                    <a:pt x="50901" y="123539"/>
                    <a:pt x="50711" y="123254"/>
                  </a:cubicBezTo>
                  <a:cubicBezTo>
                    <a:pt x="50711" y="123254"/>
                    <a:pt x="50615" y="123158"/>
                    <a:pt x="50615" y="123158"/>
                  </a:cubicBezTo>
                  <a:cubicBezTo>
                    <a:pt x="50330" y="122873"/>
                    <a:pt x="50235" y="122587"/>
                    <a:pt x="50044" y="122206"/>
                  </a:cubicBezTo>
                  <a:cubicBezTo>
                    <a:pt x="50044" y="122111"/>
                    <a:pt x="50044" y="122111"/>
                    <a:pt x="49949" y="122015"/>
                  </a:cubicBezTo>
                  <a:cubicBezTo>
                    <a:pt x="49853" y="121729"/>
                    <a:pt x="49758" y="121349"/>
                    <a:pt x="49758" y="121063"/>
                  </a:cubicBezTo>
                  <a:lnTo>
                    <a:pt x="49758" y="82010"/>
                  </a:lnTo>
                  <a:lnTo>
                    <a:pt x="91478" y="82010"/>
                  </a:lnTo>
                  <a:cubicBezTo>
                    <a:pt x="94335" y="82010"/>
                    <a:pt x="97193" y="85534"/>
                    <a:pt x="98050" y="90583"/>
                  </a:cubicBezTo>
                  <a:cubicBezTo>
                    <a:pt x="98050" y="90583"/>
                    <a:pt x="98050" y="91440"/>
                    <a:pt x="98526" y="91726"/>
                  </a:cubicBezTo>
                  <a:cubicBezTo>
                    <a:pt x="99002" y="92107"/>
                    <a:pt x="99669" y="91916"/>
                    <a:pt x="99669" y="91916"/>
                  </a:cubicBezTo>
                  <a:lnTo>
                    <a:pt x="114338" y="91821"/>
                  </a:lnTo>
                  <a:cubicBezTo>
                    <a:pt x="114909" y="91821"/>
                    <a:pt x="115481" y="91345"/>
                    <a:pt x="115481" y="90678"/>
                  </a:cubicBezTo>
                  <a:lnTo>
                    <a:pt x="115481" y="60388"/>
                  </a:lnTo>
                  <a:lnTo>
                    <a:pt x="115481" y="48863"/>
                  </a:lnTo>
                  <a:cubicBezTo>
                    <a:pt x="115481" y="48292"/>
                    <a:pt x="115004" y="47720"/>
                    <a:pt x="114338" y="47720"/>
                  </a:cubicBezTo>
                  <a:lnTo>
                    <a:pt x="99669" y="47625"/>
                  </a:lnTo>
                  <a:cubicBezTo>
                    <a:pt x="99669" y="47625"/>
                    <a:pt x="99002" y="47530"/>
                    <a:pt x="98526" y="47816"/>
                  </a:cubicBezTo>
                  <a:cubicBezTo>
                    <a:pt x="98050" y="48196"/>
                    <a:pt x="98050" y="48958"/>
                    <a:pt x="98050" y="48958"/>
                  </a:cubicBezTo>
                  <a:cubicBezTo>
                    <a:pt x="97193" y="54007"/>
                    <a:pt x="94335" y="57531"/>
                    <a:pt x="91478" y="57531"/>
                  </a:cubicBezTo>
                  <a:lnTo>
                    <a:pt x="49758" y="57531"/>
                  </a:lnTo>
                  <a:lnTo>
                    <a:pt x="49758" y="30099"/>
                  </a:lnTo>
                  <a:lnTo>
                    <a:pt x="50044" y="25432"/>
                  </a:lnTo>
                  <a:cubicBezTo>
                    <a:pt x="51282" y="23432"/>
                    <a:pt x="54330" y="24194"/>
                    <a:pt x="54330" y="24194"/>
                  </a:cubicBezTo>
                  <a:cubicBezTo>
                    <a:pt x="54330" y="24194"/>
                    <a:pt x="83381" y="24194"/>
                    <a:pt x="91573" y="24670"/>
                  </a:cubicBezTo>
                  <a:cubicBezTo>
                    <a:pt x="95573" y="24956"/>
                    <a:pt x="103765" y="24384"/>
                    <a:pt x="105670" y="27432"/>
                  </a:cubicBezTo>
                  <a:cubicBezTo>
                    <a:pt x="107003" y="29528"/>
                    <a:pt x="107670" y="32290"/>
                    <a:pt x="107670" y="32290"/>
                  </a:cubicBezTo>
                  <a:cubicBezTo>
                    <a:pt x="107670" y="34862"/>
                    <a:pt x="109766" y="36957"/>
                    <a:pt x="112337" y="36957"/>
                  </a:cubicBezTo>
                  <a:lnTo>
                    <a:pt x="124529" y="36957"/>
                  </a:lnTo>
                  <a:cubicBezTo>
                    <a:pt x="127101" y="36957"/>
                    <a:pt x="129197" y="34862"/>
                    <a:pt x="129197" y="32290"/>
                  </a:cubicBezTo>
                  <a:lnTo>
                    <a:pt x="129673" y="4572"/>
                  </a:lnTo>
                  <a:cubicBezTo>
                    <a:pt x="129482" y="2096"/>
                    <a:pt x="127387" y="0"/>
                    <a:pt x="124815" y="0"/>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70" name="Freeform 69">
              <a:extLst>
                <a:ext uri="{FF2B5EF4-FFF2-40B4-BE49-F238E27FC236}">
                  <a16:creationId xmlns:a16="http://schemas.microsoft.com/office/drawing/2014/main" id="{2FFEDBAD-5975-894E-A62C-DB56F58CC58C}"/>
                </a:ext>
              </a:extLst>
            </p:cNvPr>
            <p:cNvSpPr/>
            <p:nvPr/>
          </p:nvSpPr>
          <p:spPr>
            <a:xfrm>
              <a:off x="4626580" y="9956915"/>
              <a:ext cx="4000" cy="3619"/>
            </a:xfrm>
            <a:custGeom>
              <a:avLst/>
              <a:gdLst>
                <a:gd name="connsiteX0" fmla="*/ 4001 w 4000"/>
                <a:gd name="connsiteY0" fmla="*/ 0 h 3619"/>
                <a:gd name="connsiteX1" fmla="*/ 1524 w 4000"/>
                <a:gd name="connsiteY1" fmla="*/ 762 h 3619"/>
                <a:gd name="connsiteX2" fmla="*/ 0 w 4000"/>
                <a:gd name="connsiteY2" fmla="*/ 3620 h 3619"/>
              </a:gdLst>
              <a:ahLst/>
              <a:cxnLst>
                <a:cxn ang="0">
                  <a:pos x="connsiteX0" y="connsiteY0"/>
                </a:cxn>
                <a:cxn ang="0">
                  <a:pos x="connsiteX1" y="connsiteY1"/>
                </a:cxn>
                <a:cxn ang="0">
                  <a:pos x="connsiteX2" y="connsiteY2"/>
                </a:cxn>
              </a:cxnLst>
              <a:rect l="l" t="t" r="r" b="b"/>
              <a:pathLst>
                <a:path w="4000" h="3619">
                  <a:moveTo>
                    <a:pt x="4001" y="0"/>
                  </a:moveTo>
                  <a:cubicBezTo>
                    <a:pt x="4001" y="0"/>
                    <a:pt x="2286" y="0"/>
                    <a:pt x="1524" y="762"/>
                  </a:cubicBezTo>
                  <a:cubicBezTo>
                    <a:pt x="762" y="1524"/>
                    <a:pt x="0" y="3620"/>
                    <a:pt x="0" y="3620"/>
                  </a:cubicBezTo>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71" name="Freeform 70">
              <a:extLst>
                <a:ext uri="{FF2B5EF4-FFF2-40B4-BE49-F238E27FC236}">
                  <a16:creationId xmlns:a16="http://schemas.microsoft.com/office/drawing/2014/main" id="{33FFA759-A144-E94C-8A4A-6B0E7963DEE6}"/>
                </a:ext>
              </a:extLst>
            </p:cNvPr>
            <p:cNvSpPr/>
            <p:nvPr/>
          </p:nvSpPr>
          <p:spPr>
            <a:xfrm>
              <a:off x="4563773" y="9956654"/>
              <a:ext cx="354462" cy="151327"/>
            </a:xfrm>
            <a:custGeom>
              <a:avLst/>
              <a:gdLst>
                <a:gd name="connsiteX0" fmla="*/ 353510 w 354462"/>
                <a:gd name="connsiteY0" fmla="*/ 131420 h 151327"/>
                <a:gd name="connsiteX1" fmla="*/ 353224 w 354462"/>
                <a:gd name="connsiteY1" fmla="*/ 129991 h 151327"/>
                <a:gd name="connsiteX2" fmla="*/ 351796 w 354462"/>
                <a:gd name="connsiteY2" fmla="*/ 129420 h 151327"/>
                <a:gd name="connsiteX3" fmla="*/ 337127 w 354462"/>
                <a:gd name="connsiteY3" fmla="*/ 121133 h 151327"/>
                <a:gd name="connsiteX4" fmla="*/ 318363 w 354462"/>
                <a:gd name="connsiteY4" fmla="*/ 30360 h 151327"/>
                <a:gd name="connsiteX5" fmla="*/ 328269 w 354462"/>
                <a:gd name="connsiteY5" fmla="*/ 22073 h 151327"/>
                <a:gd name="connsiteX6" fmla="*/ 329698 w 354462"/>
                <a:gd name="connsiteY6" fmla="*/ 21502 h 151327"/>
                <a:gd name="connsiteX7" fmla="*/ 329983 w 354462"/>
                <a:gd name="connsiteY7" fmla="*/ 20073 h 151327"/>
                <a:gd name="connsiteX8" fmla="*/ 329793 w 354462"/>
                <a:gd name="connsiteY8" fmla="*/ 1594 h 151327"/>
                <a:gd name="connsiteX9" fmla="*/ 328364 w 354462"/>
                <a:gd name="connsiteY9" fmla="*/ 166 h 151327"/>
                <a:gd name="connsiteX10" fmla="*/ 281501 w 354462"/>
                <a:gd name="connsiteY10" fmla="*/ 166 h 151327"/>
                <a:gd name="connsiteX11" fmla="*/ 274929 w 354462"/>
                <a:gd name="connsiteY11" fmla="*/ 642 h 151327"/>
                <a:gd name="connsiteX12" fmla="*/ 271881 w 354462"/>
                <a:gd name="connsiteY12" fmla="*/ 5690 h 151327"/>
                <a:gd name="connsiteX13" fmla="*/ 261689 w 354462"/>
                <a:gd name="connsiteY13" fmla="*/ 37218 h 151327"/>
                <a:gd name="connsiteX14" fmla="*/ 254069 w 354462"/>
                <a:gd name="connsiteY14" fmla="*/ 57601 h 151327"/>
                <a:gd name="connsiteX15" fmla="*/ 247402 w 354462"/>
                <a:gd name="connsiteY15" fmla="*/ 38266 h 151327"/>
                <a:gd name="connsiteX16" fmla="*/ 237210 w 354462"/>
                <a:gd name="connsiteY16" fmla="*/ 8262 h 151327"/>
                <a:gd name="connsiteX17" fmla="*/ 233114 w 354462"/>
                <a:gd name="connsiteY17" fmla="*/ 1118 h 151327"/>
                <a:gd name="connsiteX18" fmla="*/ 225494 w 354462"/>
                <a:gd name="connsiteY18" fmla="*/ 70 h 151327"/>
                <a:gd name="connsiteX19" fmla="*/ 178727 w 354462"/>
                <a:gd name="connsiteY19" fmla="*/ 70 h 151327"/>
                <a:gd name="connsiteX20" fmla="*/ 177298 w 354462"/>
                <a:gd name="connsiteY20" fmla="*/ 1499 h 151327"/>
                <a:gd name="connsiteX21" fmla="*/ 177107 w 354462"/>
                <a:gd name="connsiteY21" fmla="*/ 19978 h 151327"/>
                <a:gd name="connsiteX22" fmla="*/ 177393 w 354462"/>
                <a:gd name="connsiteY22" fmla="*/ 21406 h 151327"/>
                <a:gd name="connsiteX23" fmla="*/ 178917 w 354462"/>
                <a:gd name="connsiteY23" fmla="*/ 21978 h 151327"/>
                <a:gd name="connsiteX24" fmla="*/ 188823 w 354462"/>
                <a:gd name="connsiteY24" fmla="*/ 30265 h 151327"/>
                <a:gd name="connsiteX25" fmla="*/ 170059 w 354462"/>
                <a:gd name="connsiteY25" fmla="*/ 121038 h 151327"/>
                <a:gd name="connsiteX26" fmla="*/ 164439 w 354462"/>
                <a:gd name="connsiteY26" fmla="*/ 126467 h 151327"/>
                <a:gd name="connsiteX27" fmla="*/ 158819 w 354462"/>
                <a:gd name="connsiteY27" fmla="*/ 121038 h 151327"/>
                <a:gd name="connsiteX28" fmla="*/ 112432 w 354462"/>
                <a:gd name="connsiteY28" fmla="*/ 3880 h 151327"/>
                <a:gd name="connsiteX29" fmla="*/ 110908 w 354462"/>
                <a:gd name="connsiteY29" fmla="*/ 1023 h 151327"/>
                <a:gd name="connsiteX30" fmla="*/ 108623 w 354462"/>
                <a:gd name="connsiteY30" fmla="*/ 261 h 151327"/>
                <a:gd name="connsiteX31" fmla="*/ 66808 w 354462"/>
                <a:gd name="connsiteY31" fmla="*/ 261 h 151327"/>
                <a:gd name="connsiteX32" fmla="*/ 64331 w 354462"/>
                <a:gd name="connsiteY32" fmla="*/ 1023 h 151327"/>
                <a:gd name="connsiteX33" fmla="*/ 62807 w 354462"/>
                <a:gd name="connsiteY33" fmla="*/ 3880 h 151327"/>
                <a:gd name="connsiteX34" fmla="*/ 16421 w 354462"/>
                <a:gd name="connsiteY34" fmla="*/ 121038 h 151327"/>
                <a:gd name="connsiteX35" fmla="*/ 1752 w 354462"/>
                <a:gd name="connsiteY35" fmla="*/ 129325 h 151327"/>
                <a:gd name="connsiteX36" fmla="*/ 323 w 354462"/>
                <a:gd name="connsiteY36" fmla="*/ 129896 h 151327"/>
                <a:gd name="connsiteX37" fmla="*/ 38 w 354462"/>
                <a:gd name="connsiteY37" fmla="*/ 131325 h 151327"/>
                <a:gd name="connsiteX38" fmla="*/ 228 w 354462"/>
                <a:gd name="connsiteY38" fmla="*/ 149803 h 151327"/>
                <a:gd name="connsiteX39" fmla="*/ 1657 w 354462"/>
                <a:gd name="connsiteY39" fmla="*/ 151232 h 151327"/>
                <a:gd name="connsiteX40" fmla="*/ 61569 w 354462"/>
                <a:gd name="connsiteY40" fmla="*/ 151232 h 151327"/>
                <a:gd name="connsiteX41" fmla="*/ 62998 w 354462"/>
                <a:gd name="connsiteY41" fmla="*/ 149803 h 151327"/>
                <a:gd name="connsiteX42" fmla="*/ 63188 w 354462"/>
                <a:gd name="connsiteY42" fmla="*/ 131325 h 151327"/>
                <a:gd name="connsiteX43" fmla="*/ 62903 w 354462"/>
                <a:gd name="connsiteY43" fmla="*/ 129896 h 151327"/>
                <a:gd name="connsiteX44" fmla="*/ 61474 w 354462"/>
                <a:gd name="connsiteY44" fmla="*/ 129325 h 151327"/>
                <a:gd name="connsiteX45" fmla="*/ 49853 w 354462"/>
                <a:gd name="connsiteY45" fmla="*/ 121038 h 151327"/>
                <a:gd name="connsiteX46" fmla="*/ 59283 w 354462"/>
                <a:gd name="connsiteY46" fmla="*/ 97321 h 151327"/>
                <a:gd name="connsiteX47" fmla="*/ 107575 w 354462"/>
                <a:gd name="connsiteY47" fmla="*/ 97321 h 151327"/>
                <a:gd name="connsiteX48" fmla="*/ 116814 w 354462"/>
                <a:gd name="connsiteY48" fmla="*/ 121038 h 151327"/>
                <a:gd name="connsiteX49" fmla="*/ 108241 w 354462"/>
                <a:gd name="connsiteY49" fmla="*/ 129325 h 151327"/>
                <a:gd name="connsiteX50" fmla="*/ 106813 w 354462"/>
                <a:gd name="connsiteY50" fmla="*/ 129896 h 151327"/>
                <a:gd name="connsiteX51" fmla="*/ 106527 w 354462"/>
                <a:gd name="connsiteY51" fmla="*/ 131325 h 151327"/>
                <a:gd name="connsiteX52" fmla="*/ 106432 w 354462"/>
                <a:gd name="connsiteY52" fmla="*/ 149803 h 151327"/>
                <a:gd name="connsiteX53" fmla="*/ 107861 w 354462"/>
                <a:gd name="connsiteY53" fmla="*/ 151232 h 151327"/>
                <a:gd name="connsiteX54" fmla="*/ 211874 w 354462"/>
                <a:gd name="connsiteY54" fmla="*/ 151232 h 151327"/>
                <a:gd name="connsiteX55" fmla="*/ 213302 w 354462"/>
                <a:gd name="connsiteY55" fmla="*/ 149803 h 151327"/>
                <a:gd name="connsiteX56" fmla="*/ 213302 w 354462"/>
                <a:gd name="connsiteY56" fmla="*/ 131325 h 151327"/>
                <a:gd name="connsiteX57" fmla="*/ 213016 w 354462"/>
                <a:gd name="connsiteY57" fmla="*/ 129896 h 151327"/>
                <a:gd name="connsiteX58" fmla="*/ 211588 w 354462"/>
                <a:gd name="connsiteY58" fmla="*/ 129325 h 151327"/>
                <a:gd name="connsiteX59" fmla="*/ 203777 w 354462"/>
                <a:gd name="connsiteY59" fmla="*/ 121038 h 151327"/>
                <a:gd name="connsiteX60" fmla="*/ 212350 w 354462"/>
                <a:gd name="connsiteY60" fmla="*/ 57125 h 151327"/>
                <a:gd name="connsiteX61" fmla="*/ 213874 w 354462"/>
                <a:gd name="connsiteY61" fmla="*/ 51029 h 151327"/>
                <a:gd name="connsiteX62" fmla="*/ 217970 w 354462"/>
                <a:gd name="connsiteY62" fmla="*/ 60745 h 151327"/>
                <a:gd name="connsiteX63" fmla="*/ 230733 w 354462"/>
                <a:gd name="connsiteY63" fmla="*/ 106084 h 151327"/>
                <a:gd name="connsiteX64" fmla="*/ 234257 w 354462"/>
                <a:gd name="connsiteY64" fmla="*/ 112180 h 151327"/>
                <a:gd name="connsiteX65" fmla="*/ 241401 w 354462"/>
                <a:gd name="connsiteY65" fmla="*/ 115704 h 151327"/>
                <a:gd name="connsiteX66" fmla="*/ 252069 w 354462"/>
                <a:gd name="connsiteY66" fmla="*/ 115704 h 151327"/>
                <a:gd name="connsiteX67" fmla="*/ 260737 w 354462"/>
                <a:gd name="connsiteY67" fmla="*/ 115704 h 151327"/>
                <a:gd name="connsiteX68" fmla="*/ 265309 w 354462"/>
                <a:gd name="connsiteY68" fmla="*/ 113704 h 151327"/>
                <a:gd name="connsiteX69" fmla="*/ 270357 w 354462"/>
                <a:gd name="connsiteY69" fmla="*/ 104560 h 151327"/>
                <a:gd name="connsiteX70" fmla="*/ 284645 w 354462"/>
                <a:gd name="connsiteY70" fmla="*/ 55220 h 151327"/>
                <a:gd name="connsiteX71" fmla="*/ 287216 w 354462"/>
                <a:gd name="connsiteY71" fmla="*/ 50648 h 151327"/>
                <a:gd name="connsiteX72" fmla="*/ 289693 w 354462"/>
                <a:gd name="connsiteY72" fmla="*/ 57220 h 151327"/>
                <a:gd name="connsiteX73" fmla="*/ 298265 w 354462"/>
                <a:gd name="connsiteY73" fmla="*/ 121133 h 151327"/>
                <a:gd name="connsiteX74" fmla="*/ 290455 w 354462"/>
                <a:gd name="connsiteY74" fmla="*/ 129420 h 151327"/>
                <a:gd name="connsiteX75" fmla="*/ 289026 w 354462"/>
                <a:gd name="connsiteY75" fmla="*/ 129991 h 151327"/>
                <a:gd name="connsiteX76" fmla="*/ 288740 w 354462"/>
                <a:gd name="connsiteY76" fmla="*/ 131420 h 151327"/>
                <a:gd name="connsiteX77" fmla="*/ 288359 w 354462"/>
                <a:gd name="connsiteY77" fmla="*/ 149899 h 151327"/>
                <a:gd name="connsiteX78" fmla="*/ 289788 w 354462"/>
                <a:gd name="connsiteY78" fmla="*/ 151327 h 151327"/>
                <a:gd name="connsiteX79" fmla="*/ 353034 w 354462"/>
                <a:gd name="connsiteY79" fmla="*/ 151327 h 151327"/>
                <a:gd name="connsiteX80" fmla="*/ 354463 w 354462"/>
                <a:gd name="connsiteY80" fmla="*/ 149899 h 151327"/>
                <a:gd name="connsiteX81" fmla="*/ 353510 w 354462"/>
                <a:gd name="connsiteY81" fmla="*/ 131420 h 151327"/>
                <a:gd name="connsiteX82" fmla="*/ 96621 w 354462"/>
                <a:gd name="connsiteY82" fmla="*/ 71317 h 151327"/>
                <a:gd name="connsiteX83" fmla="*/ 94145 w 354462"/>
                <a:gd name="connsiteY83" fmla="*/ 71889 h 151327"/>
                <a:gd name="connsiteX84" fmla="*/ 72047 w 354462"/>
                <a:gd name="connsiteY84" fmla="*/ 71889 h 151327"/>
                <a:gd name="connsiteX85" fmla="*/ 69761 w 354462"/>
                <a:gd name="connsiteY85" fmla="*/ 71508 h 151327"/>
                <a:gd name="connsiteX86" fmla="*/ 70332 w 354462"/>
                <a:gd name="connsiteY86" fmla="*/ 69031 h 151327"/>
                <a:gd name="connsiteX87" fmla="*/ 83286 w 354462"/>
                <a:gd name="connsiteY87" fmla="*/ 35027 h 151327"/>
                <a:gd name="connsiteX88" fmla="*/ 95859 w 354462"/>
                <a:gd name="connsiteY88" fmla="*/ 68079 h 151327"/>
                <a:gd name="connsiteX89" fmla="*/ 96621 w 354462"/>
                <a:gd name="connsiteY89" fmla="*/ 71317 h 15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4462" h="151327">
                  <a:moveTo>
                    <a:pt x="353510" y="131420"/>
                  </a:moveTo>
                  <a:cubicBezTo>
                    <a:pt x="353415" y="131420"/>
                    <a:pt x="353606" y="130563"/>
                    <a:pt x="353224" y="129991"/>
                  </a:cubicBezTo>
                  <a:cubicBezTo>
                    <a:pt x="352748" y="129325"/>
                    <a:pt x="351796" y="129420"/>
                    <a:pt x="351796" y="129420"/>
                  </a:cubicBezTo>
                  <a:cubicBezTo>
                    <a:pt x="345414" y="128372"/>
                    <a:pt x="337127" y="124753"/>
                    <a:pt x="337127" y="121133"/>
                  </a:cubicBezTo>
                  <a:lnTo>
                    <a:pt x="318363" y="30360"/>
                  </a:lnTo>
                  <a:cubicBezTo>
                    <a:pt x="318363" y="26740"/>
                    <a:pt x="321887" y="23121"/>
                    <a:pt x="328269" y="22073"/>
                  </a:cubicBezTo>
                  <a:cubicBezTo>
                    <a:pt x="328269" y="22073"/>
                    <a:pt x="329317" y="22073"/>
                    <a:pt x="329698" y="21502"/>
                  </a:cubicBezTo>
                  <a:cubicBezTo>
                    <a:pt x="330174" y="20835"/>
                    <a:pt x="329983" y="20073"/>
                    <a:pt x="329983" y="20073"/>
                  </a:cubicBezTo>
                  <a:lnTo>
                    <a:pt x="329793" y="1594"/>
                  </a:lnTo>
                  <a:cubicBezTo>
                    <a:pt x="329793" y="832"/>
                    <a:pt x="329126" y="166"/>
                    <a:pt x="328364" y="166"/>
                  </a:cubicBezTo>
                  <a:lnTo>
                    <a:pt x="281501" y="166"/>
                  </a:lnTo>
                  <a:cubicBezTo>
                    <a:pt x="281501" y="166"/>
                    <a:pt x="276453" y="-311"/>
                    <a:pt x="274929" y="642"/>
                  </a:cubicBezTo>
                  <a:cubicBezTo>
                    <a:pt x="273405" y="1690"/>
                    <a:pt x="271881" y="5690"/>
                    <a:pt x="271881" y="5690"/>
                  </a:cubicBezTo>
                  <a:lnTo>
                    <a:pt x="261689" y="37218"/>
                  </a:lnTo>
                  <a:cubicBezTo>
                    <a:pt x="261689" y="37218"/>
                    <a:pt x="255593" y="57601"/>
                    <a:pt x="254069" y="57601"/>
                  </a:cubicBezTo>
                  <a:cubicBezTo>
                    <a:pt x="252545" y="57601"/>
                    <a:pt x="247402" y="38266"/>
                    <a:pt x="247402" y="38266"/>
                  </a:cubicBezTo>
                  <a:lnTo>
                    <a:pt x="237210" y="8262"/>
                  </a:lnTo>
                  <a:cubicBezTo>
                    <a:pt x="237210" y="8262"/>
                    <a:pt x="235210" y="2642"/>
                    <a:pt x="233114" y="1118"/>
                  </a:cubicBezTo>
                  <a:cubicBezTo>
                    <a:pt x="231114" y="-406"/>
                    <a:pt x="225494" y="70"/>
                    <a:pt x="225494" y="70"/>
                  </a:cubicBezTo>
                  <a:lnTo>
                    <a:pt x="178727" y="70"/>
                  </a:lnTo>
                  <a:cubicBezTo>
                    <a:pt x="177965" y="70"/>
                    <a:pt x="177298" y="737"/>
                    <a:pt x="177298" y="1499"/>
                  </a:cubicBezTo>
                  <a:lnTo>
                    <a:pt x="177107" y="19978"/>
                  </a:lnTo>
                  <a:cubicBezTo>
                    <a:pt x="177107" y="19978"/>
                    <a:pt x="176917" y="20835"/>
                    <a:pt x="177393" y="21406"/>
                  </a:cubicBezTo>
                  <a:cubicBezTo>
                    <a:pt x="177869" y="22073"/>
                    <a:pt x="178917" y="21978"/>
                    <a:pt x="178917" y="21978"/>
                  </a:cubicBezTo>
                  <a:cubicBezTo>
                    <a:pt x="185299" y="23026"/>
                    <a:pt x="188823" y="26645"/>
                    <a:pt x="188823" y="30265"/>
                  </a:cubicBezTo>
                  <a:lnTo>
                    <a:pt x="170059" y="121038"/>
                  </a:lnTo>
                  <a:cubicBezTo>
                    <a:pt x="169297" y="124753"/>
                    <a:pt x="167773" y="126467"/>
                    <a:pt x="164439" y="126467"/>
                  </a:cubicBezTo>
                  <a:cubicBezTo>
                    <a:pt x="161677" y="126467"/>
                    <a:pt x="160724" y="124943"/>
                    <a:pt x="158819" y="121038"/>
                  </a:cubicBezTo>
                  <a:lnTo>
                    <a:pt x="112432" y="3880"/>
                  </a:lnTo>
                  <a:cubicBezTo>
                    <a:pt x="112432" y="3880"/>
                    <a:pt x="111671" y="1785"/>
                    <a:pt x="110908" y="1023"/>
                  </a:cubicBezTo>
                  <a:cubicBezTo>
                    <a:pt x="110147" y="261"/>
                    <a:pt x="108623" y="261"/>
                    <a:pt x="108623" y="261"/>
                  </a:cubicBezTo>
                  <a:lnTo>
                    <a:pt x="66808" y="261"/>
                  </a:lnTo>
                  <a:cubicBezTo>
                    <a:pt x="66808" y="261"/>
                    <a:pt x="65093" y="261"/>
                    <a:pt x="64331" y="1023"/>
                  </a:cubicBezTo>
                  <a:cubicBezTo>
                    <a:pt x="63569" y="1785"/>
                    <a:pt x="62807" y="3880"/>
                    <a:pt x="62807" y="3880"/>
                  </a:cubicBezTo>
                  <a:lnTo>
                    <a:pt x="16421" y="121038"/>
                  </a:lnTo>
                  <a:cubicBezTo>
                    <a:pt x="16421" y="124657"/>
                    <a:pt x="8134" y="128277"/>
                    <a:pt x="1752" y="129325"/>
                  </a:cubicBezTo>
                  <a:cubicBezTo>
                    <a:pt x="1752" y="129325"/>
                    <a:pt x="704" y="129325"/>
                    <a:pt x="323" y="129896"/>
                  </a:cubicBezTo>
                  <a:cubicBezTo>
                    <a:pt x="-153" y="130563"/>
                    <a:pt x="38" y="131325"/>
                    <a:pt x="38" y="131325"/>
                  </a:cubicBezTo>
                  <a:lnTo>
                    <a:pt x="228" y="149803"/>
                  </a:lnTo>
                  <a:cubicBezTo>
                    <a:pt x="228" y="150565"/>
                    <a:pt x="895" y="151232"/>
                    <a:pt x="1657" y="151232"/>
                  </a:cubicBezTo>
                  <a:lnTo>
                    <a:pt x="61569" y="151232"/>
                  </a:lnTo>
                  <a:cubicBezTo>
                    <a:pt x="62331" y="151232"/>
                    <a:pt x="62998" y="150565"/>
                    <a:pt x="62998" y="149803"/>
                  </a:cubicBezTo>
                  <a:lnTo>
                    <a:pt x="63188" y="131325"/>
                  </a:lnTo>
                  <a:cubicBezTo>
                    <a:pt x="63188" y="131325"/>
                    <a:pt x="63379" y="130468"/>
                    <a:pt x="62903" y="129896"/>
                  </a:cubicBezTo>
                  <a:cubicBezTo>
                    <a:pt x="62426" y="129229"/>
                    <a:pt x="61474" y="129325"/>
                    <a:pt x="61474" y="129325"/>
                  </a:cubicBezTo>
                  <a:cubicBezTo>
                    <a:pt x="55092" y="128277"/>
                    <a:pt x="48710" y="126277"/>
                    <a:pt x="49853" y="121038"/>
                  </a:cubicBezTo>
                  <a:lnTo>
                    <a:pt x="59283" y="97321"/>
                  </a:lnTo>
                  <a:lnTo>
                    <a:pt x="107575" y="97321"/>
                  </a:lnTo>
                  <a:lnTo>
                    <a:pt x="116814" y="121038"/>
                  </a:lnTo>
                  <a:cubicBezTo>
                    <a:pt x="119100" y="125134"/>
                    <a:pt x="114623" y="128277"/>
                    <a:pt x="108241" y="129325"/>
                  </a:cubicBezTo>
                  <a:cubicBezTo>
                    <a:pt x="108241" y="129325"/>
                    <a:pt x="107194" y="129325"/>
                    <a:pt x="106813" y="129896"/>
                  </a:cubicBezTo>
                  <a:cubicBezTo>
                    <a:pt x="106337" y="130563"/>
                    <a:pt x="106527" y="131325"/>
                    <a:pt x="106527" y="131325"/>
                  </a:cubicBezTo>
                  <a:lnTo>
                    <a:pt x="106432" y="149803"/>
                  </a:lnTo>
                  <a:cubicBezTo>
                    <a:pt x="106432" y="150565"/>
                    <a:pt x="107099" y="151232"/>
                    <a:pt x="107861" y="151232"/>
                  </a:cubicBezTo>
                  <a:lnTo>
                    <a:pt x="211874" y="151232"/>
                  </a:lnTo>
                  <a:cubicBezTo>
                    <a:pt x="212636" y="151232"/>
                    <a:pt x="213302" y="150565"/>
                    <a:pt x="213302" y="149803"/>
                  </a:cubicBezTo>
                  <a:lnTo>
                    <a:pt x="213302" y="131325"/>
                  </a:lnTo>
                  <a:cubicBezTo>
                    <a:pt x="213302" y="131325"/>
                    <a:pt x="213493" y="130468"/>
                    <a:pt x="213016" y="129896"/>
                  </a:cubicBezTo>
                  <a:cubicBezTo>
                    <a:pt x="212540" y="129229"/>
                    <a:pt x="211588" y="129325"/>
                    <a:pt x="211588" y="129325"/>
                  </a:cubicBezTo>
                  <a:cubicBezTo>
                    <a:pt x="205206" y="128277"/>
                    <a:pt x="203777" y="124657"/>
                    <a:pt x="203777" y="121038"/>
                  </a:cubicBezTo>
                  <a:lnTo>
                    <a:pt x="212350" y="57125"/>
                  </a:lnTo>
                  <a:cubicBezTo>
                    <a:pt x="212350" y="57125"/>
                    <a:pt x="212350" y="51029"/>
                    <a:pt x="213874" y="51029"/>
                  </a:cubicBezTo>
                  <a:cubicBezTo>
                    <a:pt x="215398" y="51029"/>
                    <a:pt x="217970" y="60745"/>
                    <a:pt x="217970" y="60745"/>
                  </a:cubicBezTo>
                  <a:lnTo>
                    <a:pt x="230733" y="106084"/>
                  </a:lnTo>
                  <a:cubicBezTo>
                    <a:pt x="230733" y="106084"/>
                    <a:pt x="232733" y="110656"/>
                    <a:pt x="234257" y="112180"/>
                  </a:cubicBezTo>
                  <a:cubicBezTo>
                    <a:pt x="235781" y="113704"/>
                    <a:pt x="241401" y="115704"/>
                    <a:pt x="241401" y="115704"/>
                  </a:cubicBezTo>
                  <a:lnTo>
                    <a:pt x="252069" y="115704"/>
                  </a:lnTo>
                  <a:lnTo>
                    <a:pt x="260737" y="115704"/>
                  </a:lnTo>
                  <a:cubicBezTo>
                    <a:pt x="260737" y="115704"/>
                    <a:pt x="262737" y="115704"/>
                    <a:pt x="265309" y="113704"/>
                  </a:cubicBezTo>
                  <a:cubicBezTo>
                    <a:pt x="267881" y="111703"/>
                    <a:pt x="270357" y="104560"/>
                    <a:pt x="270357" y="104560"/>
                  </a:cubicBezTo>
                  <a:lnTo>
                    <a:pt x="284645" y="55220"/>
                  </a:lnTo>
                  <a:cubicBezTo>
                    <a:pt x="284645" y="55220"/>
                    <a:pt x="285692" y="50648"/>
                    <a:pt x="287216" y="50648"/>
                  </a:cubicBezTo>
                  <a:cubicBezTo>
                    <a:pt x="289216" y="50648"/>
                    <a:pt x="289693" y="57220"/>
                    <a:pt x="289693" y="57220"/>
                  </a:cubicBezTo>
                  <a:lnTo>
                    <a:pt x="298265" y="121133"/>
                  </a:lnTo>
                  <a:cubicBezTo>
                    <a:pt x="298265" y="124753"/>
                    <a:pt x="296837" y="128372"/>
                    <a:pt x="290455" y="129420"/>
                  </a:cubicBezTo>
                  <a:cubicBezTo>
                    <a:pt x="290455" y="129420"/>
                    <a:pt x="289407" y="129420"/>
                    <a:pt x="289026" y="129991"/>
                  </a:cubicBezTo>
                  <a:cubicBezTo>
                    <a:pt x="288550" y="130658"/>
                    <a:pt x="288740" y="131420"/>
                    <a:pt x="288740" y="131420"/>
                  </a:cubicBezTo>
                  <a:lnTo>
                    <a:pt x="288359" y="149899"/>
                  </a:lnTo>
                  <a:cubicBezTo>
                    <a:pt x="288359" y="150661"/>
                    <a:pt x="289026" y="151327"/>
                    <a:pt x="289788" y="151327"/>
                  </a:cubicBezTo>
                  <a:lnTo>
                    <a:pt x="353034" y="151327"/>
                  </a:lnTo>
                  <a:cubicBezTo>
                    <a:pt x="353796" y="151327"/>
                    <a:pt x="354463" y="150661"/>
                    <a:pt x="354463" y="149899"/>
                  </a:cubicBezTo>
                  <a:lnTo>
                    <a:pt x="353510" y="131420"/>
                  </a:lnTo>
                  <a:close/>
                  <a:moveTo>
                    <a:pt x="96621" y="71317"/>
                  </a:moveTo>
                  <a:cubicBezTo>
                    <a:pt x="96240" y="72270"/>
                    <a:pt x="94145" y="71889"/>
                    <a:pt x="94145" y="71889"/>
                  </a:cubicBezTo>
                  <a:lnTo>
                    <a:pt x="72047" y="71889"/>
                  </a:lnTo>
                  <a:cubicBezTo>
                    <a:pt x="72047" y="71889"/>
                    <a:pt x="70523" y="72079"/>
                    <a:pt x="69761" y="71508"/>
                  </a:cubicBezTo>
                  <a:cubicBezTo>
                    <a:pt x="69189" y="71127"/>
                    <a:pt x="70332" y="69031"/>
                    <a:pt x="70332" y="69031"/>
                  </a:cubicBezTo>
                  <a:lnTo>
                    <a:pt x="83286" y="35027"/>
                  </a:lnTo>
                  <a:lnTo>
                    <a:pt x="95859" y="68079"/>
                  </a:lnTo>
                  <a:cubicBezTo>
                    <a:pt x="95859" y="67984"/>
                    <a:pt x="96907" y="70460"/>
                    <a:pt x="96621" y="71317"/>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sp>
          <p:nvSpPr>
            <p:cNvPr id="72" name="Freeform 71">
              <a:extLst>
                <a:ext uri="{FF2B5EF4-FFF2-40B4-BE49-F238E27FC236}">
                  <a16:creationId xmlns:a16="http://schemas.microsoft.com/office/drawing/2014/main" id="{BFD1F86E-E40B-DF4A-9FDF-F640C5C65A03}"/>
                </a:ext>
              </a:extLst>
            </p:cNvPr>
            <p:cNvSpPr/>
            <p:nvPr/>
          </p:nvSpPr>
          <p:spPr>
            <a:xfrm>
              <a:off x="5312571" y="9952800"/>
              <a:ext cx="282987" cy="155681"/>
            </a:xfrm>
            <a:custGeom>
              <a:avLst/>
              <a:gdLst>
                <a:gd name="connsiteX0" fmla="*/ 282321 w 282987"/>
                <a:gd name="connsiteY0" fmla="*/ 133750 h 155681"/>
                <a:gd name="connsiteX1" fmla="*/ 280892 w 282987"/>
                <a:gd name="connsiteY1" fmla="*/ 133179 h 155681"/>
                <a:gd name="connsiteX2" fmla="*/ 266224 w 282987"/>
                <a:gd name="connsiteY2" fmla="*/ 124892 h 155681"/>
                <a:gd name="connsiteX3" fmla="*/ 219837 w 282987"/>
                <a:gd name="connsiteY3" fmla="*/ 7735 h 155681"/>
                <a:gd name="connsiteX4" fmla="*/ 218313 w 282987"/>
                <a:gd name="connsiteY4" fmla="*/ 4877 h 155681"/>
                <a:gd name="connsiteX5" fmla="*/ 216027 w 282987"/>
                <a:gd name="connsiteY5" fmla="*/ 4115 h 155681"/>
                <a:gd name="connsiteX6" fmla="*/ 174212 w 282987"/>
                <a:gd name="connsiteY6" fmla="*/ 4115 h 155681"/>
                <a:gd name="connsiteX7" fmla="*/ 171736 w 282987"/>
                <a:gd name="connsiteY7" fmla="*/ 4877 h 155681"/>
                <a:gd name="connsiteX8" fmla="*/ 170212 w 282987"/>
                <a:gd name="connsiteY8" fmla="*/ 7735 h 155681"/>
                <a:gd name="connsiteX9" fmla="*/ 130493 w 282987"/>
                <a:gd name="connsiteY9" fmla="*/ 107938 h 155681"/>
                <a:gd name="connsiteX10" fmla="*/ 110681 w 282987"/>
                <a:gd name="connsiteY10" fmla="*/ 130703 h 155681"/>
                <a:gd name="connsiteX11" fmla="*/ 84487 w 282987"/>
                <a:gd name="connsiteY11" fmla="*/ 134227 h 155681"/>
                <a:gd name="connsiteX12" fmla="*/ 84011 w 282987"/>
                <a:gd name="connsiteY12" fmla="*/ 134227 h 155681"/>
                <a:gd name="connsiteX13" fmla="*/ 84011 w 282987"/>
                <a:gd name="connsiteY13" fmla="*/ 134227 h 155681"/>
                <a:gd name="connsiteX14" fmla="*/ 62484 w 282987"/>
                <a:gd name="connsiteY14" fmla="*/ 130703 h 155681"/>
                <a:gd name="connsiteX15" fmla="*/ 46768 w 282987"/>
                <a:gd name="connsiteY15" fmla="*/ 112986 h 155681"/>
                <a:gd name="connsiteX16" fmla="*/ 42386 w 282987"/>
                <a:gd name="connsiteY16" fmla="*/ 78029 h 155681"/>
                <a:gd name="connsiteX17" fmla="*/ 46768 w 282987"/>
                <a:gd name="connsiteY17" fmla="*/ 40405 h 155681"/>
                <a:gd name="connsiteX18" fmla="*/ 78200 w 282987"/>
                <a:gd name="connsiteY18" fmla="*/ 24213 h 155681"/>
                <a:gd name="connsiteX19" fmla="*/ 106775 w 282987"/>
                <a:gd name="connsiteY19" fmla="*/ 35357 h 155681"/>
                <a:gd name="connsiteX20" fmla="*/ 112109 w 282987"/>
                <a:gd name="connsiteY20" fmla="*/ 45168 h 155681"/>
                <a:gd name="connsiteX21" fmla="*/ 112109 w 282987"/>
                <a:gd name="connsiteY21" fmla="*/ 46787 h 155681"/>
                <a:gd name="connsiteX22" fmla="*/ 116777 w 282987"/>
                <a:gd name="connsiteY22" fmla="*/ 51454 h 155681"/>
                <a:gd name="connsiteX23" fmla="*/ 128969 w 282987"/>
                <a:gd name="connsiteY23" fmla="*/ 51454 h 155681"/>
                <a:gd name="connsiteX24" fmla="*/ 133636 w 282987"/>
                <a:gd name="connsiteY24" fmla="*/ 46787 h 155681"/>
                <a:gd name="connsiteX25" fmla="*/ 134017 w 282987"/>
                <a:gd name="connsiteY25" fmla="*/ 10307 h 155681"/>
                <a:gd name="connsiteX26" fmla="*/ 131445 w 282987"/>
                <a:gd name="connsiteY26" fmla="*/ 4973 h 155681"/>
                <a:gd name="connsiteX27" fmla="*/ 84392 w 282987"/>
                <a:gd name="connsiteY27" fmla="*/ 19 h 155681"/>
                <a:gd name="connsiteX28" fmla="*/ 29718 w 282987"/>
                <a:gd name="connsiteY28" fmla="*/ 11735 h 155681"/>
                <a:gd name="connsiteX29" fmla="*/ 0 w 282987"/>
                <a:gd name="connsiteY29" fmla="*/ 75553 h 155681"/>
                <a:gd name="connsiteX30" fmla="*/ 18860 w 282987"/>
                <a:gd name="connsiteY30" fmla="*/ 137846 h 155681"/>
                <a:gd name="connsiteX31" fmla="*/ 59341 w 282987"/>
                <a:gd name="connsiteY31" fmla="*/ 154515 h 155681"/>
                <a:gd name="connsiteX32" fmla="*/ 78772 w 282987"/>
                <a:gd name="connsiteY32" fmla="*/ 155467 h 155681"/>
                <a:gd name="connsiteX33" fmla="*/ 84106 w 282987"/>
                <a:gd name="connsiteY33" fmla="*/ 155658 h 155681"/>
                <a:gd name="connsiteX34" fmla="*/ 98203 w 282987"/>
                <a:gd name="connsiteY34" fmla="*/ 155086 h 155681"/>
                <a:gd name="connsiteX35" fmla="*/ 131445 w 282987"/>
                <a:gd name="connsiteY35" fmla="*/ 154991 h 155681"/>
                <a:gd name="connsiteX36" fmla="*/ 168878 w 282987"/>
                <a:gd name="connsiteY36" fmla="*/ 154991 h 155681"/>
                <a:gd name="connsiteX37" fmla="*/ 170307 w 282987"/>
                <a:gd name="connsiteY37" fmla="*/ 153562 h 155681"/>
                <a:gd name="connsiteX38" fmla="*/ 170498 w 282987"/>
                <a:gd name="connsiteY38" fmla="*/ 135084 h 155681"/>
                <a:gd name="connsiteX39" fmla="*/ 170212 w 282987"/>
                <a:gd name="connsiteY39" fmla="*/ 133655 h 155681"/>
                <a:gd name="connsiteX40" fmla="*/ 168783 w 282987"/>
                <a:gd name="connsiteY40" fmla="*/ 133084 h 155681"/>
                <a:gd name="connsiteX41" fmla="*/ 157163 w 282987"/>
                <a:gd name="connsiteY41" fmla="*/ 124797 h 155681"/>
                <a:gd name="connsiteX42" fmla="*/ 166592 w 282987"/>
                <a:gd name="connsiteY42" fmla="*/ 101080 h 155681"/>
                <a:gd name="connsiteX43" fmla="*/ 214884 w 282987"/>
                <a:gd name="connsiteY43" fmla="*/ 101080 h 155681"/>
                <a:gd name="connsiteX44" fmla="*/ 224123 w 282987"/>
                <a:gd name="connsiteY44" fmla="*/ 124797 h 155681"/>
                <a:gd name="connsiteX45" fmla="*/ 215551 w 282987"/>
                <a:gd name="connsiteY45" fmla="*/ 133084 h 155681"/>
                <a:gd name="connsiteX46" fmla="*/ 214122 w 282987"/>
                <a:gd name="connsiteY46" fmla="*/ 133655 h 155681"/>
                <a:gd name="connsiteX47" fmla="*/ 213836 w 282987"/>
                <a:gd name="connsiteY47" fmla="*/ 135084 h 155681"/>
                <a:gd name="connsiteX48" fmla="*/ 213932 w 282987"/>
                <a:gd name="connsiteY48" fmla="*/ 153562 h 155681"/>
                <a:gd name="connsiteX49" fmla="*/ 215360 w 282987"/>
                <a:gd name="connsiteY49" fmla="*/ 154991 h 155681"/>
                <a:gd name="connsiteX50" fmla="*/ 281369 w 282987"/>
                <a:gd name="connsiteY50" fmla="*/ 154991 h 155681"/>
                <a:gd name="connsiteX51" fmla="*/ 282797 w 282987"/>
                <a:gd name="connsiteY51" fmla="*/ 153562 h 155681"/>
                <a:gd name="connsiteX52" fmla="*/ 282988 w 282987"/>
                <a:gd name="connsiteY52" fmla="*/ 135084 h 155681"/>
                <a:gd name="connsiteX53" fmla="*/ 282321 w 282987"/>
                <a:gd name="connsiteY53" fmla="*/ 133750 h 155681"/>
                <a:gd name="connsiteX54" fmla="*/ 203930 w 282987"/>
                <a:gd name="connsiteY54" fmla="*/ 75172 h 155681"/>
                <a:gd name="connsiteX55" fmla="*/ 201454 w 282987"/>
                <a:gd name="connsiteY55" fmla="*/ 75743 h 155681"/>
                <a:gd name="connsiteX56" fmla="*/ 179356 w 282987"/>
                <a:gd name="connsiteY56" fmla="*/ 75743 h 155681"/>
                <a:gd name="connsiteX57" fmla="*/ 177070 w 282987"/>
                <a:gd name="connsiteY57" fmla="*/ 75362 h 155681"/>
                <a:gd name="connsiteX58" fmla="*/ 177641 w 282987"/>
                <a:gd name="connsiteY58" fmla="*/ 72886 h 155681"/>
                <a:gd name="connsiteX59" fmla="*/ 190595 w 282987"/>
                <a:gd name="connsiteY59" fmla="*/ 38882 h 155681"/>
                <a:gd name="connsiteX60" fmla="*/ 203168 w 282987"/>
                <a:gd name="connsiteY60" fmla="*/ 71933 h 155681"/>
                <a:gd name="connsiteX61" fmla="*/ 203930 w 282987"/>
                <a:gd name="connsiteY61" fmla="*/ 75172 h 15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987" h="155681">
                  <a:moveTo>
                    <a:pt x="282321" y="133750"/>
                  </a:moveTo>
                  <a:cubicBezTo>
                    <a:pt x="281845" y="133084"/>
                    <a:pt x="280892" y="133179"/>
                    <a:pt x="280892" y="133179"/>
                  </a:cubicBezTo>
                  <a:cubicBezTo>
                    <a:pt x="274511" y="132131"/>
                    <a:pt x="266224" y="128512"/>
                    <a:pt x="266224" y="124892"/>
                  </a:cubicBezTo>
                  <a:lnTo>
                    <a:pt x="219837" y="7735"/>
                  </a:lnTo>
                  <a:cubicBezTo>
                    <a:pt x="219837" y="7735"/>
                    <a:pt x="219075" y="5639"/>
                    <a:pt x="218313" y="4877"/>
                  </a:cubicBezTo>
                  <a:cubicBezTo>
                    <a:pt x="217551" y="4115"/>
                    <a:pt x="216027" y="4115"/>
                    <a:pt x="216027" y="4115"/>
                  </a:cubicBezTo>
                  <a:lnTo>
                    <a:pt x="174212" y="4115"/>
                  </a:lnTo>
                  <a:cubicBezTo>
                    <a:pt x="174212" y="4115"/>
                    <a:pt x="172498" y="4115"/>
                    <a:pt x="171736" y="4877"/>
                  </a:cubicBezTo>
                  <a:cubicBezTo>
                    <a:pt x="170974" y="5639"/>
                    <a:pt x="170212" y="7735"/>
                    <a:pt x="170212" y="7735"/>
                  </a:cubicBezTo>
                  <a:lnTo>
                    <a:pt x="130493" y="107938"/>
                  </a:lnTo>
                  <a:cubicBezTo>
                    <a:pt x="130493" y="107938"/>
                    <a:pt x="122777" y="127273"/>
                    <a:pt x="110681" y="130703"/>
                  </a:cubicBezTo>
                  <a:cubicBezTo>
                    <a:pt x="101537" y="133274"/>
                    <a:pt x="95441" y="133846"/>
                    <a:pt x="84487" y="134227"/>
                  </a:cubicBezTo>
                  <a:cubicBezTo>
                    <a:pt x="84296" y="134227"/>
                    <a:pt x="84201" y="134227"/>
                    <a:pt x="84011" y="134227"/>
                  </a:cubicBezTo>
                  <a:lnTo>
                    <a:pt x="84011" y="134227"/>
                  </a:lnTo>
                  <a:cubicBezTo>
                    <a:pt x="73057" y="133846"/>
                    <a:pt x="70295" y="133846"/>
                    <a:pt x="62484" y="130703"/>
                  </a:cubicBezTo>
                  <a:cubicBezTo>
                    <a:pt x="58103" y="128988"/>
                    <a:pt x="49435" y="120034"/>
                    <a:pt x="46768" y="112986"/>
                  </a:cubicBezTo>
                  <a:cubicBezTo>
                    <a:pt x="44863" y="107557"/>
                    <a:pt x="42386" y="100603"/>
                    <a:pt x="42386" y="78029"/>
                  </a:cubicBezTo>
                  <a:cubicBezTo>
                    <a:pt x="42386" y="55360"/>
                    <a:pt x="44006" y="44882"/>
                    <a:pt x="46768" y="40405"/>
                  </a:cubicBezTo>
                  <a:cubicBezTo>
                    <a:pt x="51816" y="32500"/>
                    <a:pt x="59722" y="24213"/>
                    <a:pt x="78200" y="24213"/>
                  </a:cubicBezTo>
                  <a:cubicBezTo>
                    <a:pt x="96679" y="24213"/>
                    <a:pt x="103537" y="30976"/>
                    <a:pt x="106775" y="35357"/>
                  </a:cubicBezTo>
                  <a:cubicBezTo>
                    <a:pt x="106775" y="35357"/>
                    <a:pt x="111728" y="39453"/>
                    <a:pt x="112109" y="45168"/>
                  </a:cubicBezTo>
                  <a:lnTo>
                    <a:pt x="112109" y="46787"/>
                  </a:lnTo>
                  <a:cubicBezTo>
                    <a:pt x="112109" y="49359"/>
                    <a:pt x="114205" y="51454"/>
                    <a:pt x="116777" y="51454"/>
                  </a:cubicBezTo>
                  <a:lnTo>
                    <a:pt x="128969" y="51454"/>
                  </a:lnTo>
                  <a:cubicBezTo>
                    <a:pt x="131540" y="51454"/>
                    <a:pt x="133636" y="49359"/>
                    <a:pt x="133636" y="46787"/>
                  </a:cubicBezTo>
                  <a:lnTo>
                    <a:pt x="134017" y="10307"/>
                  </a:lnTo>
                  <a:cubicBezTo>
                    <a:pt x="134017" y="10307"/>
                    <a:pt x="134684" y="7640"/>
                    <a:pt x="131445" y="4973"/>
                  </a:cubicBezTo>
                  <a:cubicBezTo>
                    <a:pt x="131445" y="4973"/>
                    <a:pt x="113824" y="-362"/>
                    <a:pt x="84392" y="19"/>
                  </a:cubicBezTo>
                  <a:cubicBezTo>
                    <a:pt x="60008" y="305"/>
                    <a:pt x="40005" y="5353"/>
                    <a:pt x="29718" y="11735"/>
                  </a:cubicBezTo>
                  <a:cubicBezTo>
                    <a:pt x="19431" y="18212"/>
                    <a:pt x="0" y="36976"/>
                    <a:pt x="0" y="75553"/>
                  </a:cubicBezTo>
                  <a:cubicBezTo>
                    <a:pt x="0" y="114034"/>
                    <a:pt x="8573" y="128131"/>
                    <a:pt x="18860" y="137846"/>
                  </a:cubicBezTo>
                  <a:cubicBezTo>
                    <a:pt x="27337" y="145847"/>
                    <a:pt x="36957" y="151467"/>
                    <a:pt x="59341" y="154515"/>
                  </a:cubicBezTo>
                  <a:cubicBezTo>
                    <a:pt x="60198" y="155182"/>
                    <a:pt x="73343" y="155467"/>
                    <a:pt x="78772" y="155467"/>
                  </a:cubicBezTo>
                  <a:cubicBezTo>
                    <a:pt x="80486" y="155563"/>
                    <a:pt x="82296" y="155658"/>
                    <a:pt x="84106" y="155658"/>
                  </a:cubicBezTo>
                  <a:cubicBezTo>
                    <a:pt x="89535" y="155753"/>
                    <a:pt x="94107" y="155563"/>
                    <a:pt x="98203" y="155086"/>
                  </a:cubicBezTo>
                  <a:cubicBezTo>
                    <a:pt x="116396" y="154420"/>
                    <a:pt x="126302" y="156039"/>
                    <a:pt x="131445" y="154991"/>
                  </a:cubicBezTo>
                  <a:lnTo>
                    <a:pt x="168878" y="154991"/>
                  </a:lnTo>
                  <a:cubicBezTo>
                    <a:pt x="169640" y="154991"/>
                    <a:pt x="170307" y="154324"/>
                    <a:pt x="170307" y="153562"/>
                  </a:cubicBezTo>
                  <a:lnTo>
                    <a:pt x="170498" y="135084"/>
                  </a:lnTo>
                  <a:cubicBezTo>
                    <a:pt x="170402" y="135084"/>
                    <a:pt x="170688" y="134227"/>
                    <a:pt x="170212" y="133655"/>
                  </a:cubicBezTo>
                  <a:cubicBezTo>
                    <a:pt x="169736" y="132988"/>
                    <a:pt x="168783" y="133084"/>
                    <a:pt x="168783" y="133084"/>
                  </a:cubicBezTo>
                  <a:cubicBezTo>
                    <a:pt x="162401" y="132036"/>
                    <a:pt x="156020" y="130036"/>
                    <a:pt x="157163" y="124797"/>
                  </a:cubicBezTo>
                  <a:lnTo>
                    <a:pt x="166592" y="101080"/>
                  </a:lnTo>
                  <a:lnTo>
                    <a:pt x="214884" y="101080"/>
                  </a:lnTo>
                  <a:lnTo>
                    <a:pt x="224123" y="124797"/>
                  </a:lnTo>
                  <a:cubicBezTo>
                    <a:pt x="226409" y="128893"/>
                    <a:pt x="221933" y="132036"/>
                    <a:pt x="215551" y="133084"/>
                  </a:cubicBezTo>
                  <a:cubicBezTo>
                    <a:pt x="215551" y="133084"/>
                    <a:pt x="214503" y="133084"/>
                    <a:pt x="214122" y="133655"/>
                  </a:cubicBezTo>
                  <a:cubicBezTo>
                    <a:pt x="213646" y="134322"/>
                    <a:pt x="213836" y="135084"/>
                    <a:pt x="213836" y="135084"/>
                  </a:cubicBezTo>
                  <a:lnTo>
                    <a:pt x="213932" y="153562"/>
                  </a:lnTo>
                  <a:cubicBezTo>
                    <a:pt x="213932" y="154324"/>
                    <a:pt x="214598" y="154991"/>
                    <a:pt x="215360" y="154991"/>
                  </a:cubicBezTo>
                  <a:lnTo>
                    <a:pt x="281369" y="154991"/>
                  </a:lnTo>
                  <a:cubicBezTo>
                    <a:pt x="282131" y="154991"/>
                    <a:pt x="282797" y="154324"/>
                    <a:pt x="282797" y="153562"/>
                  </a:cubicBezTo>
                  <a:lnTo>
                    <a:pt x="282988" y="135084"/>
                  </a:lnTo>
                  <a:cubicBezTo>
                    <a:pt x="282512" y="135274"/>
                    <a:pt x="282702" y="134417"/>
                    <a:pt x="282321" y="133750"/>
                  </a:cubicBezTo>
                  <a:close/>
                  <a:moveTo>
                    <a:pt x="203930" y="75172"/>
                  </a:moveTo>
                  <a:cubicBezTo>
                    <a:pt x="203550" y="76124"/>
                    <a:pt x="201454" y="75743"/>
                    <a:pt x="201454" y="75743"/>
                  </a:cubicBezTo>
                  <a:lnTo>
                    <a:pt x="179356" y="75743"/>
                  </a:lnTo>
                  <a:cubicBezTo>
                    <a:pt x="179356" y="75743"/>
                    <a:pt x="177832" y="75934"/>
                    <a:pt x="177070" y="75362"/>
                  </a:cubicBezTo>
                  <a:cubicBezTo>
                    <a:pt x="176498" y="74981"/>
                    <a:pt x="177641" y="72886"/>
                    <a:pt x="177641" y="72886"/>
                  </a:cubicBezTo>
                  <a:lnTo>
                    <a:pt x="190595" y="38882"/>
                  </a:lnTo>
                  <a:lnTo>
                    <a:pt x="203168" y="71933"/>
                  </a:lnTo>
                  <a:cubicBezTo>
                    <a:pt x="203168" y="71838"/>
                    <a:pt x="204216" y="74315"/>
                    <a:pt x="203930" y="75172"/>
                  </a:cubicBezTo>
                  <a:close/>
                </a:path>
              </a:pathLst>
            </a:custGeom>
            <a:solidFill>
              <a:srgbClr val="FFFFFF"/>
            </a:solidFill>
            <a:ln w="9525" cap="flat">
              <a:noFill/>
              <a:prstDash val="solid"/>
              <a:miter/>
            </a:ln>
          </p:spPr>
          <p:txBody>
            <a:bodyPr rtlCol="0" anchor="ctr"/>
            <a:lstStyle/>
            <a:p>
              <a:endParaRPr lang="en-US" b="0" i="0">
                <a:latin typeface="Arial" panose="020B0604020202020204" pitchFamily="34" charset="0"/>
              </a:endParaRPr>
            </a:p>
          </p:txBody>
        </p:sp>
      </p:grpSp>
      <p:sp>
        <p:nvSpPr>
          <p:cNvPr id="2" name="Title Placeholder 1"/>
          <p:cNvSpPr>
            <a:spLocks noGrp="1"/>
          </p:cNvSpPr>
          <p:nvPr>
            <p:ph type="title"/>
          </p:nvPr>
        </p:nvSpPr>
        <p:spPr>
          <a:xfrm>
            <a:off x="363881" y="685800"/>
            <a:ext cx="2740892" cy="5257800"/>
          </a:xfrm>
          <a:prstGeom prst="rect">
            <a:avLst/>
          </a:prstGeom>
        </p:spPr>
        <p:txBody>
          <a:bodyPr vert="horz" lIns="0" tIns="0" rIns="0" bIns="0" rtlCol="0" anchor="ctr">
            <a:normAutofit/>
          </a:bodyPr>
          <a:lstStyle/>
          <a:p>
            <a:r>
              <a:rPr lang="en-US"/>
              <a:t>Click to edit Master title style</a:t>
            </a:r>
          </a:p>
        </p:txBody>
      </p:sp>
      <p:sp>
        <p:nvSpPr>
          <p:cNvPr id="38" name="Rectangle 37"/>
          <p:cNvSpPr/>
          <p:nvPr userDrawn="1"/>
        </p:nvSpPr>
        <p:spPr>
          <a:xfrm>
            <a:off x="11811000" y="0"/>
            <a:ext cx="38891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b="0" i="0">
              <a:latin typeface="Arial" panose="020B0604020202020204" pitchFamily="34" charset="0"/>
            </a:endParaRPr>
          </a:p>
        </p:txBody>
      </p:sp>
      <p:sp>
        <p:nvSpPr>
          <p:cNvPr id="3" name="Text Placeholder 2"/>
          <p:cNvSpPr>
            <a:spLocks noGrp="1"/>
          </p:cNvSpPr>
          <p:nvPr>
            <p:ph type="body" idx="1"/>
          </p:nvPr>
        </p:nvSpPr>
        <p:spPr>
          <a:xfrm>
            <a:off x="3579092" y="685801"/>
            <a:ext cx="8003308" cy="5257799"/>
          </a:xfrm>
          <a:prstGeom prst="rect">
            <a:avLst/>
          </a:prstGeom>
        </p:spPr>
        <p:txBody>
          <a:bodyPr vert="horz" lIns="0" tIns="0" rIns="0" bIns="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481815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p:tgtEl>
                                          <p:spTgt spid="7"/>
                                        </p:tgtEl>
                                        <p:attrNameLst>
                                          <p:attrName>ppt_x</p:attrName>
                                        </p:attrNameLst>
                                      </p:cBhvr>
                                      <p:tavLst>
                                        <p:tav tm="0">
                                          <p:val>
                                            <p:strVal val="#ppt_x-#ppt_w*1.125000"/>
                                          </p:val>
                                        </p:tav>
                                        <p:tav tm="100000">
                                          <p:val>
                                            <p:strVal val="#ppt_x"/>
                                          </p:val>
                                        </p:tav>
                                      </p:tavLst>
                                    </p:anim>
                                    <p:animEffect transition="in" filter="wipe(right)">
                                      <p:cBhvr>
                                        <p:cTn id="8" dur="500"/>
                                        <p:tgtEl>
                                          <p:spTgt spid="7"/>
                                        </p:tgtEl>
                                      </p:cBhvr>
                                    </p:animEffect>
                                  </p:childTnLst>
                                </p:cTn>
                              </p:par>
                              <p:par>
                                <p:cTn id="9" presetID="10"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hf sldNum="0" hdr="0" ftr="0" dt="0"/>
  <p:txStyles>
    <p:titleStyle>
      <a:lvl1pPr algn="l" defTabSz="914400" rtl="0" eaLnBrk="1" latinLnBrk="0" hangingPunct="1">
        <a:lnSpc>
          <a:spcPct val="90000"/>
        </a:lnSpc>
        <a:spcBef>
          <a:spcPct val="0"/>
        </a:spcBef>
        <a:buNone/>
        <a:defRPr sz="3600" b="1" i="0" kern="1200" spc="-60" baseline="0">
          <a:solidFill>
            <a:srgbClr val="FFFFFF"/>
          </a:solidFill>
          <a:latin typeface="Arial Black" panose="020B0604020202020204" pitchFamily="34" charset="0"/>
          <a:ea typeface="+mj-ea"/>
          <a:cs typeface="Arial Black" panose="020B0604020202020204" pitchFamily="34" charset="0"/>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b="1" i="0" kern="1200">
          <a:solidFill>
            <a:schemeClr val="accent1">
              <a:lumMod val="50000"/>
            </a:schemeClr>
          </a:solidFill>
          <a:latin typeface="Arial" panose="020B0604020202020204" pitchFamily="34" charset="0"/>
          <a:ea typeface="+mn-ea"/>
          <a:cs typeface="Arial" panose="020B0604020202020204" pitchFamily="34" charset="0"/>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i="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b="1" i="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240">
          <p15:clr>
            <a:srgbClr val="F26B43"/>
          </p15:clr>
        </p15:guide>
        <p15:guide id="5" pos="7296">
          <p15:clr>
            <a:srgbClr val="F26B43"/>
          </p15:clr>
        </p15:guide>
        <p15:guide id="6" orient="horz" pos="432">
          <p15:clr>
            <a:srgbClr val="F26B43"/>
          </p15:clr>
        </p15:guide>
        <p15:guide id="7" orient="horz" pos="37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3B12BF-D5E4-4103-BE31-E74575502A56}"/>
              </a:ext>
            </a:extLst>
          </p:cNvPr>
          <p:cNvSpPr>
            <a:spLocks noGrp="1"/>
          </p:cNvSpPr>
          <p:nvPr>
            <p:ph type="body" idx="1"/>
          </p:nvPr>
        </p:nvSpPr>
        <p:spPr>
          <a:xfrm>
            <a:off x="381000" y="1828799"/>
            <a:ext cx="11430000" cy="388620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AEC9CF1B-37C4-4793-B0C6-CC90053C6DD2}"/>
              </a:ext>
            </a:extLst>
          </p:cNvPr>
          <p:cNvSpPr/>
          <p:nvPr userDrawn="1"/>
        </p:nvSpPr>
        <p:spPr>
          <a:xfrm>
            <a:off x="0" y="5943600"/>
            <a:ext cx="12192000" cy="91440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panose="020B0604020202020204" pitchFamily="34" charset="0"/>
            </a:endParaRPr>
          </a:p>
        </p:txBody>
      </p:sp>
      <p:pic>
        <p:nvPicPr>
          <p:cNvPr id="9" name="Picture 8">
            <a:extLst>
              <a:ext uri="{FF2B5EF4-FFF2-40B4-BE49-F238E27FC236}">
                <a16:creationId xmlns:a16="http://schemas.microsoft.com/office/drawing/2014/main" id="{27102771-E3AA-454D-9068-E4B43B3D47A1}"/>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457673" y="6018754"/>
            <a:ext cx="1353327" cy="743771"/>
          </a:xfrm>
          <a:prstGeom prst="rect">
            <a:avLst/>
          </a:prstGeom>
        </p:spPr>
      </p:pic>
      <p:sp>
        <p:nvSpPr>
          <p:cNvPr id="2" name="Title Placeholder 1">
            <a:extLst>
              <a:ext uri="{FF2B5EF4-FFF2-40B4-BE49-F238E27FC236}">
                <a16:creationId xmlns:a16="http://schemas.microsoft.com/office/drawing/2014/main" id="{12C3F846-88D6-0341-9F7C-26DFEA84E2F9}"/>
              </a:ext>
            </a:extLst>
          </p:cNvPr>
          <p:cNvSpPr>
            <a:spLocks noGrp="1"/>
          </p:cNvSpPr>
          <p:nvPr>
            <p:ph type="title"/>
          </p:nvPr>
        </p:nvSpPr>
        <p:spPr>
          <a:xfrm>
            <a:off x="381000" y="532302"/>
            <a:ext cx="11430000" cy="991698"/>
          </a:xfrm>
          <a:prstGeom prst="rect">
            <a:avLst/>
          </a:prstGeom>
        </p:spPr>
        <p:txBody>
          <a:bodyPr vert="horz" lIns="0" tIns="0" rIns="0" bIns="0" rtlCol="0" anchor="ctr">
            <a:normAutofit/>
          </a:bodyPr>
          <a:lstStyle/>
          <a:p>
            <a:r>
              <a:rPr lang="en-US"/>
              <a:t>Click to edit Master title style</a:t>
            </a:r>
          </a:p>
        </p:txBody>
      </p:sp>
    </p:spTree>
    <p:extLst>
      <p:ext uri="{BB962C8B-B14F-4D97-AF65-F5344CB8AC3E}">
        <p14:creationId xmlns:p14="http://schemas.microsoft.com/office/powerpoint/2010/main" val="131616747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 id="2147483898" r:id="rId20"/>
    <p:sldLayoutId id="2147483899" r:id="rId21"/>
    <p:sldLayoutId id="2147483900" r:id="rId22"/>
    <p:sldLayoutId id="2147483901" r:id="rId23"/>
    <p:sldLayoutId id="2147483902" r:id="rId24"/>
    <p:sldLayoutId id="2147483903" r:id="rId2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80000"/>
        </a:lnSpc>
        <a:spcBef>
          <a:spcPct val="0"/>
        </a:spcBef>
        <a:buNone/>
        <a:defRPr sz="3600" b="1" i="0" kern="1200">
          <a:solidFill>
            <a:schemeClr val="tx1"/>
          </a:solidFill>
          <a:latin typeface="Arial" panose="020B0604020202020204" pitchFamily="34" charset="0"/>
          <a:ea typeface="+mj-ea"/>
          <a:cs typeface="Arial" panose="020B0604020202020204" pitchFamily="34" charset="0"/>
        </a:defRPr>
      </a:lvl1pPr>
    </p:titleStyle>
    <p:bodyStyle>
      <a:lvl1pPr marL="457200" indent="-457200" algn="l" defTabSz="914400" rtl="0" eaLnBrk="1" latinLnBrk="0" hangingPunct="1">
        <a:lnSpc>
          <a:spcPct val="90000"/>
        </a:lnSpc>
        <a:spcBef>
          <a:spcPts val="0"/>
        </a:spcBef>
        <a:spcAft>
          <a:spcPts val="600"/>
        </a:spcAft>
        <a:buClr>
          <a:srgbClr val="009DDC"/>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914400" indent="-457200" algn="l" defTabSz="914400" rtl="0" eaLnBrk="1" latinLnBrk="0" hangingPunct="1">
        <a:lnSpc>
          <a:spcPct val="90000"/>
        </a:lnSpc>
        <a:spcBef>
          <a:spcPts val="0"/>
        </a:spcBef>
        <a:spcAft>
          <a:spcPts val="600"/>
        </a:spcAft>
        <a:buClr>
          <a:srgbClr val="009DD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0"/>
        </a:spcBef>
        <a:spcAft>
          <a:spcPts val="600"/>
        </a:spcAft>
        <a:buClr>
          <a:srgbClr val="009DD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714500" indent="-342900" algn="l" defTabSz="914400" rtl="0" eaLnBrk="1" latinLnBrk="0" hangingPunct="1">
        <a:lnSpc>
          <a:spcPct val="90000"/>
        </a:lnSpc>
        <a:spcBef>
          <a:spcPts val="0"/>
        </a:spcBef>
        <a:spcAft>
          <a:spcPts val="600"/>
        </a:spcAft>
        <a:buClr>
          <a:srgbClr val="009DD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0"/>
        </a:spcBef>
        <a:spcAft>
          <a:spcPts val="600"/>
        </a:spcAft>
        <a:buClr>
          <a:srgbClr val="009DD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240">
          <p15:clr>
            <a:srgbClr val="F26B43"/>
          </p15:clr>
        </p15:guide>
        <p15:guide id="6" orient="horz" pos="960">
          <p15:clr>
            <a:srgbClr val="F26B43"/>
          </p15:clr>
        </p15:guide>
        <p15:guide id="7" orient="horz" pos="1152">
          <p15:clr>
            <a:srgbClr val="F26B43"/>
          </p15:clr>
        </p15:guide>
        <p15:guide id="8" orient="horz" pos="3600">
          <p15:clr>
            <a:srgbClr val="F26B43"/>
          </p15:clr>
        </p15:guide>
        <p15:guide id="9" pos="3984">
          <p15:clr>
            <a:srgbClr val="F26B43"/>
          </p15:clr>
        </p15:guide>
        <p15:guide id="10" pos="3696">
          <p15:clr>
            <a:srgbClr val="F26B43"/>
          </p15:clr>
        </p15:guide>
        <p15:guide id="11" orient="horz" pos="1440">
          <p15:clr>
            <a:srgbClr val="F26B43"/>
          </p15:clr>
        </p15:guide>
        <p15:guide id="12" orient="horz" pos="37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0375" y="457200"/>
            <a:ext cx="11274426" cy="123798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60374" y="1825625"/>
            <a:ext cx="11274426" cy="4351338"/>
          </a:xfrm>
          <a:prstGeom prst="rect">
            <a:avLst/>
          </a:prstGeom>
          <a:noFill/>
        </p:spPr>
        <p:txBody>
          <a:bodyPr vert="horz" lIns="0" tIns="11430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60374" y="6348200"/>
            <a:ext cx="2743200" cy="154849"/>
          </a:xfrm>
          <a:prstGeom prst="rect">
            <a:avLst/>
          </a:prstGeom>
        </p:spPr>
        <p:txBody>
          <a:bodyPr vert="horz" lIns="91440" tIns="45720" rIns="91440" bIns="45720" rtlCol="0" anchor="ctr"/>
          <a:lstStyle>
            <a:lvl1pPr algn="l">
              <a:defRPr sz="1200" b="0" i="0">
                <a:solidFill>
                  <a:schemeClr val="tx1">
                    <a:lumMod val="65000"/>
                    <a:lumOff val="35000"/>
                  </a:schemeClr>
                </a:solidFill>
                <a:latin typeface="Arial Regular"/>
              </a:defRPr>
            </a:lvl1pPr>
          </a:lstStyle>
          <a:p>
            <a:fld id="{EED96DB9-2281-4CAF-955E-4FEB7D5BBEA4}" type="datetimeFigureOut">
              <a:rPr lang="en-US" smtClean="0"/>
              <a:pPr/>
              <a:t>3/1/23</a:t>
            </a:fld>
            <a:endParaRPr lang="en-US"/>
          </a:p>
        </p:txBody>
      </p:sp>
      <p:sp>
        <p:nvSpPr>
          <p:cNvPr id="5" name="Footer Placeholder 4"/>
          <p:cNvSpPr>
            <a:spLocks noGrp="1"/>
          </p:cNvSpPr>
          <p:nvPr>
            <p:ph type="ftr" sz="quarter" idx="3"/>
          </p:nvPr>
        </p:nvSpPr>
        <p:spPr>
          <a:xfrm>
            <a:off x="4038600" y="6348200"/>
            <a:ext cx="4114800" cy="154849"/>
          </a:xfrm>
          <a:prstGeom prst="rect">
            <a:avLst/>
          </a:prstGeom>
        </p:spPr>
        <p:txBody>
          <a:bodyPr vert="horz" lIns="91440" tIns="45720" rIns="91440" bIns="45720" rtlCol="0" anchor="ctr"/>
          <a:lstStyle>
            <a:lvl1pPr algn="ctr">
              <a:defRPr sz="1200" b="0" i="0">
                <a:solidFill>
                  <a:schemeClr val="tx1">
                    <a:lumMod val="65000"/>
                    <a:lumOff val="35000"/>
                  </a:schemeClr>
                </a:solidFill>
                <a:latin typeface="Arial Regular"/>
              </a:defRPr>
            </a:lvl1pPr>
          </a:lstStyle>
          <a:p>
            <a:endParaRPr lang="en-US"/>
          </a:p>
        </p:txBody>
      </p:sp>
      <p:sp>
        <p:nvSpPr>
          <p:cNvPr id="6" name="Slide Number Placeholder 5"/>
          <p:cNvSpPr>
            <a:spLocks noGrp="1"/>
          </p:cNvSpPr>
          <p:nvPr>
            <p:ph type="sldNum" sz="quarter" idx="4"/>
          </p:nvPr>
        </p:nvSpPr>
        <p:spPr>
          <a:xfrm>
            <a:off x="8991600" y="6348200"/>
            <a:ext cx="2743200" cy="154849"/>
          </a:xfrm>
          <a:prstGeom prst="rect">
            <a:avLst/>
          </a:prstGeom>
        </p:spPr>
        <p:txBody>
          <a:bodyPr vert="horz" lIns="91440" tIns="45720" rIns="91440" bIns="45720" rtlCol="0" anchor="ctr"/>
          <a:lstStyle>
            <a:lvl1pPr algn="r">
              <a:defRPr sz="1200" b="0" i="0">
                <a:solidFill>
                  <a:srgbClr val="0095D1"/>
                </a:solidFill>
                <a:latin typeface="Arial Regular"/>
              </a:defRPr>
            </a:lvl1pPr>
          </a:lstStyle>
          <a:p>
            <a:fld id="{9192A14D-5A09-466B-8DDF-D1E3FE9873CF}" type="slidenum">
              <a:rPr lang="en-US" smtClean="0"/>
              <a:pPr/>
              <a:t>‹#›</a:t>
            </a:fld>
            <a:endParaRPr lang="en-US"/>
          </a:p>
        </p:txBody>
      </p:sp>
      <p:sp>
        <p:nvSpPr>
          <p:cNvPr id="7" name="Rectangle 6">
            <a:extLst>
              <a:ext uri="{FF2B5EF4-FFF2-40B4-BE49-F238E27FC236}">
                <a16:creationId xmlns:a16="http://schemas.microsoft.com/office/drawing/2014/main" id="{80A05E72-9EF2-FD4A-A40D-BF1F0B28CBF3}"/>
              </a:ext>
            </a:extLst>
          </p:cNvPr>
          <p:cNvSpPr/>
          <p:nvPr userDrawn="1"/>
        </p:nvSpPr>
        <p:spPr>
          <a:xfrm>
            <a:off x="0" y="6607277"/>
            <a:ext cx="12192000" cy="260554"/>
          </a:xfrm>
          <a:prstGeom prst="rect">
            <a:avLst/>
          </a:prstGeom>
          <a:solidFill>
            <a:srgbClr val="0095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8" name="Rectangle 7">
            <a:extLst>
              <a:ext uri="{FF2B5EF4-FFF2-40B4-BE49-F238E27FC236}">
                <a16:creationId xmlns:a16="http://schemas.microsoft.com/office/drawing/2014/main" id="{72D15102-0B7F-1F4F-8EF7-F1F3824B8E20}"/>
              </a:ext>
            </a:extLst>
          </p:cNvPr>
          <p:cNvSpPr/>
          <p:nvPr userDrawn="1"/>
        </p:nvSpPr>
        <p:spPr>
          <a:xfrm>
            <a:off x="0" y="6577781"/>
            <a:ext cx="12192000" cy="6344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Tree>
    <p:extLst>
      <p:ext uri="{BB962C8B-B14F-4D97-AF65-F5344CB8AC3E}">
        <p14:creationId xmlns:p14="http://schemas.microsoft.com/office/powerpoint/2010/main" val="1658405347"/>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800" b="0" i="0" kern="1200" baseline="0">
          <a:solidFill>
            <a:srgbClr val="0095D1"/>
          </a:solidFill>
          <a:latin typeface="Arial Regular"/>
          <a:ea typeface="+mj-ea"/>
          <a:cs typeface="+mj-cs"/>
        </a:defRPr>
      </a:lvl1pPr>
    </p:titleStyle>
    <p:bodyStyle>
      <a:lvl1pPr marL="228600" indent="457200" algn="l" defTabSz="914400" rtl="0" eaLnBrk="1" latinLnBrk="0" hangingPunct="1">
        <a:lnSpc>
          <a:spcPct val="90000"/>
        </a:lnSpc>
        <a:spcBef>
          <a:spcPts val="1000"/>
        </a:spcBef>
        <a:buClr>
          <a:srgbClr val="FFB322"/>
        </a:buClr>
        <a:buSzPct val="75000"/>
        <a:buFont typeface=".Lucida Grande UI Regular"/>
        <a:buChar char="►"/>
        <a:defRPr sz="2800" b="0" i="0" kern="1200" baseline="0">
          <a:solidFill>
            <a:schemeClr val="tx1">
              <a:lumMod val="65000"/>
              <a:lumOff val="35000"/>
            </a:schemeClr>
          </a:solidFill>
          <a:latin typeface="Arial Regular"/>
          <a:ea typeface="+mn-ea"/>
          <a:cs typeface="+mn-cs"/>
        </a:defRPr>
      </a:lvl1pPr>
      <a:lvl2pPr marL="685800" indent="457200" algn="l" defTabSz="914400" rtl="0" eaLnBrk="1" latinLnBrk="0" hangingPunct="1">
        <a:lnSpc>
          <a:spcPct val="90000"/>
        </a:lnSpc>
        <a:spcBef>
          <a:spcPts val="500"/>
        </a:spcBef>
        <a:buClr>
          <a:srgbClr val="FFB322"/>
        </a:buClr>
        <a:buSzPct val="75000"/>
        <a:buFont typeface=".Lucida Grande UI Regular"/>
        <a:buChar char="►"/>
        <a:defRPr sz="2400" b="0" i="0" kern="1200" baseline="0">
          <a:solidFill>
            <a:schemeClr val="tx1">
              <a:lumMod val="65000"/>
              <a:lumOff val="35000"/>
            </a:schemeClr>
          </a:solidFill>
          <a:latin typeface="Arial Regular"/>
          <a:ea typeface="+mn-ea"/>
          <a:cs typeface="+mn-cs"/>
        </a:defRPr>
      </a:lvl2pPr>
      <a:lvl3pPr marL="1143000" indent="457200" algn="l" defTabSz="914400" rtl="0" eaLnBrk="1" latinLnBrk="0" hangingPunct="1">
        <a:lnSpc>
          <a:spcPct val="90000"/>
        </a:lnSpc>
        <a:spcBef>
          <a:spcPts val="500"/>
        </a:spcBef>
        <a:buClr>
          <a:srgbClr val="FFB322"/>
        </a:buClr>
        <a:buSzPct val="75000"/>
        <a:buFont typeface=".Lucida Grande UI Regular"/>
        <a:buChar char="►"/>
        <a:defRPr sz="2000" b="0" i="0" kern="1200" baseline="0">
          <a:solidFill>
            <a:schemeClr val="tx1">
              <a:lumMod val="65000"/>
              <a:lumOff val="35000"/>
            </a:schemeClr>
          </a:solidFill>
          <a:latin typeface="Arial Regular"/>
          <a:ea typeface="+mn-ea"/>
          <a:cs typeface="+mn-cs"/>
        </a:defRPr>
      </a:lvl3pPr>
      <a:lvl4pPr marL="1600200" indent="457200" algn="l" defTabSz="914400" rtl="0" eaLnBrk="1" latinLnBrk="0" hangingPunct="1">
        <a:lnSpc>
          <a:spcPct val="90000"/>
        </a:lnSpc>
        <a:spcBef>
          <a:spcPts val="500"/>
        </a:spcBef>
        <a:buClr>
          <a:srgbClr val="FFB322"/>
        </a:buClr>
        <a:buSzPct val="75000"/>
        <a:buFont typeface=".Lucida Grande UI Regular"/>
        <a:buChar char="►"/>
        <a:defRPr sz="1800" b="0" i="0" kern="1200" baseline="0">
          <a:solidFill>
            <a:schemeClr val="tx1">
              <a:lumMod val="65000"/>
              <a:lumOff val="35000"/>
            </a:schemeClr>
          </a:solidFill>
          <a:latin typeface="Arial Regular"/>
          <a:ea typeface="+mn-ea"/>
          <a:cs typeface="+mn-cs"/>
        </a:defRPr>
      </a:lvl4pPr>
      <a:lvl5pPr marL="2057400" indent="457200" algn="l" defTabSz="914400" rtl="0" eaLnBrk="1" latinLnBrk="0" hangingPunct="1">
        <a:lnSpc>
          <a:spcPct val="90000"/>
        </a:lnSpc>
        <a:spcBef>
          <a:spcPts val="500"/>
        </a:spcBef>
        <a:buClr>
          <a:srgbClr val="FFB322"/>
        </a:buClr>
        <a:buSzPct val="75000"/>
        <a:buFont typeface=".Lucida Grande UI Regular"/>
        <a:buChar char="►"/>
        <a:defRPr sz="1800" b="0" i="0" kern="1200" baseline="0">
          <a:solidFill>
            <a:schemeClr val="tx1">
              <a:lumMod val="65000"/>
              <a:lumOff val="35000"/>
            </a:schemeClr>
          </a:solidFill>
          <a:latin typeface="Arial Regular"/>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032">
          <p15:clr>
            <a:srgbClr val="F26B43"/>
          </p15:clr>
        </p15:guide>
        <p15:guide id="5" orient="horz" pos="1080">
          <p15:clr>
            <a:srgbClr val="F26B43"/>
          </p15:clr>
        </p15:guide>
        <p15:guide id="6" orient="horz" pos="1152">
          <p15:clr>
            <a:srgbClr val="F26B43"/>
          </p15:clr>
        </p15:guide>
        <p15:guide id="7"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0375" y="457200"/>
            <a:ext cx="11274426" cy="123798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60374" y="1825625"/>
            <a:ext cx="11274426" cy="4351338"/>
          </a:xfrm>
          <a:prstGeom prst="rect">
            <a:avLst/>
          </a:prstGeom>
          <a:noFill/>
        </p:spPr>
        <p:txBody>
          <a:bodyPr vert="horz" lIns="0" tIns="11430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60374" y="6348200"/>
            <a:ext cx="2743200" cy="154849"/>
          </a:xfrm>
          <a:prstGeom prst="rect">
            <a:avLst/>
          </a:prstGeom>
        </p:spPr>
        <p:txBody>
          <a:bodyPr vert="horz" lIns="91440" tIns="45720" rIns="91440" bIns="45720" rtlCol="0" anchor="ctr"/>
          <a:lstStyle>
            <a:lvl1pPr algn="l">
              <a:defRPr sz="1200" b="0" i="0">
                <a:solidFill>
                  <a:schemeClr val="tx1">
                    <a:lumMod val="65000"/>
                    <a:lumOff val="35000"/>
                  </a:schemeClr>
                </a:solidFill>
                <a:latin typeface="Arial Regular"/>
              </a:defRPr>
            </a:lvl1pPr>
          </a:lstStyle>
          <a:p>
            <a:fld id="{EED96DB9-2281-4CAF-955E-4FEB7D5BBEA4}" type="datetimeFigureOut">
              <a:rPr lang="en-US" smtClean="0"/>
              <a:pPr/>
              <a:t>3/1/23</a:t>
            </a:fld>
            <a:endParaRPr lang="en-US"/>
          </a:p>
        </p:txBody>
      </p:sp>
      <p:sp>
        <p:nvSpPr>
          <p:cNvPr id="5" name="Footer Placeholder 4"/>
          <p:cNvSpPr>
            <a:spLocks noGrp="1"/>
          </p:cNvSpPr>
          <p:nvPr>
            <p:ph type="ftr" sz="quarter" idx="3"/>
          </p:nvPr>
        </p:nvSpPr>
        <p:spPr>
          <a:xfrm>
            <a:off x="4038600" y="6348200"/>
            <a:ext cx="4114800" cy="154849"/>
          </a:xfrm>
          <a:prstGeom prst="rect">
            <a:avLst/>
          </a:prstGeom>
        </p:spPr>
        <p:txBody>
          <a:bodyPr vert="horz" lIns="91440" tIns="45720" rIns="91440" bIns="45720" rtlCol="0" anchor="ctr"/>
          <a:lstStyle>
            <a:lvl1pPr algn="ctr">
              <a:defRPr sz="1200" b="0" i="0">
                <a:solidFill>
                  <a:schemeClr val="tx1">
                    <a:lumMod val="65000"/>
                    <a:lumOff val="35000"/>
                  </a:schemeClr>
                </a:solidFill>
                <a:latin typeface="Arial Regular"/>
              </a:defRPr>
            </a:lvl1pPr>
          </a:lstStyle>
          <a:p>
            <a:endParaRPr lang="en-US"/>
          </a:p>
        </p:txBody>
      </p:sp>
      <p:sp>
        <p:nvSpPr>
          <p:cNvPr id="6" name="Slide Number Placeholder 5"/>
          <p:cNvSpPr>
            <a:spLocks noGrp="1"/>
          </p:cNvSpPr>
          <p:nvPr>
            <p:ph type="sldNum" sz="quarter" idx="4"/>
          </p:nvPr>
        </p:nvSpPr>
        <p:spPr>
          <a:xfrm>
            <a:off x="8991600" y="6348200"/>
            <a:ext cx="2743200" cy="154849"/>
          </a:xfrm>
          <a:prstGeom prst="rect">
            <a:avLst/>
          </a:prstGeom>
        </p:spPr>
        <p:txBody>
          <a:bodyPr vert="horz" lIns="91440" tIns="45720" rIns="91440" bIns="45720" rtlCol="0" anchor="ctr"/>
          <a:lstStyle>
            <a:lvl1pPr algn="r">
              <a:defRPr sz="1200" b="0" i="0">
                <a:solidFill>
                  <a:srgbClr val="0095D1"/>
                </a:solidFill>
                <a:latin typeface="Arial Regular"/>
              </a:defRPr>
            </a:lvl1pPr>
          </a:lstStyle>
          <a:p>
            <a:fld id="{9192A14D-5A09-466B-8DDF-D1E3FE9873CF}" type="slidenum">
              <a:rPr lang="en-US" smtClean="0"/>
              <a:pPr/>
              <a:t>‹#›</a:t>
            </a:fld>
            <a:endParaRPr lang="en-US"/>
          </a:p>
        </p:txBody>
      </p:sp>
      <p:sp>
        <p:nvSpPr>
          <p:cNvPr id="7" name="Rectangle 6">
            <a:extLst>
              <a:ext uri="{FF2B5EF4-FFF2-40B4-BE49-F238E27FC236}">
                <a16:creationId xmlns:a16="http://schemas.microsoft.com/office/drawing/2014/main" id="{80A05E72-9EF2-FD4A-A40D-BF1F0B28CBF3}"/>
              </a:ext>
            </a:extLst>
          </p:cNvPr>
          <p:cNvSpPr/>
          <p:nvPr userDrawn="1"/>
        </p:nvSpPr>
        <p:spPr>
          <a:xfrm>
            <a:off x="0" y="6607277"/>
            <a:ext cx="12192000" cy="260554"/>
          </a:xfrm>
          <a:prstGeom prst="rect">
            <a:avLst/>
          </a:prstGeom>
          <a:solidFill>
            <a:srgbClr val="0095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
        <p:nvSpPr>
          <p:cNvPr id="8" name="Rectangle 7">
            <a:extLst>
              <a:ext uri="{FF2B5EF4-FFF2-40B4-BE49-F238E27FC236}">
                <a16:creationId xmlns:a16="http://schemas.microsoft.com/office/drawing/2014/main" id="{72D15102-0B7F-1F4F-8EF7-F1F3824B8E20}"/>
              </a:ext>
            </a:extLst>
          </p:cNvPr>
          <p:cNvSpPr/>
          <p:nvPr userDrawn="1"/>
        </p:nvSpPr>
        <p:spPr>
          <a:xfrm>
            <a:off x="0" y="6577781"/>
            <a:ext cx="12192000" cy="6344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Arial Regular"/>
            </a:endParaRPr>
          </a:p>
        </p:txBody>
      </p:sp>
    </p:spTree>
    <p:extLst>
      <p:ext uri="{BB962C8B-B14F-4D97-AF65-F5344CB8AC3E}">
        <p14:creationId xmlns:p14="http://schemas.microsoft.com/office/powerpoint/2010/main" val="4251920169"/>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800" b="0" i="0" kern="1200" baseline="0">
          <a:solidFill>
            <a:srgbClr val="0095D1"/>
          </a:solidFill>
          <a:latin typeface="Arial Regular"/>
          <a:ea typeface="+mj-ea"/>
          <a:cs typeface="+mj-cs"/>
        </a:defRPr>
      </a:lvl1pPr>
    </p:titleStyle>
    <p:bodyStyle>
      <a:lvl1pPr marL="228600" indent="457200" algn="l" defTabSz="914400" rtl="0" eaLnBrk="1" latinLnBrk="0" hangingPunct="1">
        <a:lnSpc>
          <a:spcPct val="90000"/>
        </a:lnSpc>
        <a:spcBef>
          <a:spcPts val="1000"/>
        </a:spcBef>
        <a:buClr>
          <a:srgbClr val="FFB322"/>
        </a:buClr>
        <a:buSzPct val="75000"/>
        <a:buFont typeface=".Lucida Grande UI Regular"/>
        <a:buChar char="►"/>
        <a:defRPr sz="2800" b="0" i="0" kern="1200" baseline="0">
          <a:solidFill>
            <a:schemeClr val="tx1">
              <a:lumMod val="65000"/>
              <a:lumOff val="35000"/>
            </a:schemeClr>
          </a:solidFill>
          <a:latin typeface="Arial Regular"/>
          <a:ea typeface="+mn-ea"/>
          <a:cs typeface="+mn-cs"/>
        </a:defRPr>
      </a:lvl1pPr>
      <a:lvl2pPr marL="685800" indent="457200" algn="l" defTabSz="914400" rtl="0" eaLnBrk="1" latinLnBrk="0" hangingPunct="1">
        <a:lnSpc>
          <a:spcPct val="90000"/>
        </a:lnSpc>
        <a:spcBef>
          <a:spcPts val="500"/>
        </a:spcBef>
        <a:buClr>
          <a:srgbClr val="FFB322"/>
        </a:buClr>
        <a:buSzPct val="75000"/>
        <a:buFont typeface=".Lucida Grande UI Regular"/>
        <a:buChar char="►"/>
        <a:defRPr sz="2400" b="0" i="0" kern="1200" baseline="0">
          <a:solidFill>
            <a:schemeClr val="tx1">
              <a:lumMod val="65000"/>
              <a:lumOff val="35000"/>
            </a:schemeClr>
          </a:solidFill>
          <a:latin typeface="Arial Regular"/>
          <a:ea typeface="+mn-ea"/>
          <a:cs typeface="+mn-cs"/>
        </a:defRPr>
      </a:lvl2pPr>
      <a:lvl3pPr marL="1143000" indent="457200" algn="l" defTabSz="914400" rtl="0" eaLnBrk="1" latinLnBrk="0" hangingPunct="1">
        <a:lnSpc>
          <a:spcPct val="90000"/>
        </a:lnSpc>
        <a:spcBef>
          <a:spcPts val="500"/>
        </a:spcBef>
        <a:buClr>
          <a:srgbClr val="FFB322"/>
        </a:buClr>
        <a:buSzPct val="75000"/>
        <a:buFont typeface=".Lucida Grande UI Regular"/>
        <a:buChar char="►"/>
        <a:defRPr sz="2000" b="0" i="0" kern="1200" baseline="0">
          <a:solidFill>
            <a:schemeClr val="tx1">
              <a:lumMod val="65000"/>
              <a:lumOff val="35000"/>
            </a:schemeClr>
          </a:solidFill>
          <a:latin typeface="Arial Regular"/>
          <a:ea typeface="+mn-ea"/>
          <a:cs typeface="+mn-cs"/>
        </a:defRPr>
      </a:lvl3pPr>
      <a:lvl4pPr marL="1600200" indent="457200" algn="l" defTabSz="914400" rtl="0" eaLnBrk="1" latinLnBrk="0" hangingPunct="1">
        <a:lnSpc>
          <a:spcPct val="90000"/>
        </a:lnSpc>
        <a:spcBef>
          <a:spcPts val="500"/>
        </a:spcBef>
        <a:buClr>
          <a:srgbClr val="FFB322"/>
        </a:buClr>
        <a:buSzPct val="75000"/>
        <a:buFont typeface=".Lucida Grande UI Regular"/>
        <a:buChar char="►"/>
        <a:defRPr sz="1800" b="0" i="0" kern="1200" baseline="0">
          <a:solidFill>
            <a:schemeClr val="tx1">
              <a:lumMod val="65000"/>
              <a:lumOff val="35000"/>
            </a:schemeClr>
          </a:solidFill>
          <a:latin typeface="Arial Regular"/>
          <a:ea typeface="+mn-ea"/>
          <a:cs typeface="+mn-cs"/>
        </a:defRPr>
      </a:lvl4pPr>
      <a:lvl5pPr marL="2057400" indent="457200" algn="l" defTabSz="914400" rtl="0" eaLnBrk="1" latinLnBrk="0" hangingPunct="1">
        <a:lnSpc>
          <a:spcPct val="90000"/>
        </a:lnSpc>
        <a:spcBef>
          <a:spcPts val="500"/>
        </a:spcBef>
        <a:buClr>
          <a:srgbClr val="FFB322"/>
        </a:buClr>
        <a:buSzPct val="75000"/>
        <a:buFont typeface=".Lucida Grande UI Regular"/>
        <a:buChar char="►"/>
        <a:defRPr sz="1800" b="0" i="0" kern="1200" baseline="0">
          <a:solidFill>
            <a:schemeClr val="tx1">
              <a:lumMod val="65000"/>
              <a:lumOff val="35000"/>
            </a:schemeClr>
          </a:solidFill>
          <a:latin typeface="Arial Regular"/>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4032">
          <p15:clr>
            <a:srgbClr val="F26B43"/>
          </p15:clr>
        </p15:guide>
        <p15:guide id="5" orient="horz" pos="1080">
          <p15:clr>
            <a:srgbClr val="F26B43"/>
          </p15:clr>
        </p15:guide>
        <p15:guide id="6" orient="horz" pos="1152">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0.xml"/><Relationship Id="rId1" Type="http://schemas.openxmlformats.org/officeDocument/2006/relationships/slideLayout" Target="../slideLayouts/slideLayout108.xml"/></Relationships>
</file>

<file path=ppt/slides/_rels/slide1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notesSlide" Target="../notesSlides/notesSlide12.xml"/><Relationship Id="rId4" Type="http://schemas.openxmlformats.org/officeDocument/2006/relationships/slideLayout" Target="../slideLayouts/slideLayout103.xml"/></Relationships>
</file>

<file path=ppt/slides/_rels/slide1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3.xml"/><Relationship Id="rId1" Type="http://schemas.openxmlformats.org/officeDocument/2006/relationships/slideLayout" Target="../slideLayouts/slideLayout108.xml"/></Relationships>
</file>

<file path=ppt/slides/_rels/slide1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4.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96.xml"/><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96.xml"/><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17.xml"/><Relationship Id="rId1" Type="http://schemas.openxmlformats.org/officeDocument/2006/relationships/slideLayout" Target="../slideLayouts/slideLayout90.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hyperlink" Target="https://bgcaboards.org/" TargetMode="External"/><Relationship Id="rId2" Type="http://schemas.openxmlformats.org/officeDocument/2006/relationships/notesSlide" Target="../notesSlides/notesSlide18.xml"/><Relationship Id="rId1" Type="http://schemas.openxmlformats.org/officeDocument/2006/relationships/slideLayout" Target="../slideLayouts/slideLayout145.xml"/><Relationship Id="rId6" Type="http://schemas.openxmlformats.org/officeDocument/2006/relationships/image" Target="../media/image58.png"/><Relationship Id="rId5" Type="http://schemas.openxmlformats.org/officeDocument/2006/relationships/hyperlink" Target="http://www.bgca.net/" TargetMode="External"/><Relationship Id="rId4" Type="http://schemas.openxmlformats.org/officeDocument/2006/relationships/hyperlink" Target="https://www.linkedin.com/groups/14086385/"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9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4.xml"/><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0.xml"/></Relationships>
</file>

<file path=ppt/slides/_rels/slide7.xml.rels><?xml version="1.0" encoding="UTF-8" standalone="yes"?>
<Relationships xmlns="http://schemas.openxmlformats.org/package/2006/relationships"><Relationship Id="rId8" Type="http://schemas.openxmlformats.org/officeDocument/2006/relationships/hyperlink" Target="mailto:jim@thesrc.com" TargetMode="External"/><Relationship Id="rId13" Type="http://schemas.openxmlformats.org/officeDocument/2006/relationships/hyperlink" Target="mailto:jamesnewland2@charter.net" TargetMode="External"/><Relationship Id="rId18" Type="http://schemas.openxmlformats.org/officeDocument/2006/relationships/hyperlink" Target="mailto:dharbaugh@hddholdings.com" TargetMode="External"/><Relationship Id="rId3" Type="http://schemas.openxmlformats.org/officeDocument/2006/relationships/hyperlink" Target="mailto:ann.farrell@alignunifythrive.com" TargetMode="External"/><Relationship Id="rId7" Type="http://schemas.openxmlformats.org/officeDocument/2006/relationships/hyperlink" Target="mailto:jan@cundy.biz" TargetMode="External"/><Relationship Id="rId12" Type="http://schemas.openxmlformats.org/officeDocument/2006/relationships/hyperlink" Target="mailto:armelson1@gmail.com" TargetMode="External"/><Relationship Id="rId17" Type="http://schemas.openxmlformats.org/officeDocument/2006/relationships/hyperlink" Target="mailto:jimtfranklin@me.com" TargetMode="External"/><Relationship Id="rId2" Type="http://schemas.openxmlformats.org/officeDocument/2006/relationships/notesSlide" Target="../notesSlides/notesSlide7.xml"/><Relationship Id="rId16" Type="http://schemas.openxmlformats.org/officeDocument/2006/relationships/hyperlink" Target="mailto:joepags68@outlook.com" TargetMode="External"/><Relationship Id="rId20" Type="http://schemas.openxmlformats.org/officeDocument/2006/relationships/hyperlink" Target="mailto:gsmith@lillycreekcapital.com" TargetMode="External"/><Relationship Id="rId1" Type="http://schemas.openxmlformats.org/officeDocument/2006/relationships/slideLayout" Target="../slideLayouts/slideLayout161.xml"/><Relationship Id="rId6" Type="http://schemas.openxmlformats.org/officeDocument/2006/relationships/hyperlink" Target="mailto:dpmiller89@yahoo.com" TargetMode="External"/><Relationship Id="rId11" Type="http://schemas.openxmlformats.org/officeDocument/2006/relationships/hyperlink" Target="mailto:arthurcullen@gmail.com" TargetMode="External"/><Relationship Id="rId5" Type="http://schemas.openxmlformats.org/officeDocument/2006/relationships/hyperlink" Target="mailto:drdawnmiller@sbcglobal.net" TargetMode="External"/><Relationship Id="rId15" Type="http://schemas.openxmlformats.org/officeDocument/2006/relationships/hyperlink" Target="mailto:hnmalone+bgc@gmail.com" TargetMode="External"/><Relationship Id="rId10" Type="http://schemas.openxmlformats.org/officeDocument/2006/relationships/hyperlink" Target="mailto:jander2938@aol.com" TargetMode="External"/><Relationship Id="rId19" Type="http://schemas.openxmlformats.org/officeDocument/2006/relationships/hyperlink" Target="mailto:rpeterson@porteradvertising.com" TargetMode="External"/><Relationship Id="rId4" Type="http://schemas.openxmlformats.org/officeDocument/2006/relationships/hyperlink" Target="mailto:jim@nerdcrossing.com" TargetMode="External"/><Relationship Id="rId9" Type="http://schemas.openxmlformats.org/officeDocument/2006/relationships/hyperlink" Target="mailto:tonytrevino9@gmail.com" TargetMode="External"/><Relationship Id="rId14" Type="http://schemas.openxmlformats.org/officeDocument/2006/relationships/hyperlink" Target="mailto:jacksonp@univest.net"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emf"/><Relationship Id="rId7" Type="http://schemas.openxmlformats.org/officeDocument/2006/relationships/image" Target="../media/image46.svg"/><Relationship Id="rId2" Type="http://schemas.openxmlformats.org/officeDocument/2006/relationships/notesSlide" Target="../notesSlides/notesSlide8.xml"/><Relationship Id="rId1" Type="http://schemas.openxmlformats.org/officeDocument/2006/relationships/slideLayout" Target="../slideLayouts/slideLayout78.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sv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4C32DB8E-3EAC-4950-A64A-56982714BA2E}"/>
              </a:ext>
            </a:extLst>
          </p:cNvPr>
          <p:cNvSpPr/>
          <p:nvPr/>
        </p:nvSpPr>
        <p:spPr>
          <a:xfrm>
            <a:off x="1523999" y="4830647"/>
            <a:ext cx="9980141" cy="1222058"/>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09DDC"/>
          </a:solidFill>
        </p:spPr>
        <p:txBody>
          <a:bodyPr wrap="square" lIns="0" tIns="0" rIns="0" bIns="0" rtlCol="0"/>
          <a:lstStyle/>
          <a:p>
            <a:pPr defTabSz="605150"/>
            <a:endParaRPr sz="1191">
              <a:solidFill>
                <a:prstClr val="black"/>
              </a:solidFill>
              <a:latin typeface="Calibri"/>
            </a:endParaRPr>
          </a:p>
        </p:txBody>
      </p:sp>
      <p:sp>
        <p:nvSpPr>
          <p:cNvPr id="5" name="object 3">
            <a:extLst>
              <a:ext uri="{FF2B5EF4-FFF2-40B4-BE49-F238E27FC236}">
                <a16:creationId xmlns:a16="http://schemas.microsoft.com/office/drawing/2014/main" id="{34B9B0B7-8D9B-44F4-B283-5C1D91F204B5}"/>
              </a:ext>
            </a:extLst>
          </p:cNvPr>
          <p:cNvSpPr txBox="1"/>
          <p:nvPr/>
        </p:nvSpPr>
        <p:spPr>
          <a:xfrm>
            <a:off x="1886237" y="5112593"/>
            <a:ext cx="8419525" cy="935211"/>
          </a:xfrm>
          <a:prstGeom prst="rect">
            <a:avLst/>
          </a:prstGeom>
        </p:spPr>
        <p:txBody>
          <a:bodyPr vert="horz" wrap="square" lIns="0" tIns="11766" rIns="0" bIns="0" rtlCol="0" anchor="t">
            <a:spAutoFit/>
          </a:bodyPr>
          <a:lstStyle/>
          <a:p>
            <a:pPr marL="8096" defTabSz="685800"/>
            <a:r>
              <a:rPr lang="en-US" sz="3600" b="1" spc="66">
                <a:solidFill>
                  <a:srgbClr val="FFFFFF"/>
                </a:solidFill>
                <a:latin typeface="Arial"/>
                <a:cs typeface="Arial"/>
              </a:rPr>
              <a:t>Area Council Liaison Orientation</a:t>
            </a:r>
            <a:br>
              <a:rPr lang="en-US" sz="3000" b="1" spc="66">
                <a:solidFill>
                  <a:srgbClr val="000000"/>
                </a:solidFill>
                <a:latin typeface="Arial" panose="020B0604020202020204" pitchFamily="34" charset="0"/>
                <a:cs typeface="Arial" panose="020B0604020202020204" pitchFamily="34" charset="0"/>
              </a:rPr>
            </a:br>
            <a:endParaRPr lang="en-US" sz="2400" spc="66">
              <a:solidFill>
                <a:srgbClr val="FFFFFF"/>
              </a:solidFill>
              <a:latin typeface="Arial"/>
              <a:cs typeface="Arial"/>
            </a:endParaRPr>
          </a:p>
        </p:txBody>
      </p:sp>
      <p:pic>
        <p:nvPicPr>
          <p:cNvPr id="6" name="Picture 5">
            <a:extLst>
              <a:ext uri="{FF2B5EF4-FFF2-40B4-BE49-F238E27FC236}">
                <a16:creationId xmlns:a16="http://schemas.microsoft.com/office/drawing/2014/main" id="{33DA4410-1022-4356-AF0D-B0EBAFD013A4}"/>
              </a:ext>
            </a:extLst>
          </p:cNvPr>
          <p:cNvPicPr>
            <a:picLocks noChangeAspect="1"/>
          </p:cNvPicPr>
          <p:nvPr/>
        </p:nvPicPr>
        <p:blipFill rotWithShape="1">
          <a:blip r:embed="rId3"/>
          <a:srcRect l="6718" r="8974"/>
          <a:stretch/>
        </p:blipFill>
        <p:spPr>
          <a:xfrm>
            <a:off x="9591565" y="4547928"/>
            <a:ext cx="2152869" cy="1787496"/>
          </a:xfrm>
          <a:prstGeom prst="rect">
            <a:avLst/>
          </a:prstGeom>
        </p:spPr>
      </p:pic>
    </p:spTree>
    <p:extLst>
      <p:ext uri="{BB962C8B-B14F-4D97-AF65-F5344CB8AC3E}">
        <p14:creationId xmlns:p14="http://schemas.microsoft.com/office/powerpoint/2010/main" val="3064282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860D5A-278E-437D-B02D-4D2C0F716CE7}"/>
              </a:ext>
            </a:extLst>
          </p:cNvPr>
          <p:cNvSpPr>
            <a:spLocks noGrp="1"/>
          </p:cNvSpPr>
          <p:nvPr>
            <p:ph type="title"/>
          </p:nvPr>
        </p:nvSpPr>
        <p:spPr>
          <a:xfrm>
            <a:off x="2801900" y="123567"/>
            <a:ext cx="8735192" cy="4324865"/>
          </a:xfrm>
        </p:spPr>
        <p:txBody>
          <a:bodyPr>
            <a:normAutofit/>
          </a:bodyPr>
          <a:lstStyle/>
          <a:p>
            <a:pPr algn="ctr"/>
            <a:r>
              <a:rPr lang="en-US" sz="4800"/>
              <a:t>Area Council Governance </a:t>
            </a:r>
            <a:br>
              <a:rPr lang="en-US"/>
            </a:br>
            <a:r>
              <a:rPr lang="en-US"/>
              <a:t> </a:t>
            </a:r>
            <a:br>
              <a:rPr lang="en-US"/>
            </a:br>
            <a:r>
              <a:rPr lang="en-US"/>
              <a:t>The Role of the Chairperson</a:t>
            </a:r>
          </a:p>
        </p:txBody>
      </p:sp>
      <p:pic>
        <p:nvPicPr>
          <p:cNvPr id="4" name="Picture 3">
            <a:extLst>
              <a:ext uri="{FF2B5EF4-FFF2-40B4-BE49-F238E27FC236}">
                <a16:creationId xmlns:a16="http://schemas.microsoft.com/office/drawing/2014/main" id="{DAC25212-F635-451F-99D9-D9F95A0564AF}"/>
              </a:ext>
            </a:extLst>
          </p:cNvPr>
          <p:cNvPicPr>
            <a:picLocks noChangeAspect="1"/>
          </p:cNvPicPr>
          <p:nvPr/>
        </p:nvPicPr>
        <p:blipFill>
          <a:blip r:embed="rId3"/>
          <a:stretch>
            <a:fillRect/>
          </a:stretch>
        </p:blipFill>
        <p:spPr>
          <a:xfrm>
            <a:off x="9440145" y="301228"/>
            <a:ext cx="2518691" cy="1762349"/>
          </a:xfrm>
          <a:prstGeom prst="rect">
            <a:avLst/>
          </a:prstGeom>
        </p:spPr>
      </p:pic>
    </p:spTree>
    <p:extLst>
      <p:ext uri="{BB962C8B-B14F-4D97-AF65-F5344CB8AC3E}">
        <p14:creationId xmlns:p14="http://schemas.microsoft.com/office/powerpoint/2010/main" val="1315213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550F4-95A9-4C8C-B23D-7F7C139300DA}"/>
              </a:ext>
            </a:extLst>
          </p:cNvPr>
          <p:cNvSpPr>
            <a:spLocks noGrp="1"/>
          </p:cNvSpPr>
          <p:nvPr>
            <p:ph type="title"/>
          </p:nvPr>
        </p:nvSpPr>
        <p:spPr>
          <a:xfrm>
            <a:off x="95410" y="1431326"/>
            <a:ext cx="3202220" cy="5257800"/>
          </a:xfrm>
        </p:spPr>
        <p:txBody>
          <a:bodyPr/>
          <a:lstStyle/>
          <a:p>
            <a:pPr algn="ctr"/>
            <a:r>
              <a:rPr lang="en-US"/>
              <a:t>Area Council Officers</a:t>
            </a:r>
            <a:br>
              <a:rPr lang="en-US"/>
            </a:br>
            <a:endParaRPr lang="en-US"/>
          </a:p>
        </p:txBody>
      </p:sp>
      <p:pic>
        <p:nvPicPr>
          <p:cNvPr id="8" name="Picture 7">
            <a:extLst>
              <a:ext uri="{FF2B5EF4-FFF2-40B4-BE49-F238E27FC236}">
                <a16:creationId xmlns:a16="http://schemas.microsoft.com/office/drawing/2014/main" id="{9C765A57-D492-448B-B563-D291E04B3BF7}"/>
              </a:ext>
            </a:extLst>
          </p:cNvPr>
          <p:cNvPicPr>
            <a:picLocks noChangeAspect="1"/>
          </p:cNvPicPr>
          <p:nvPr/>
        </p:nvPicPr>
        <p:blipFill>
          <a:blip r:embed="rId3"/>
          <a:stretch>
            <a:fillRect/>
          </a:stretch>
        </p:blipFill>
        <p:spPr>
          <a:xfrm>
            <a:off x="606014" y="496956"/>
            <a:ext cx="2256626" cy="1578980"/>
          </a:xfrm>
          <a:prstGeom prst="rect">
            <a:avLst/>
          </a:prstGeom>
        </p:spPr>
      </p:pic>
      <p:sp>
        <p:nvSpPr>
          <p:cNvPr id="6" name="Content Placeholder 2">
            <a:extLst>
              <a:ext uri="{FF2B5EF4-FFF2-40B4-BE49-F238E27FC236}">
                <a16:creationId xmlns:a16="http://schemas.microsoft.com/office/drawing/2014/main" id="{F289969D-7A6D-4165-9C7D-B448A8387C45}"/>
              </a:ext>
            </a:extLst>
          </p:cNvPr>
          <p:cNvSpPr>
            <a:spLocks noGrp="1"/>
          </p:cNvSpPr>
          <p:nvPr>
            <p:ph idx="1"/>
          </p:nvPr>
        </p:nvSpPr>
        <p:spPr>
          <a:xfrm>
            <a:off x="5483975" y="231598"/>
            <a:ext cx="6235510" cy="6178378"/>
          </a:xfrm>
        </p:spPr>
        <p:txBody>
          <a:bodyPr anchor="ctr">
            <a:normAutofit/>
          </a:bodyPr>
          <a:lstStyle/>
          <a:p>
            <a:pPr marL="0" indent="0">
              <a:buNone/>
            </a:pPr>
            <a:r>
              <a:rPr lang="en-US" sz="2400">
                <a:solidFill>
                  <a:schemeClr val="bg2"/>
                </a:solidFill>
              </a:rPr>
              <a:t>A</a:t>
            </a:r>
            <a:r>
              <a:rPr lang="en-US" sz="2400" b="1">
                <a:solidFill>
                  <a:schemeClr val="bg2"/>
                </a:solidFill>
              </a:rPr>
              <a:t>n Area Council </a:t>
            </a:r>
            <a:r>
              <a:rPr lang="en-US" sz="2400" b="1" u="sng">
                <a:solidFill>
                  <a:schemeClr val="bg2"/>
                </a:solidFill>
              </a:rPr>
              <a:t>elects:</a:t>
            </a:r>
          </a:p>
          <a:p>
            <a:pPr marL="0" indent="0">
              <a:buNone/>
            </a:pPr>
            <a:r>
              <a:rPr lang="en-US" sz="2400" b="0">
                <a:solidFill>
                  <a:schemeClr val="bg2"/>
                </a:solidFill>
              </a:rPr>
              <a:t>• Chair</a:t>
            </a:r>
          </a:p>
          <a:p>
            <a:pPr marL="0" indent="0">
              <a:buNone/>
            </a:pPr>
            <a:r>
              <a:rPr lang="en-US" sz="2400" b="0">
                <a:solidFill>
                  <a:schemeClr val="bg2"/>
                </a:solidFill>
              </a:rPr>
              <a:t>• Vice Chair</a:t>
            </a:r>
          </a:p>
          <a:p>
            <a:pPr marL="0" indent="0">
              <a:buNone/>
            </a:pPr>
            <a:r>
              <a:rPr lang="en-US" sz="2400" b="0">
                <a:solidFill>
                  <a:schemeClr val="bg2"/>
                </a:solidFill>
              </a:rPr>
              <a:t>• Treasurer</a:t>
            </a:r>
          </a:p>
          <a:p>
            <a:pPr marL="0" indent="0">
              <a:buNone/>
            </a:pPr>
            <a:endParaRPr lang="en-US" sz="900" b="0">
              <a:solidFill>
                <a:schemeClr val="bg2"/>
              </a:solidFill>
            </a:endParaRPr>
          </a:p>
          <a:p>
            <a:pPr marL="0" indent="0">
              <a:buNone/>
            </a:pPr>
            <a:r>
              <a:rPr lang="en-US" sz="2400">
                <a:solidFill>
                  <a:schemeClr val="bg2"/>
                </a:solidFill>
              </a:rPr>
              <a:t>T</a:t>
            </a:r>
            <a:r>
              <a:rPr lang="en-US" sz="2400" b="1">
                <a:solidFill>
                  <a:schemeClr val="bg2"/>
                </a:solidFill>
              </a:rPr>
              <a:t>he Chair </a:t>
            </a:r>
            <a:r>
              <a:rPr lang="en-US" sz="2400" b="1" u="sng">
                <a:solidFill>
                  <a:schemeClr val="bg2"/>
                </a:solidFill>
              </a:rPr>
              <a:t>appoints:</a:t>
            </a:r>
          </a:p>
          <a:p>
            <a:pPr marL="0" indent="0">
              <a:buNone/>
            </a:pPr>
            <a:r>
              <a:rPr lang="en-US" sz="2400" b="0">
                <a:solidFill>
                  <a:schemeClr val="bg2"/>
                </a:solidFill>
              </a:rPr>
              <a:t>• Executive Secretary (often the CEO of the Chair’s Organization)</a:t>
            </a:r>
          </a:p>
          <a:p>
            <a:pPr marL="0" indent="0">
              <a:buNone/>
            </a:pPr>
            <a:endParaRPr lang="en-US" sz="2400" b="1" u="sng">
              <a:solidFill>
                <a:schemeClr val="bg2"/>
              </a:solidFill>
            </a:endParaRPr>
          </a:p>
          <a:p>
            <a:pPr marL="0" indent="0">
              <a:buNone/>
            </a:pPr>
            <a:r>
              <a:rPr lang="en-US" sz="2400">
                <a:solidFill>
                  <a:schemeClr val="bg2"/>
                </a:solidFill>
              </a:rPr>
              <a:t>Area Councils include </a:t>
            </a:r>
            <a:r>
              <a:rPr lang="en-US" sz="2400" u="sng">
                <a:solidFill>
                  <a:schemeClr val="bg2"/>
                </a:solidFill>
              </a:rPr>
              <a:t>Ex-officio representatives </a:t>
            </a:r>
            <a:r>
              <a:rPr lang="en-US" sz="2400">
                <a:solidFill>
                  <a:schemeClr val="bg2"/>
                </a:solidFill>
              </a:rPr>
              <a:t>connected to the National BGCA acting as partners:</a:t>
            </a:r>
          </a:p>
          <a:p>
            <a:pPr marL="0" indent="0">
              <a:buNone/>
            </a:pPr>
            <a:r>
              <a:rPr lang="en-US" sz="2400" b="0">
                <a:solidFill>
                  <a:schemeClr val="bg2"/>
                </a:solidFill>
              </a:rPr>
              <a:t>• NACC Representative</a:t>
            </a:r>
          </a:p>
          <a:p>
            <a:pPr marL="0" indent="0">
              <a:buNone/>
            </a:pPr>
            <a:r>
              <a:rPr lang="en-US" sz="2400" b="0">
                <a:solidFill>
                  <a:schemeClr val="bg2"/>
                </a:solidFill>
              </a:rPr>
              <a:t>• BGCA Director of Development (DOD)</a:t>
            </a:r>
          </a:p>
          <a:p>
            <a:endParaRPr lang="en-US" sz="1900"/>
          </a:p>
        </p:txBody>
      </p:sp>
      <p:grpSp>
        <p:nvGrpSpPr>
          <p:cNvPr id="34" name="Group 33">
            <a:extLst>
              <a:ext uri="{FF2B5EF4-FFF2-40B4-BE49-F238E27FC236}">
                <a16:creationId xmlns:a16="http://schemas.microsoft.com/office/drawing/2014/main" id="{1845AA5D-B3C6-447D-9097-BCA522DAE968}"/>
              </a:ext>
            </a:extLst>
          </p:cNvPr>
          <p:cNvGrpSpPr/>
          <p:nvPr/>
        </p:nvGrpSpPr>
        <p:grpSpPr>
          <a:xfrm>
            <a:off x="3700385" y="1578375"/>
            <a:ext cx="1284278" cy="1404177"/>
            <a:chOff x="5259895" y="2436780"/>
            <a:chExt cx="1672208" cy="1828323"/>
          </a:xfrm>
          <a:solidFill>
            <a:schemeClr val="accent1"/>
          </a:solidFill>
        </p:grpSpPr>
        <p:sp>
          <p:nvSpPr>
            <p:cNvPr id="35" name="Freeform 6">
              <a:extLst>
                <a:ext uri="{FF2B5EF4-FFF2-40B4-BE49-F238E27FC236}">
                  <a16:creationId xmlns:a16="http://schemas.microsoft.com/office/drawing/2014/main" id="{104C88EE-ACB0-4E7E-BC3B-9AB5F744E372}"/>
                </a:ext>
              </a:extLst>
            </p:cNvPr>
            <p:cNvSpPr/>
            <p:nvPr/>
          </p:nvSpPr>
          <p:spPr>
            <a:xfrm>
              <a:off x="5803772" y="31065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453" y="226219"/>
                    <a:pt x="226219" y="195548"/>
                    <a:pt x="226219" y="157734"/>
                  </a:cubicBezTo>
                  <a:lnTo>
                    <a:pt x="226219" y="68580"/>
                  </a:lnTo>
                  <a:cubicBezTo>
                    <a:pt x="226219" y="30766"/>
                    <a:pt x="195453" y="0"/>
                    <a:pt x="157734" y="0"/>
                  </a:cubicBezTo>
                  <a:close/>
                  <a:moveTo>
                    <a:pt x="171450" y="157734"/>
                  </a:moveTo>
                  <a:cubicBezTo>
                    <a:pt x="171450" y="165354"/>
                    <a:pt x="165259"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259"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36" name="Freeform 7">
              <a:extLst>
                <a:ext uri="{FF2B5EF4-FFF2-40B4-BE49-F238E27FC236}">
                  <a16:creationId xmlns:a16="http://schemas.microsoft.com/office/drawing/2014/main" id="{34276234-A327-4FF9-BABC-AC0B2B257029}"/>
                </a:ext>
              </a:extLst>
            </p:cNvPr>
            <p:cNvSpPr/>
            <p:nvPr/>
          </p:nvSpPr>
          <p:spPr>
            <a:xfrm>
              <a:off x="6161436" y="31065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37" name="Freeform 8">
              <a:extLst>
                <a:ext uri="{FF2B5EF4-FFF2-40B4-BE49-F238E27FC236}">
                  <a16:creationId xmlns:a16="http://schemas.microsoft.com/office/drawing/2014/main" id="{BBC0FE88-940F-47DD-8DE0-6A178F919D31}"/>
                </a:ext>
              </a:extLst>
            </p:cNvPr>
            <p:cNvSpPr/>
            <p:nvPr/>
          </p:nvSpPr>
          <p:spPr>
            <a:xfrm>
              <a:off x="6519100" y="31065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38" name="Freeform 9">
              <a:extLst>
                <a:ext uri="{FF2B5EF4-FFF2-40B4-BE49-F238E27FC236}">
                  <a16:creationId xmlns:a16="http://schemas.microsoft.com/office/drawing/2014/main" id="{4383030D-C501-4ED4-A137-253A9E3F0B57}"/>
                </a:ext>
              </a:extLst>
            </p:cNvPr>
            <p:cNvSpPr/>
            <p:nvPr/>
          </p:nvSpPr>
          <p:spPr>
            <a:xfrm>
              <a:off x="5446109" y="34494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453" y="226219"/>
                    <a:pt x="226219" y="195548"/>
                    <a:pt x="226219" y="157734"/>
                  </a:cubicBezTo>
                  <a:lnTo>
                    <a:pt x="226219" y="68580"/>
                  </a:lnTo>
                  <a:cubicBezTo>
                    <a:pt x="226219" y="30766"/>
                    <a:pt x="195453" y="0"/>
                    <a:pt x="157734" y="0"/>
                  </a:cubicBezTo>
                  <a:close/>
                  <a:moveTo>
                    <a:pt x="171450" y="157734"/>
                  </a:moveTo>
                  <a:cubicBezTo>
                    <a:pt x="171450" y="165354"/>
                    <a:pt x="165259"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259"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39" name="Freeform 10">
              <a:extLst>
                <a:ext uri="{FF2B5EF4-FFF2-40B4-BE49-F238E27FC236}">
                  <a16:creationId xmlns:a16="http://schemas.microsoft.com/office/drawing/2014/main" id="{6B08079C-2B77-40DD-91B8-CE8BC8937F24}"/>
                </a:ext>
              </a:extLst>
            </p:cNvPr>
            <p:cNvSpPr/>
            <p:nvPr/>
          </p:nvSpPr>
          <p:spPr>
            <a:xfrm>
              <a:off x="5803772" y="34494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453" y="226219"/>
                    <a:pt x="226219" y="195548"/>
                    <a:pt x="226219" y="157734"/>
                  </a:cubicBezTo>
                  <a:lnTo>
                    <a:pt x="226219" y="68580"/>
                  </a:lnTo>
                  <a:cubicBezTo>
                    <a:pt x="226219" y="30766"/>
                    <a:pt x="195453" y="0"/>
                    <a:pt x="157734" y="0"/>
                  </a:cubicBezTo>
                  <a:close/>
                  <a:moveTo>
                    <a:pt x="171450" y="157734"/>
                  </a:moveTo>
                  <a:cubicBezTo>
                    <a:pt x="171450" y="165354"/>
                    <a:pt x="165259"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259"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0" name="Freeform 11">
              <a:extLst>
                <a:ext uri="{FF2B5EF4-FFF2-40B4-BE49-F238E27FC236}">
                  <a16:creationId xmlns:a16="http://schemas.microsoft.com/office/drawing/2014/main" id="{22E9EBD5-D2C0-43CE-B75A-0B34CD81BEFE}"/>
                </a:ext>
              </a:extLst>
            </p:cNvPr>
            <p:cNvSpPr/>
            <p:nvPr/>
          </p:nvSpPr>
          <p:spPr>
            <a:xfrm>
              <a:off x="6161436" y="34494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1" name="Freeform 12">
              <a:extLst>
                <a:ext uri="{FF2B5EF4-FFF2-40B4-BE49-F238E27FC236}">
                  <a16:creationId xmlns:a16="http://schemas.microsoft.com/office/drawing/2014/main" id="{C9609E8B-EB43-4471-B3E7-A1CB464D75EF}"/>
                </a:ext>
              </a:extLst>
            </p:cNvPr>
            <p:cNvSpPr/>
            <p:nvPr/>
          </p:nvSpPr>
          <p:spPr>
            <a:xfrm>
              <a:off x="6519100" y="34494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2" name="Freeform 13">
              <a:extLst>
                <a:ext uri="{FF2B5EF4-FFF2-40B4-BE49-F238E27FC236}">
                  <a16:creationId xmlns:a16="http://schemas.microsoft.com/office/drawing/2014/main" id="{23431D35-C238-4B44-9500-57195FCEB69D}"/>
                </a:ext>
              </a:extLst>
            </p:cNvPr>
            <p:cNvSpPr/>
            <p:nvPr/>
          </p:nvSpPr>
          <p:spPr>
            <a:xfrm>
              <a:off x="5446109" y="37923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453" y="226219"/>
                    <a:pt x="226219" y="195548"/>
                    <a:pt x="226219" y="157734"/>
                  </a:cubicBezTo>
                  <a:lnTo>
                    <a:pt x="226219" y="68580"/>
                  </a:lnTo>
                  <a:cubicBezTo>
                    <a:pt x="226219" y="30766"/>
                    <a:pt x="195453" y="0"/>
                    <a:pt x="157734" y="0"/>
                  </a:cubicBezTo>
                  <a:close/>
                  <a:moveTo>
                    <a:pt x="171450" y="157734"/>
                  </a:moveTo>
                  <a:cubicBezTo>
                    <a:pt x="171450" y="165354"/>
                    <a:pt x="165259"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259"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3" name="Freeform 14">
              <a:extLst>
                <a:ext uri="{FF2B5EF4-FFF2-40B4-BE49-F238E27FC236}">
                  <a16:creationId xmlns:a16="http://schemas.microsoft.com/office/drawing/2014/main" id="{456ABB41-80A2-431C-B644-86E7A47DC24C}"/>
                </a:ext>
              </a:extLst>
            </p:cNvPr>
            <p:cNvSpPr/>
            <p:nvPr/>
          </p:nvSpPr>
          <p:spPr>
            <a:xfrm>
              <a:off x="5803772" y="37923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453" y="226219"/>
                    <a:pt x="226219" y="195548"/>
                    <a:pt x="226219" y="157734"/>
                  </a:cubicBezTo>
                  <a:lnTo>
                    <a:pt x="226219" y="68580"/>
                  </a:lnTo>
                  <a:cubicBezTo>
                    <a:pt x="226219" y="30766"/>
                    <a:pt x="195453" y="0"/>
                    <a:pt x="157734" y="0"/>
                  </a:cubicBezTo>
                  <a:close/>
                  <a:moveTo>
                    <a:pt x="171450" y="157734"/>
                  </a:moveTo>
                  <a:cubicBezTo>
                    <a:pt x="171450" y="165354"/>
                    <a:pt x="165259"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259"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4" name="Freeform 15">
              <a:extLst>
                <a:ext uri="{FF2B5EF4-FFF2-40B4-BE49-F238E27FC236}">
                  <a16:creationId xmlns:a16="http://schemas.microsoft.com/office/drawing/2014/main" id="{9376E936-7CF0-4858-B0DB-09871DBB0220}"/>
                </a:ext>
              </a:extLst>
            </p:cNvPr>
            <p:cNvSpPr/>
            <p:nvPr/>
          </p:nvSpPr>
          <p:spPr>
            <a:xfrm>
              <a:off x="6161436" y="37923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5" name="Freeform 16">
              <a:extLst>
                <a:ext uri="{FF2B5EF4-FFF2-40B4-BE49-F238E27FC236}">
                  <a16:creationId xmlns:a16="http://schemas.microsoft.com/office/drawing/2014/main" id="{AA6B3562-FD10-4984-B02F-C4B252DB4CBE}"/>
                </a:ext>
              </a:extLst>
            </p:cNvPr>
            <p:cNvSpPr/>
            <p:nvPr/>
          </p:nvSpPr>
          <p:spPr>
            <a:xfrm>
              <a:off x="6519100" y="3792378"/>
              <a:ext cx="226218" cy="226218"/>
            </a:xfrm>
            <a:custGeom>
              <a:avLst/>
              <a:gdLst>
                <a:gd name="connsiteX0" fmla="*/ 157734 w 226218"/>
                <a:gd name="connsiteY0" fmla="*/ 0 h 226218"/>
                <a:gd name="connsiteX1" fmla="*/ 68580 w 226218"/>
                <a:gd name="connsiteY1" fmla="*/ 0 h 226218"/>
                <a:gd name="connsiteX2" fmla="*/ 0 w 226218"/>
                <a:gd name="connsiteY2" fmla="*/ 68580 h 226218"/>
                <a:gd name="connsiteX3" fmla="*/ 0 w 226218"/>
                <a:gd name="connsiteY3" fmla="*/ 157734 h 226218"/>
                <a:gd name="connsiteX4" fmla="*/ 68580 w 226218"/>
                <a:gd name="connsiteY4" fmla="*/ 226219 h 226218"/>
                <a:gd name="connsiteX5" fmla="*/ 157734 w 226218"/>
                <a:gd name="connsiteY5" fmla="*/ 226219 h 226218"/>
                <a:gd name="connsiteX6" fmla="*/ 226219 w 226218"/>
                <a:gd name="connsiteY6" fmla="*/ 157734 h 226218"/>
                <a:gd name="connsiteX7" fmla="*/ 226219 w 226218"/>
                <a:gd name="connsiteY7" fmla="*/ 68580 h 226218"/>
                <a:gd name="connsiteX8" fmla="*/ 157734 w 226218"/>
                <a:gd name="connsiteY8" fmla="*/ 0 h 226218"/>
                <a:gd name="connsiteX9" fmla="*/ 171450 w 226218"/>
                <a:gd name="connsiteY9" fmla="*/ 157734 h 226218"/>
                <a:gd name="connsiteX10" fmla="*/ 157734 w 226218"/>
                <a:gd name="connsiteY10" fmla="*/ 171450 h 226218"/>
                <a:gd name="connsiteX11" fmla="*/ 68580 w 226218"/>
                <a:gd name="connsiteY11" fmla="*/ 171450 h 226218"/>
                <a:gd name="connsiteX12" fmla="*/ 54769 w 226218"/>
                <a:gd name="connsiteY12" fmla="*/ 157734 h 226218"/>
                <a:gd name="connsiteX13" fmla="*/ 54769 w 226218"/>
                <a:gd name="connsiteY13" fmla="*/ 68580 h 226218"/>
                <a:gd name="connsiteX14" fmla="*/ 68580 w 226218"/>
                <a:gd name="connsiteY14" fmla="*/ 54769 h 226218"/>
                <a:gd name="connsiteX15" fmla="*/ 157734 w 226218"/>
                <a:gd name="connsiteY15" fmla="*/ 54769 h 226218"/>
                <a:gd name="connsiteX16" fmla="*/ 171450 w 226218"/>
                <a:gd name="connsiteY16" fmla="*/ 68580 h 226218"/>
                <a:gd name="connsiteX17" fmla="*/ 171450 w 226218"/>
                <a:gd name="connsiteY17" fmla="*/ 157734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218" h="226218">
                  <a:moveTo>
                    <a:pt x="157734" y="0"/>
                  </a:moveTo>
                  <a:lnTo>
                    <a:pt x="68580" y="0"/>
                  </a:lnTo>
                  <a:cubicBezTo>
                    <a:pt x="30766" y="0"/>
                    <a:pt x="0" y="30766"/>
                    <a:pt x="0" y="68580"/>
                  </a:cubicBezTo>
                  <a:lnTo>
                    <a:pt x="0" y="157734"/>
                  </a:lnTo>
                  <a:cubicBezTo>
                    <a:pt x="0" y="195548"/>
                    <a:pt x="30766" y="226219"/>
                    <a:pt x="68580" y="226219"/>
                  </a:cubicBezTo>
                  <a:lnTo>
                    <a:pt x="157734" y="226219"/>
                  </a:lnTo>
                  <a:cubicBezTo>
                    <a:pt x="195548" y="226219"/>
                    <a:pt x="226219" y="195548"/>
                    <a:pt x="226219" y="157734"/>
                  </a:cubicBezTo>
                  <a:lnTo>
                    <a:pt x="226219" y="68580"/>
                  </a:lnTo>
                  <a:cubicBezTo>
                    <a:pt x="226219" y="30766"/>
                    <a:pt x="195548" y="0"/>
                    <a:pt x="157734" y="0"/>
                  </a:cubicBezTo>
                  <a:close/>
                  <a:moveTo>
                    <a:pt x="171450" y="157734"/>
                  </a:moveTo>
                  <a:cubicBezTo>
                    <a:pt x="171450" y="165354"/>
                    <a:pt x="165354" y="171450"/>
                    <a:pt x="157734" y="171450"/>
                  </a:cubicBezTo>
                  <a:lnTo>
                    <a:pt x="68580" y="171450"/>
                  </a:lnTo>
                  <a:cubicBezTo>
                    <a:pt x="60960" y="171450"/>
                    <a:pt x="54769" y="165354"/>
                    <a:pt x="54769" y="157734"/>
                  </a:cubicBezTo>
                  <a:lnTo>
                    <a:pt x="54769" y="68580"/>
                  </a:lnTo>
                  <a:cubicBezTo>
                    <a:pt x="54769" y="60960"/>
                    <a:pt x="60960" y="54769"/>
                    <a:pt x="68580" y="54769"/>
                  </a:cubicBezTo>
                  <a:lnTo>
                    <a:pt x="157734" y="54769"/>
                  </a:lnTo>
                  <a:cubicBezTo>
                    <a:pt x="165354" y="54769"/>
                    <a:pt x="171450" y="60960"/>
                    <a:pt x="171450" y="68580"/>
                  </a:cubicBezTo>
                  <a:lnTo>
                    <a:pt x="171450" y="157734"/>
                  </a:lnTo>
                  <a:close/>
                </a:path>
              </a:pathLst>
            </a:custGeom>
            <a:grpFill/>
            <a:ln w="9525" cap="flat">
              <a:noFill/>
              <a:prstDash val="solid"/>
              <a:miter/>
            </a:ln>
          </p:spPr>
          <p:txBody>
            <a:bodyPr rtlCol="0" anchor="ctr"/>
            <a:lstStyle/>
            <a:p>
              <a:endParaRPr lang="en-US"/>
            </a:p>
          </p:txBody>
        </p:sp>
        <p:sp>
          <p:nvSpPr>
            <p:cNvPr id="46" name="Freeform 17">
              <a:extLst>
                <a:ext uri="{FF2B5EF4-FFF2-40B4-BE49-F238E27FC236}">
                  <a16:creationId xmlns:a16="http://schemas.microsoft.com/office/drawing/2014/main" id="{ECEF8F60-BE88-4BE7-9D57-28B64CAEB507}"/>
                </a:ext>
              </a:extLst>
            </p:cNvPr>
            <p:cNvSpPr/>
            <p:nvPr/>
          </p:nvSpPr>
          <p:spPr>
            <a:xfrm>
              <a:off x="5259895" y="2436780"/>
              <a:ext cx="1672208" cy="1828323"/>
            </a:xfrm>
            <a:custGeom>
              <a:avLst/>
              <a:gdLst>
                <a:gd name="connsiteX0" fmla="*/ 1644872 w 1672208"/>
                <a:gd name="connsiteY0" fmla="*/ 156115 h 1828323"/>
                <a:gd name="connsiteX1" fmla="*/ 1371029 w 1672208"/>
                <a:gd name="connsiteY1" fmla="*/ 156115 h 1828323"/>
                <a:gd name="connsiteX2" fmla="*/ 1371029 w 1672208"/>
                <a:gd name="connsiteY2" fmla="*/ 82106 h 1828323"/>
                <a:gd name="connsiteX3" fmla="*/ 1288828 w 1672208"/>
                <a:gd name="connsiteY3" fmla="*/ 0 h 1828323"/>
                <a:gd name="connsiteX4" fmla="*/ 1206722 w 1672208"/>
                <a:gd name="connsiteY4" fmla="*/ 82106 h 1828323"/>
                <a:gd name="connsiteX5" fmla="*/ 1206722 w 1672208"/>
                <a:gd name="connsiteY5" fmla="*/ 156115 h 1828323"/>
                <a:gd name="connsiteX6" fmla="*/ 465011 w 1672208"/>
                <a:gd name="connsiteY6" fmla="*/ 156115 h 1828323"/>
                <a:gd name="connsiteX7" fmla="*/ 465011 w 1672208"/>
                <a:gd name="connsiteY7" fmla="*/ 82106 h 1828323"/>
                <a:gd name="connsiteX8" fmla="*/ 382810 w 1672208"/>
                <a:gd name="connsiteY8" fmla="*/ 0 h 1828323"/>
                <a:gd name="connsiteX9" fmla="*/ 300704 w 1672208"/>
                <a:gd name="connsiteY9" fmla="*/ 82106 h 1828323"/>
                <a:gd name="connsiteX10" fmla="*/ 300704 w 1672208"/>
                <a:gd name="connsiteY10" fmla="*/ 156115 h 1828323"/>
                <a:gd name="connsiteX11" fmla="*/ 27337 w 1672208"/>
                <a:gd name="connsiteY11" fmla="*/ 156115 h 1828323"/>
                <a:gd name="connsiteX12" fmla="*/ 0 w 1672208"/>
                <a:gd name="connsiteY12" fmla="*/ 183452 h 1828323"/>
                <a:gd name="connsiteX13" fmla="*/ 0 w 1672208"/>
                <a:gd name="connsiteY13" fmla="*/ 1800987 h 1828323"/>
                <a:gd name="connsiteX14" fmla="*/ 27337 w 1672208"/>
                <a:gd name="connsiteY14" fmla="*/ 1828324 h 1828323"/>
                <a:gd name="connsiteX15" fmla="*/ 1644872 w 1672208"/>
                <a:gd name="connsiteY15" fmla="*/ 1828324 h 1828323"/>
                <a:gd name="connsiteX16" fmla="*/ 1672209 w 1672208"/>
                <a:gd name="connsiteY16" fmla="*/ 1800987 h 1828323"/>
                <a:gd name="connsiteX17" fmla="*/ 1672209 w 1672208"/>
                <a:gd name="connsiteY17" fmla="*/ 183452 h 1828323"/>
                <a:gd name="connsiteX18" fmla="*/ 1644872 w 1672208"/>
                <a:gd name="connsiteY18" fmla="*/ 156115 h 1828323"/>
                <a:gd name="connsiteX19" fmla="*/ 1617440 w 1672208"/>
                <a:gd name="connsiteY19" fmla="*/ 450913 h 1828323"/>
                <a:gd name="connsiteX20" fmla="*/ 54769 w 1672208"/>
                <a:gd name="connsiteY20" fmla="*/ 450913 h 1828323"/>
                <a:gd name="connsiteX21" fmla="*/ 54769 w 1672208"/>
                <a:gd name="connsiteY21" fmla="*/ 210884 h 1828323"/>
                <a:gd name="connsiteX22" fmla="*/ 300704 w 1672208"/>
                <a:gd name="connsiteY22" fmla="*/ 210884 h 1828323"/>
                <a:gd name="connsiteX23" fmla="*/ 300704 w 1672208"/>
                <a:gd name="connsiteY23" fmla="*/ 284798 h 1828323"/>
                <a:gd name="connsiteX24" fmla="*/ 382810 w 1672208"/>
                <a:gd name="connsiteY24" fmla="*/ 366998 h 1828323"/>
                <a:gd name="connsiteX25" fmla="*/ 465011 w 1672208"/>
                <a:gd name="connsiteY25" fmla="*/ 284798 h 1828323"/>
                <a:gd name="connsiteX26" fmla="*/ 465011 w 1672208"/>
                <a:gd name="connsiteY26" fmla="*/ 210884 h 1828323"/>
                <a:gd name="connsiteX27" fmla="*/ 1206722 w 1672208"/>
                <a:gd name="connsiteY27" fmla="*/ 210884 h 1828323"/>
                <a:gd name="connsiteX28" fmla="*/ 1206722 w 1672208"/>
                <a:gd name="connsiteY28" fmla="*/ 284798 h 1828323"/>
                <a:gd name="connsiteX29" fmla="*/ 1288828 w 1672208"/>
                <a:gd name="connsiteY29" fmla="*/ 366998 h 1828323"/>
                <a:gd name="connsiteX30" fmla="*/ 1371029 w 1672208"/>
                <a:gd name="connsiteY30" fmla="*/ 284798 h 1828323"/>
                <a:gd name="connsiteX31" fmla="*/ 1371029 w 1672208"/>
                <a:gd name="connsiteY31" fmla="*/ 210884 h 1828323"/>
                <a:gd name="connsiteX32" fmla="*/ 1617440 w 1672208"/>
                <a:gd name="connsiteY32" fmla="*/ 210884 h 1828323"/>
                <a:gd name="connsiteX33" fmla="*/ 1617440 w 1672208"/>
                <a:gd name="connsiteY33" fmla="*/ 450913 h 1828323"/>
                <a:gd name="connsiteX34" fmla="*/ 1617440 w 1672208"/>
                <a:gd name="connsiteY34" fmla="*/ 1773555 h 1828323"/>
                <a:gd name="connsiteX35" fmla="*/ 54769 w 1672208"/>
                <a:gd name="connsiteY35" fmla="*/ 1773555 h 1828323"/>
                <a:gd name="connsiteX36" fmla="*/ 54769 w 1672208"/>
                <a:gd name="connsiteY36" fmla="*/ 560451 h 1828323"/>
                <a:gd name="connsiteX37" fmla="*/ 1617440 w 1672208"/>
                <a:gd name="connsiteY37" fmla="*/ 560451 h 1828323"/>
                <a:gd name="connsiteX38" fmla="*/ 1617440 w 1672208"/>
                <a:gd name="connsiteY38" fmla="*/ 1773555 h 182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72208" h="1828323">
                  <a:moveTo>
                    <a:pt x="1644872" y="156115"/>
                  </a:moveTo>
                  <a:lnTo>
                    <a:pt x="1371029" y="156115"/>
                  </a:lnTo>
                  <a:lnTo>
                    <a:pt x="1371029" y="82106"/>
                  </a:lnTo>
                  <a:cubicBezTo>
                    <a:pt x="1371029" y="36767"/>
                    <a:pt x="1334262" y="0"/>
                    <a:pt x="1288828" y="0"/>
                  </a:cubicBezTo>
                  <a:cubicBezTo>
                    <a:pt x="1243489" y="0"/>
                    <a:pt x="1206722" y="36767"/>
                    <a:pt x="1206722" y="82106"/>
                  </a:cubicBezTo>
                  <a:lnTo>
                    <a:pt x="1206722" y="156115"/>
                  </a:lnTo>
                  <a:lnTo>
                    <a:pt x="465011" y="156115"/>
                  </a:lnTo>
                  <a:lnTo>
                    <a:pt x="465011" y="82106"/>
                  </a:lnTo>
                  <a:cubicBezTo>
                    <a:pt x="465011" y="36767"/>
                    <a:pt x="428244" y="0"/>
                    <a:pt x="382810" y="0"/>
                  </a:cubicBezTo>
                  <a:cubicBezTo>
                    <a:pt x="337471" y="0"/>
                    <a:pt x="300704" y="36767"/>
                    <a:pt x="300704" y="82106"/>
                  </a:cubicBezTo>
                  <a:lnTo>
                    <a:pt x="300704" y="156115"/>
                  </a:lnTo>
                  <a:lnTo>
                    <a:pt x="27337" y="156115"/>
                  </a:lnTo>
                  <a:cubicBezTo>
                    <a:pt x="12192" y="156115"/>
                    <a:pt x="0" y="168307"/>
                    <a:pt x="0" y="183452"/>
                  </a:cubicBezTo>
                  <a:lnTo>
                    <a:pt x="0" y="1800987"/>
                  </a:lnTo>
                  <a:cubicBezTo>
                    <a:pt x="0" y="1816132"/>
                    <a:pt x="12192" y="1828324"/>
                    <a:pt x="27337" y="1828324"/>
                  </a:cubicBezTo>
                  <a:lnTo>
                    <a:pt x="1644872" y="1828324"/>
                  </a:lnTo>
                  <a:cubicBezTo>
                    <a:pt x="1660017" y="1828324"/>
                    <a:pt x="1672209" y="1816132"/>
                    <a:pt x="1672209" y="1800987"/>
                  </a:cubicBezTo>
                  <a:lnTo>
                    <a:pt x="1672209" y="183452"/>
                  </a:lnTo>
                  <a:cubicBezTo>
                    <a:pt x="1672209" y="168307"/>
                    <a:pt x="1660017" y="156115"/>
                    <a:pt x="1644872" y="156115"/>
                  </a:cubicBezTo>
                  <a:close/>
                  <a:moveTo>
                    <a:pt x="1617440" y="450913"/>
                  </a:moveTo>
                  <a:lnTo>
                    <a:pt x="54769" y="450913"/>
                  </a:lnTo>
                  <a:lnTo>
                    <a:pt x="54769" y="210884"/>
                  </a:lnTo>
                  <a:lnTo>
                    <a:pt x="300704" y="210884"/>
                  </a:lnTo>
                  <a:lnTo>
                    <a:pt x="300704" y="284798"/>
                  </a:lnTo>
                  <a:cubicBezTo>
                    <a:pt x="300704" y="330232"/>
                    <a:pt x="337471" y="366998"/>
                    <a:pt x="382810" y="366998"/>
                  </a:cubicBezTo>
                  <a:cubicBezTo>
                    <a:pt x="428244" y="366998"/>
                    <a:pt x="465011" y="330232"/>
                    <a:pt x="465011" y="284798"/>
                  </a:cubicBezTo>
                  <a:lnTo>
                    <a:pt x="465011" y="210884"/>
                  </a:lnTo>
                  <a:lnTo>
                    <a:pt x="1206722" y="210884"/>
                  </a:lnTo>
                  <a:lnTo>
                    <a:pt x="1206722" y="284798"/>
                  </a:lnTo>
                  <a:cubicBezTo>
                    <a:pt x="1206722" y="330232"/>
                    <a:pt x="1243489" y="366998"/>
                    <a:pt x="1288828" y="366998"/>
                  </a:cubicBezTo>
                  <a:cubicBezTo>
                    <a:pt x="1334262" y="366998"/>
                    <a:pt x="1371029" y="330232"/>
                    <a:pt x="1371029" y="284798"/>
                  </a:cubicBezTo>
                  <a:lnTo>
                    <a:pt x="1371029" y="210884"/>
                  </a:lnTo>
                  <a:lnTo>
                    <a:pt x="1617440" y="210884"/>
                  </a:lnTo>
                  <a:lnTo>
                    <a:pt x="1617440" y="450913"/>
                  </a:lnTo>
                  <a:close/>
                  <a:moveTo>
                    <a:pt x="1617440" y="1773555"/>
                  </a:moveTo>
                  <a:lnTo>
                    <a:pt x="54769" y="1773555"/>
                  </a:lnTo>
                  <a:lnTo>
                    <a:pt x="54769" y="560451"/>
                  </a:lnTo>
                  <a:lnTo>
                    <a:pt x="1617440" y="560451"/>
                  </a:lnTo>
                  <a:lnTo>
                    <a:pt x="1617440" y="1773555"/>
                  </a:lnTo>
                  <a:close/>
                </a:path>
              </a:pathLst>
            </a:custGeom>
            <a:grpFill/>
            <a:ln w="9525" cap="flat">
              <a:noFill/>
              <a:prstDash val="solid"/>
              <a:miter/>
            </a:ln>
          </p:spPr>
          <p:txBody>
            <a:bodyPr rtlCol="0" anchor="ctr"/>
            <a:lstStyle/>
            <a:p>
              <a:endParaRPr lang="en-US"/>
            </a:p>
          </p:txBody>
        </p:sp>
      </p:grpSp>
      <p:sp>
        <p:nvSpPr>
          <p:cNvPr id="5" name="TextBox 4">
            <a:extLst>
              <a:ext uri="{FF2B5EF4-FFF2-40B4-BE49-F238E27FC236}">
                <a16:creationId xmlns:a16="http://schemas.microsoft.com/office/drawing/2014/main" id="{4D0F0477-858E-462C-AF49-A3DFC8300C7F}"/>
              </a:ext>
            </a:extLst>
          </p:cNvPr>
          <p:cNvSpPr txBox="1"/>
          <p:nvPr/>
        </p:nvSpPr>
        <p:spPr>
          <a:xfrm>
            <a:off x="3424283" y="1178265"/>
            <a:ext cx="2110731" cy="400110"/>
          </a:xfrm>
          <a:prstGeom prst="rect">
            <a:avLst/>
          </a:prstGeom>
          <a:noFill/>
        </p:spPr>
        <p:txBody>
          <a:bodyPr wrap="square" rtlCol="0">
            <a:spAutoFit/>
          </a:bodyPr>
          <a:lstStyle/>
          <a:p>
            <a:r>
              <a:rPr lang="en-US" sz="2000" b="1">
                <a:solidFill>
                  <a:schemeClr val="bg2"/>
                </a:solidFill>
                <a:latin typeface="Calibri" panose="020F0502020204030204" pitchFamily="34" charset="0"/>
                <a:cs typeface="Calibri" panose="020F0502020204030204" pitchFamily="34" charset="0"/>
              </a:rPr>
              <a:t>Every two years</a:t>
            </a:r>
            <a:endParaRPr lang="en-US" sz="2000"/>
          </a:p>
        </p:txBody>
      </p:sp>
    </p:spTree>
    <p:extLst>
      <p:ext uri="{BB962C8B-B14F-4D97-AF65-F5344CB8AC3E}">
        <p14:creationId xmlns:p14="http://schemas.microsoft.com/office/powerpoint/2010/main" val="42308067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06" imgH="308" progId="TCLayout.ActiveDocument.1">
                  <p:embed/>
                </p:oleObj>
              </mc:Choice>
              <mc:Fallback>
                <p:oleObj name="think-cell Slide" r:id="rId6" imgW="306" imgH="308" progId="TCLayout.ActiveDocument.1">
                  <p:embed/>
                  <p:pic>
                    <p:nvPicPr>
                      <p:cNvPr id="5" name="Objec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Franklin Gothic Demi" panose="020B0703020102020204" pitchFamily="34" charset="0"/>
            </a:endParaRPr>
          </a:p>
        </p:txBody>
      </p:sp>
      <p:sp>
        <p:nvSpPr>
          <p:cNvPr id="121" name="TextBox 120">
            <a:extLst>
              <a:ext uri="{FF2B5EF4-FFF2-40B4-BE49-F238E27FC236}">
                <a16:creationId xmlns:a16="http://schemas.microsoft.com/office/drawing/2014/main" id="{BB5FE5B0-6919-43E1-AC05-73E5F40CE8DA}"/>
              </a:ext>
            </a:extLst>
          </p:cNvPr>
          <p:cNvSpPr txBox="1"/>
          <p:nvPr/>
        </p:nvSpPr>
        <p:spPr>
          <a:xfrm>
            <a:off x="456825" y="468843"/>
            <a:ext cx="11354175" cy="11349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lnSpc>
                <a:spcPct val="80000"/>
              </a:lnSpc>
              <a:defRPr/>
            </a:pPr>
            <a:r>
              <a:rPr lang="en-US" sz="2800" b="1">
                <a:solidFill>
                  <a:srgbClr val="0398DA"/>
                </a:solidFill>
                <a:latin typeface="Arial Black" panose="020B0604020202020204" pitchFamily="34" charset="0"/>
                <a:cs typeface="Arial Black" panose="020B0604020202020204" pitchFamily="34" charset="0"/>
              </a:rPr>
              <a:t>The Chairperson is responsible to give leadership as is necessary to keep the Council active and functioning effectively</a:t>
            </a:r>
            <a:endParaRPr kumimoji="0" lang="en-US" sz="2800" b="1" i="0" u="none" strike="noStrike" kern="1200" cap="none" spc="0" normalizeH="0" baseline="0" noProof="0">
              <a:ln>
                <a:noFill/>
              </a:ln>
              <a:solidFill>
                <a:srgbClr val="0398DA"/>
              </a:solidFill>
              <a:effectLst/>
              <a:uLnTx/>
              <a:uFillTx/>
              <a:latin typeface="Arial Black" panose="020B0604020202020204" pitchFamily="34" charset="0"/>
              <a:cs typeface="Arial Black" panose="020B0604020202020204" pitchFamily="34" charset="0"/>
            </a:endParaRPr>
          </a:p>
        </p:txBody>
      </p:sp>
      <p:cxnSp>
        <p:nvCxnSpPr>
          <p:cNvPr id="214" name="Straight Arrow Connector 213">
            <a:extLst>
              <a:ext uri="{FF2B5EF4-FFF2-40B4-BE49-F238E27FC236}">
                <a16:creationId xmlns:a16="http://schemas.microsoft.com/office/drawing/2014/main" id="{8A75B715-13B7-4DD3-A271-9B8BF417CEF0}"/>
              </a:ext>
            </a:extLst>
          </p:cNvPr>
          <p:cNvCxnSpPr/>
          <p:nvPr/>
        </p:nvCxnSpPr>
        <p:spPr>
          <a:xfrm>
            <a:off x="2274381" y="5194545"/>
            <a:ext cx="11207" cy="1204632"/>
          </a:xfrm>
          <a:prstGeom prst="straightConnector1">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D896F277-CD70-4653-B8EF-2F4870366DF4}"/>
              </a:ext>
            </a:extLst>
          </p:cNvPr>
          <p:cNvCxnSpPr>
            <a:cxnSpLocks/>
          </p:cNvCxnSpPr>
          <p:nvPr/>
        </p:nvCxnSpPr>
        <p:spPr>
          <a:xfrm>
            <a:off x="6078725" y="5194544"/>
            <a:ext cx="11207" cy="1204632"/>
          </a:xfrm>
          <a:prstGeom prst="straightConnector1">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Arrow Connector 216">
            <a:extLst>
              <a:ext uri="{FF2B5EF4-FFF2-40B4-BE49-F238E27FC236}">
                <a16:creationId xmlns:a16="http://schemas.microsoft.com/office/drawing/2014/main" id="{B9FFF849-E24E-4C77-918F-4B6B3F558397}"/>
              </a:ext>
            </a:extLst>
          </p:cNvPr>
          <p:cNvCxnSpPr>
            <a:cxnSpLocks/>
          </p:cNvCxnSpPr>
          <p:nvPr/>
        </p:nvCxnSpPr>
        <p:spPr>
          <a:xfrm>
            <a:off x="9886992" y="5194544"/>
            <a:ext cx="11207" cy="1204632"/>
          </a:xfrm>
          <a:prstGeom prst="straightConnector1">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2A01C31-1851-5F45-8393-CE5C3B6C5B0F}"/>
              </a:ext>
            </a:extLst>
          </p:cNvPr>
          <p:cNvCxnSpPr/>
          <p:nvPr/>
        </p:nvCxnSpPr>
        <p:spPr>
          <a:xfrm>
            <a:off x="4173404" y="5194545"/>
            <a:ext cx="11207" cy="1204632"/>
          </a:xfrm>
          <a:prstGeom prst="straightConnector1">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1F2B6DA-1DB0-1C47-BF50-47FFF3C06CF4}"/>
              </a:ext>
            </a:extLst>
          </p:cNvPr>
          <p:cNvCxnSpPr>
            <a:cxnSpLocks/>
          </p:cNvCxnSpPr>
          <p:nvPr/>
        </p:nvCxnSpPr>
        <p:spPr>
          <a:xfrm>
            <a:off x="7999178" y="5194544"/>
            <a:ext cx="11207" cy="1204632"/>
          </a:xfrm>
          <a:prstGeom prst="straightConnector1">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5" name="Freeform 24">
            <a:extLst>
              <a:ext uri="{FF2B5EF4-FFF2-40B4-BE49-F238E27FC236}">
                <a16:creationId xmlns:a16="http://schemas.microsoft.com/office/drawing/2014/main" id="{42064C75-0AA9-A747-8BEC-9A1AED17861E}"/>
              </a:ext>
            </a:extLst>
          </p:cNvPr>
          <p:cNvSpPr/>
          <p:nvPr/>
        </p:nvSpPr>
        <p:spPr>
          <a:xfrm>
            <a:off x="56273225" y="23759537"/>
            <a:ext cx="184784" cy="235453"/>
          </a:xfrm>
          <a:custGeom>
            <a:avLst/>
            <a:gdLst>
              <a:gd name="connsiteX0" fmla="*/ 184784 w 184784"/>
              <a:gd name="connsiteY0" fmla="*/ 56693 h 235453"/>
              <a:gd name="connsiteX1" fmla="*/ 184784 w 184784"/>
              <a:gd name="connsiteY1" fmla="*/ 37795 h 235453"/>
              <a:gd name="connsiteX2" fmla="*/ 92390 w 184784"/>
              <a:gd name="connsiteY2" fmla="*/ 0 h 235453"/>
              <a:gd name="connsiteX3" fmla="*/ 0 w 184784"/>
              <a:gd name="connsiteY3" fmla="*/ 37795 h 235453"/>
              <a:gd name="connsiteX4" fmla="*/ 0 w 184784"/>
              <a:gd name="connsiteY4" fmla="*/ 56693 h 235453"/>
              <a:gd name="connsiteX5" fmla="*/ 19050 w 184784"/>
              <a:gd name="connsiteY5" fmla="*/ 102991 h 235453"/>
              <a:gd name="connsiteX6" fmla="*/ 66675 w 184784"/>
              <a:gd name="connsiteY6" fmla="*/ 149289 h 235453"/>
              <a:gd name="connsiteX7" fmla="*/ 70484 w 184784"/>
              <a:gd name="connsiteY7" fmla="*/ 158738 h 235453"/>
              <a:gd name="connsiteX8" fmla="*/ 70484 w 184784"/>
              <a:gd name="connsiteY8" fmla="*/ 219212 h 235453"/>
              <a:gd name="connsiteX9" fmla="*/ 76200 w 184784"/>
              <a:gd name="connsiteY9" fmla="*/ 226771 h 235453"/>
              <a:gd name="connsiteX10" fmla="*/ 103822 w 184784"/>
              <a:gd name="connsiteY10" fmla="*/ 235274 h 235453"/>
              <a:gd name="connsiteX11" fmla="*/ 113347 w 184784"/>
              <a:gd name="connsiteY11" fmla="*/ 227715 h 235453"/>
              <a:gd name="connsiteX12" fmla="*/ 113347 w 184784"/>
              <a:gd name="connsiteY12" fmla="*/ 159684 h 235453"/>
              <a:gd name="connsiteX13" fmla="*/ 117156 w 184784"/>
              <a:gd name="connsiteY13" fmla="*/ 150235 h 235453"/>
              <a:gd name="connsiteX14" fmla="*/ 165734 w 184784"/>
              <a:gd name="connsiteY14" fmla="*/ 102991 h 235453"/>
              <a:gd name="connsiteX15" fmla="*/ 184784 w 184784"/>
              <a:gd name="connsiteY15" fmla="*/ 56693 h 235453"/>
              <a:gd name="connsiteX16" fmla="*/ 92390 w 184784"/>
              <a:gd name="connsiteY16" fmla="*/ 55747 h 235453"/>
              <a:gd name="connsiteX17" fmla="*/ 20952 w 184784"/>
              <a:gd name="connsiteY17" fmla="*/ 38739 h 235453"/>
              <a:gd name="connsiteX18" fmla="*/ 20952 w 184784"/>
              <a:gd name="connsiteY18" fmla="*/ 38739 h 235453"/>
              <a:gd name="connsiteX19" fmla="*/ 92390 w 184784"/>
              <a:gd name="connsiteY19" fmla="*/ 21730 h 235453"/>
              <a:gd name="connsiteX20" fmla="*/ 163827 w 184784"/>
              <a:gd name="connsiteY20" fmla="*/ 38739 h 235453"/>
              <a:gd name="connsiteX21" fmla="*/ 92390 w 184784"/>
              <a:gd name="connsiteY21" fmla="*/ 55747 h 23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784" h="235453">
                <a:moveTo>
                  <a:pt x="184784" y="56693"/>
                </a:moveTo>
                <a:lnTo>
                  <a:pt x="184784" y="37795"/>
                </a:lnTo>
                <a:cubicBezTo>
                  <a:pt x="184784" y="11338"/>
                  <a:pt x="137159" y="0"/>
                  <a:pt x="92390" y="0"/>
                </a:cubicBezTo>
                <a:cubicBezTo>
                  <a:pt x="47625" y="0"/>
                  <a:pt x="0" y="12282"/>
                  <a:pt x="0" y="37795"/>
                </a:cubicBezTo>
                <a:lnTo>
                  <a:pt x="0" y="56693"/>
                </a:lnTo>
                <a:cubicBezTo>
                  <a:pt x="0" y="73699"/>
                  <a:pt x="6665" y="90707"/>
                  <a:pt x="19050" y="102991"/>
                </a:cubicBezTo>
                <a:lnTo>
                  <a:pt x="66675" y="149289"/>
                </a:lnTo>
                <a:cubicBezTo>
                  <a:pt x="69531" y="152124"/>
                  <a:pt x="70484" y="154959"/>
                  <a:pt x="70484" y="158738"/>
                </a:cubicBezTo>
                <a:lnTo>
                  <a:pt x="70484" y="219212"/>
                </a:lnTo>
                <a:cubicBezTo>
                  <a:pt x="70484" y="222990"/>
                  <a:pt x="72386" y="225825"/>
                  <a:pt x="76200" y="226771"/>
                </a:cubicBezTo>
                <a:lnTo>
                  <a:pt x="103822" y="235274"/>
                </a:lnTo>
                <a:cubicBezTo>
                  <a:pt x="108584" y="236220"/>
                  <a:pt x="113347" y="233385"/>
                  <a:pt x="113347" y="227715"/>
                </a:cubicBezTo>
                <a:lnTo>
                  <a:pt x="113347" y="159684"/>
                </a:lnTo>
                <a:cubicBezTo>
                  <a:pt x="113347" y="155905"/>
                  <a:pt x="115249" y="153070"/>
                  <a:pt x="117156" y="150235"/>
                </a:cubicBezTo>
                <a:lnTo>
                  <a:pt x="165734" y="102991"/>
                </a:lnTo>
                <a:cubicBezTo>
                  <a:pt x="178115" y="90707"/>
                  <a:pt x="184784" y="73699"/>
                  <a:pt x="184784" y="56693"/>
                </a:cubicBezTo>
                <a:close/>
                <a:moveTo>
                  <a:pt x="92390" y="55747"/>
                </a:moveTo>
                <a:cubicBezTo>
                  <a:pt x="46672" y="55747"/>
                  <a:pt x="21906" y="43463"/>
                  <a:pt x="20952" y="38739"/>
                </a:cubicBezTo>
                <a:lnTo>
                  <a:pt x="20952" y="38739"/>
                </a:lnTo>
                <a:cubicBezTo>
                  <a:pt x="21906" y="34014"/>
                  <a:pt x="46672" y="21730"/>
                  <a:pt x="92390" y="21730"/>
                </a:cubicBezTo>
                <a:cubicBezTo>
                  <a:pt x="138113" y="21730"/>
                  <a:pt x="161925" y="34014"/>
                  <a:pt x="163827" y="38739"/>
                </a:cubicBezTo>
                <a:cubicBezTo>
                  <a:pt x="161925" y="43463"/>
                  <a:pt x="138113" y="55747"/>
                  <a:pt x="92390" y="55747"/>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26" name="Freeform 25">
            <a:extLst>
              <a:ext uri="{FF2B5EF4-FFF2-40B4-BE49-F238E27FC236}">
                <a16:creationId xmlns:a16="http://schemas.microsoft.com/office/drawing/2014/main" id="{17D38300-1FC7-0F40-BC2E-6657800A03CD}"/>
              </a:ext>
            </a:extLst>
          </p:cNvPr>
          <p:cNvSpPr/>
          <p:nvPr/>
        </p:nvSpPr>
        <p:spPr>
          <a:xfrm>
            <a:off x="56403715" y="23912607"/>
            <a:ext cx="60010" cy="18897"/>
          </a:xfrm>
          <a:custGeom>
            <a:avLst/>
            <a:gdLst>
              <a:gd name="connsiteX0" fmla="*/ 9525 w 60010"/>
              <a:gd name="connsiteY0" fmla="*/ 0 h 18897"/>
              <a:gd name="connsiteX1" fmla="*/ 0 w 60010"/>
              <a:gd name="connsiteY1" fmla="*/ 9449 h 18897"/>
              <a:gd name="connsiteX2" fmla="*/ 9525 w 60010"/>
              <a:gd name="connsiteY2" fmla="*/ 18898 h 18897"/>
              <a:gd name="connsiteX3" fmla="*/ 50485 w 60010"/>
              <a:gd name="connsiteY3" fmla="*/ 18898 h 18897"/>
              <a:gd name="connsiteX4" fmla="*/ 60010 w 60010"/>
              <a:gd name="connsiteY4" fmla="*/ 9449 h 18897"/>
              <a:gd name="connsiteX5" fmla="*/ 50485 w 60010"/>
              <a:gd name="connsiteY5" fmla="*/ 0 h 18897"/>
              <a:gd name="connsiteX6" fmla="*/ 9525 w 60010"/>
              <a:gd name="connsiteY6" fmla="*/ 0 h 1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0" h="18897">
                <a:moveTo>
                  <a:pt x="9525" y="0"/>
                </a:moveTo>
                <a:cubicBezTo>
                  <a:pt x="3809" y="0"/>
                  <a:pt x="0" y="3779"/>
                  <a:pt x="0" y="9449"/>
                </a:cubicBezTo>
                <a:cubicBezTo>
                  <a:pt x="0" y="15117"/>
                  <a:pt x="3809" y="18898"/>
                  <a:pt x="9525" y="18898"/>
                </a:cubicBezTo>
                <a:lnTo>
                  <a:pt x="50485" y="18898"/>
                </a:lnTo>
                <a:cubicBezTo>
                  <a:pt x="56197" y="18898"/>
                  <a:pt x="60010" y="15117"/>
                  <a:pt x="60010" y="9449"/>
                </a:cubicBezTo>
                <a:cubicBezTo>
                  <a:pt x="60010" y="3779"/>
                  <a:pt x="56197" y="0"/>
                  <a:pt x="50485" y="0"/>
                </a:cubicBezTo>
                <a:lnTo>
                  <a:pt x="9525" y="0"/>
                </a:ln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27" name="Freeform 26">
            <a:extLst>
              <a:ext uri="{FF2B5EF4-FFF2-40B4-BE49-F238E27FC236}">
                <a16:creationId xmlns:a16="http://schemas.microsoft.com/office/drawing/2014/main" id="{A396F04C-D4B4-B245-87BA-FE2C8EC43FA7}"/>
              </a:ext>
            </a:extLst>
          </p:cNvPr>
          <p:cNvSpPr/>
          <p:nvPr/>
        </p:nvSpPr>
        <p:spPr>
          <a:xfrm>
            <a:off x="56403715" y="23944732"/>
            <a:ext cx="60010" cy="18897"/>
          </a:xfrm>
          <a:custGeom>
            <a:avLst/>
            <a:gdLst>
              <a:gd name="connsiteX0" fmla="*/ 50485 w 60010"/>
              <a:gd name="connsiteY0" fmla="*/ 0 h 18897"/>
              <a:gd name="connsiteX1" fmla="*/ 9525 w 60010"/>
              <a:gd name="connsiteY1" fmla="*/ 0 h 18897"/>
              <a:gd name="connsiteX2" fmla="*/ 0 w 60010"/>
              <a:gd name="connsiteY2" fmla="*/ 9449 h 18897"/>
              <a:gd name="connsiteX3" fmla="*/ 9525 w 60010"/>
              <a:gd name="connsiteY3" fmla="*/ 18898 h 18897"/>
              <a:gd name="connsiteX4" fmla="*/ 50485 w 60010"/>
              <a:gd name="connsiteY4" fmla="*/ 18898 h 18897"/>
              <a:gd name="connsiteX5" fmla="*/ 60010 w 60010"/>
              <a:gd name="connsiteY5" fmla="*/ 9449 h 18897"/>
              <a:gd name="connsiteX6" fmla="*/ 50485 w 60010"/>
              <a:gd name="connsiteY6" fmla="*/ 0 h 1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0" h="18897">
                <a:moveTo>
                  <a:pt x="50485" y="0"/>
                </a:moveTo>
                <a:lnTo>
                  <a:pt x="9525" y="0"/>
                </a:lnTo>
                <a:cubicBezTo>
                  <a:pt x="3809" y="0"/>
                  <a:pt x="0" y="3781"/>
                  <a:pt x="0" y="9449"/>
                </a:cubicBezTo>
                <a:cubicBezTo>
                  <a:pt x="0" y="15119"/>
                  <a:pt x="3809" y="18898"/>
                  <a:pt x="9525" y="18898"/>
                </a:cubicBezTo>
                <a:lnTo>
                  <a:pt x="50485" y="18898"/>
                </a:lnTo>
                <a:cubicBezTo>
                  <a:pt x="56197" y="18898"/>
                  <a:pt x="60010" y="15119"/>
                  <a:pt x="60010" y="9449"/>
                </a:cubicBezTo>
                <a:cubicBezTo>
                  <a:pt x="60010" y="3781"/>
                  <a:pt x="56197" y="0"/>
                  <a:pt x="5048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28" name="Freeform 27">
            <a:extLst>
              <a:ext uri="{FF2B5EF4-FFF2-40B4-BE49-F238E27FC236}">
                <a16:creationId xmlns:a16="http://schemas.microsoft.com/office/drawing/2014/main" id="{CC23EC97-B3DE-1F47-9E92-7ED99D31688D}"/>
              </a:ext>
            </a:extLst>
          </p:cNvPr>
          <p:cNvSpPr/>
          <p:nvPr/>
        </p:nvSpPr>
        <p:spPr>
          <a:xfrm>
            <a:off x="56403715" y="23975913"/>
            <a:ext cx="60010" cy="18897"/>
          </a:xfrm>
          <a:custGeom>
            <a:avLst/>
            <a:gdLst>
              <a:gd name="connsiteX0" fmla="*/ 50485 w 60010"/>
              <a:gd name="connsiteY0" fmla="*/ 0 h 18897"/>
              <a:gd name="connsiteX1" fmla="*/ 9525 w 60010"/>
              <a:gd name="connsiteY1" fmla="*/ 0 h 18897"/>
              <a:gd name="connsiteX2" fmla="*/ 0 w 60010"/>
              <a:gd name="connsiteY2" fmla="*/ 9449 h 18897"/>
              <a:gd name="connsiteX3" fmla="*/ 9525 w 60010"/>
              <a:gd name="connsiteY3" fmla="*/ 18898 h 18897"/>
              <a:gd name="connsiteX4" fmla="*/ 50485 w 60010"/>
              <a:gd name="connsiteY4" fmla="*/ 18898 h 18897"/>
              <a:gd name="connsiteX5" fmla="*/ 60010 w 60010"/>
              <a:gd name="connsiteY5" fmla="*/ 9449 h 18897"/>
              <a:gd name="connsiteX6" fmla="*/ 50485 w 60010"/>
              <a:gd name="connsiteY6" fmla="*/ 0 h 1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10" h="18897">
                <a:moveTo>
                  <a:pt x="50485" y="0"/>
                </a:moveTo>
                <a:lnTo>
                  <a:pt x="9525" y="0"/>
                </a:lnTo>
                <a:cubicBezTo>
                  <a:pt x="3809" y="0"/>
                  <a:pt x="0" y="3779"/>
                  <a:pt x="0" y="9449"/>
                </a:cubicBezTo>
                <a:cubicBezTo>
                  <a:pt x="0" y="15119"/>
                  <a:pt x="3809" y="18898"/>
                  <a:pt x="9525" y="18898"/>
                </a:cubicBezTo>
                <a:lnTo>
                  <a:pt x="50485" y="18898"/>
                </a:lnTo>
                <a:cubicBezTo>
                  <a:pt x="56197" y="18898"/>
                  <a:pt x="60010" y="15119"/>
                  <a:pt x="60010" y="9449"/>
                </a:cubicBezTo>
                <a:cubicBezTo>
                  <a:pt x="60010" y="4724"/>
                  <a:pt x="56197" y="0"/>
                  <a:pt x="50485" y="0"/>
                </a:cubicBezTo>
                <a:close/>
              </a:path>
            </a:pathLst>
          </a:custGeom>
          <a:solidFill>
            <a:srgbClr val="0000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44" name="Rectangle 43">
            <a:extLst>
              <a:ext uri="{FF2B5EF4-FFF2-40B4-BE49-F238E27FC236}">
                <a16:creationId xmlns:a16="http://schemas.microsoft.com/office/drawing/2014/main" id="{EB3BAF4F-0E9F-5F4E-97B9-57BA1B425C27}"/>
              </a:ext>
            </a:extLst>
          </p:cNvPr>
          <p:cNvSpPr/>
          <p:nvPr/>
        </p:nvSpPr>
        <p:spPr>
          <a:xfrm>
            <a:off x="9817087" y="2115003"/>
            <a:ext cx="1911096" cy="282297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courage</a:t>
            </a:r>
          </a:p>
        </p:txBody>
      </p:sp>
      <p:sp>
        <p:nvSpPr>
          <p:cNvPr id="53" name="TextBox 52">
            <a:extLst>
              <a:ext uri="{FF2B5EF4-FFF2-40B4-BE49-F238E27FC236}">
                <a16:creationId xmlns:a16="http://schemas.microsoft.com/office/drawing/2014/main" id="{7857994E-1D09-6246-B1FC-1452E7AFEE33}"/>
              </a:ext>
            </a:extLst>
          </p:cNvPr>
          <p:cNvSpPr txBox="1"/>
          <p:nvPr/>
        </p:nvSpPr>
        <p:spPr>
          <a:xfrm>
            <a:off x="9970313" y="5107394"/>
            <a:ext cx="1901952" cy="1292662"/>
          </a:xfrm>
          <a:prstGeom prst="rect">
            <a:avLst/>
          </a:prstGeom>
          <a:noFill/>
        </p:spPr>
        <p:txBody>
          <a:bodyPr rot="0" spcFirstLastPara="0" vertOverflow="overflow" horzOverflow="overflow" vert="horz" wrap="square" lIns="91440" tIns="0" rIns="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Encourage expansion and improvement of the Boys &amp; Girls Club Movement in the area</a:t>
            </a:r>
          </a:p>
        </p:txBody>
      </p:sp>
      <p:sp>
        <p:nvSpPr>
          <p:cNvPr id="52" name="TextBox 51">
            <a:extLst>
              <a:ext uri="{FF2B5EF4-FFF2-40B4-BE49-F238E27FC236}">
                <a16:creationId xmlns:a16="http://schemas.microsoft.com/office/drawing/2014/main" id="{CFEE1D67-492D-BB40-B710-F9B0EA013256}"/>
              </a:ext>
            </a:extLst>
          </p:cNvPr>
          <p:cNvSpPr txBox="1"/>
          <p:nvPr/>
        </p:nvSpPr>
        <p:spPr>
          <a:xfrm>
            <a:off x="7996358" y="5107394"/>
            <a:ext cx="1901952" cy="646331"/>
          </a:xfrm>
          <a:prstGeom prst="rect">
            <a:avLst/>
          </a:prstGeom>
          <a:noFill/>
        </p:spPr>
        <p:txBody>
          <a:bodyPr rot="0" spcFirstLastPara="0" vertOverflow="overflow" horzOverflow="overflow" vert="horz" wrap="square" lIns="91440" tIns="0" rIns="9144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Serve as ex-officio member of each committee network</a:t>
            </a:r>
            <a:r>
              <a:rPr kumimoji="0" lang="en-US" sz="1200" b="1" i="0" u="none" strike="noStrike" kern="1200" cap="none" spc="0" normalizeH="0" baseline="0" noProof="0">
                <a:ln>
                  <a:noFill/>
                </a:ln>
                <a:solidFill>
                  <a:srgbClr val="005B98"/>
                </a:solidFill>
                <a:effectLst/>
                <a:uLnTx/>
                <a:uFillTx/>
                <a:latin typeface="Arial"/>
                <a:ea typeface="+mn-ea"/>
                <a:cs typeface="Arial"/>
              </a:rPr>
              <a:t> </a:t>
            </a:r>
          </a:p>
        </p:txBody>
      </p:sp>
      <p:sp>
        <p:nvSpPr>
          <p:cNvPr id="51" name="TextBox 50">
            <a:extLst>
              <a:ext uri="{FF2B5EF4-FFF2-40B4-BE49-F238E27FC236}">
                <a16:creationId xmlns:a16="http://schemas.microsoft.com/office/drawing/2014/main" id="{A72F157A-A457-884E-BFCC-6AF73DDBFABB}"/>
              </a:ext>
            </a:extLst>
          </p:cNvPr>
          <p:cNvSpPr txBox="1"/>
          <p:nvPr/>
        </p:nvSpPr>
        <p:spPr>
          <a:xfrm>
            <a:off x="6087318" y="5107394"/>
            <a:ext cx="1901952" cy="215444"/>
          </a:xfrm>
          <a:prstGeom prst="rect">
            <a:avLst/>
          </a:prstGeom>
          <a:noFill/>
        </p:spPr>
        <p:txBody>
          <a:bodyPr rot="0" spcFirstLastPara="0" vertOverflow="overflow" horzOverflow="overflow" vert="horz" wrap="square" lIns="91440" tIns="0" rIns="9144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Appoint committees</a:t>
            </a:r>
          </a:p>
        </p:txBody>
      </p:sp>
      <p:grpSp>
        <p:nvGrpSpPr>
          <p:cNvPr id="86" name="Group 85">
            <a:extLst>
              <a:ext uri="{FF2B5EF4-FFF2-40B4-BE49-F238E27FC236}">
                <a16:creationId xmlns:a16="http://schemas.microsoft.com/office/drawing/2014/main" id="{0A23F221-9E5E-F74A-AC9C-4DB6E55921C8}"/>
              </a:ext>
            </a:extLst>
          </p:cNvPr>
          <p:cNvGrpSpPr/>
          <p:nvPr/>
        </p:nvGrpSpPr>
        <p:grpSpPr>
          <a:xfrm>
            <a:off x="6092343" y="2118167"/>
            <a:ext cx="2074835" cy="2822975"/>
            <a:chOff x="6092343" y="2118167"/>
            <a:chExt cx="2074835" cy="2822975"/>
          </a:xfrm>
        </p:grpSpPr>
        <p:sp>
          <p:nvSpPr>
            <p:cNvPr id="205" name="Rectangle 204">
              <a:extLst>
                <a:ext uri="{FF2B5EF4-FFF2-40B4-BE49-F238E27FC236}">
                  <a16:creationId xmlns:a16="http://schemas.microsoft.com/office/drawing/2014/main" id="{FFC2EBE4-8FEC-491F-ACF8-8AFF8A75A149}"/>
                </a:ext>
              </a:extLst>
            </p:cNvPr>
            <p:cNvSpPr/>
            <p:nvPr/>
          </p:nvSpPr>
          <p:spPr>
            <a:xfrm>
              <a:off x="6092343" y="2118167"/>
              <a:ext cx="1911096" cy="2822975"/>
            </a:xfrm>
            <a:prstGeom prst="rect">
              <a:avLst/>
            </a:prstGeom>
            <a:gradFill>
              <a:gsLst>
                <a:gs pos="0">
                  <a:srgbClr val="02658F"/>
                </a:gs>
                <a:gs pos="35000">
                  <a:schemeClr val="accent1">
                    <a:lumMod val="7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point</a:t>
              </a:r>
            </a:p>
          </p:txBody>
        </p:sp>
        <p:sp>
          <p:nvSpPr>
            <p:cNvPr id="207" name="Flowchart: Merge 206">
              <a:extLst>
                <a:ext uri="{FF2B5EF4-FFF2-40B4-BE49-F238E27FC236}">
                  <a16:creationId xmlns:a16="http://schemas.microsoft.com/office/drawing/2014/main" id="{59508DF9-DC7C-4998-AC89-3E219006FB0C}"/>
                </a:ext>
              </a:extLst>
            </p:cNvPr>
            <p:cNvSpPr/>
            <p:nvPr/>
          </p:nvSpPr>
          <p:spPr>
            <a:xfrm rot="16200000">
              <a:off x="7856623" y="3443238"/>
              <a:ext cx="448280" cy="172831"/>
            </a:xfrm>
            <a:prstGeom prst="flowChartMerg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grpSp>
        <p:nvGrpSpPr>
          <p:cNvPr id="68" name="Group 67">
            <a:extLst>
              <a:ext uri="{FF2B5EF4-FFF2-40B4-BE49-F238E27FC236}">
                <a16:creationId xmlns:a16="http://schemas.microsoft.com/office/drawing/2014/main" id="{572EB3A6-10D6-094E-902D-F33E2006AFE2}"/>
              </a:ext>
            </a:extLst>
          </p:cNvPr>
          <p:cNvGrpSpPr/>
          <p:nvPr/>
        </p:nvGrpSpPr>
        <p:grpSpPr>
          <a:xfrm>
            <a:off x="6630510" y="3378200"/>
            <a:ext cx="894644" cy="1130328"/>
            <a:chOff x="4406138" y="-6353800"/>
            <a:chExt cx="4026931" cy="5087778"/>
          </a:xfrm>
          <a:solidFill>
            <a:schemeClr val="accent1">
              <a:lumMod val="20000"/>
              <a:lumOff val="80000"/>
            </a:schemeClr>
          </a:solidFill>
        </p:grpSpPr>
        <p:sp>
          <p:nvSpPr>
            <p:cNvPr id="61" name="Freeform 60">
              <a:extLst>
                <a:ext uri="{FF2B5EF4-FFF2-40B4-BE49-F238E27FC236}">
                  <a16:creationId xmlns:a16="http://schemas.microsoft.com/office/drawing/2014/main" id="{E507DF53-6D8E-9D4B-979C-AE1F1641A43E}"/>
                </a:ext>
              </a:extLst>
            </p:cNvPr>
            <p:cNvSpPr/>
            <p:nvPr/>
          </p:nvSpPr>
          <p:spPr>
            <a:xfrm>
              <a:off x="5233920" y="-5525482"/>
              <a:ext cx="2371367" cy="2371367"/>
            </a:xfrm>
            <a:custGeom>
              <a:avLst/>
              <a:gdLst>
                <a:gd name="connsiteX0" fmla="*/ 1185684 w 2371367"/>
                <a:gd name="connsiteY0" fmla="*/ 2371368 h 2371367"/>
                <a:gd name="connsiteX1" fmla="*/ 347186 w 2371367"/>
                <a:gd name="connsiteY1" fmla="*/ 2024182 h 2371367"/>
                <a:gd name="connsiteX2" fmla="*/ 0 w 2371367"/>
                <a:gd name="connsiteY2" fmla="*/ 1185684 h 2371367"/>
                <a:gd name="connsiteX3" fmla="*/ 347186 w 2371367"/>
                <a:gd name="connsiteY3" fmla="*/ 347186 h 2371367"/>
                <a:gd name="connsiteX4" fmla="*/ 1185684 w 2371367"/>
                <a:gd name="connsiteY4" fmla="*/ 0 h 2371367"/>
                <a:gd name="connsiteX5" fmla="*/ 2024182 w 2371367"/>
                <a:gd name="connsiteY5" fmla="*/ 347186 h 2371367"/>
                <a:gd name="connsiteX6" fmla="*/ 2371368 w 2371367"/>
                <a:gd name="connsiteY6" fmla="*/ 1185684 h 2371367"/>
                <a:gd name="connsiteX7" fmla="*/ 2024182 w 2371367"/>
                <a:gd name="connsiteY7" fmla="*/ 2024182 h 2371367"/>
                <a:gd name="connsiteX8" fmla="*/ 1185684 w 2371367"/>
                <a:gd name="connsiteY8" fmla="*/ 2371368 h 2371367"/>
                <a:gd name="connsiteX9" fmla="*/ 1185684 w 2371367"/>
                <a:gd name="connsiteY9" fmla="*/ 267891 h 2371367"/>
                <a:gd name="connsiteX10" fmla="*/ 267891 w 2371367"/>
                <a:gd name="connsiteY10" fmla="*/ 1185684 h 2371367"/>
                <a:gd name="connsiteX11" fmla="*/ 1185684 w 2371367"/>
                <a:gd name="connsiteY11" fmla="*/ 2103477 h 2371367"/>
                <a:gd name="connsiteX12" fmla="*/ 2103477 w 2371367"/>
                <a:gd name="connsiteY12" fmla="*/ 1185684 h 2371367"/>
                <a:gd name="connsiteX13" fmla="*/ 1185684 w 2371367"/>
                <a:gd name="connsiteY13" fmla="*/ 267891 h 237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71367" h="2371367">
                  <a:moveTo>
                    <a:pt x="1185684" y="2371368"/>
                  </a:moveTo>
                  <a:cubicBezTo>
                    <a:pt x="869037" y="2371368"/>
                    <a:pt x="571143" y="2248138"/>
                    <a:pt x="347186" y="2024182"/>
                  </a:cubicBezTo>
                  <a:cubicBezTo>
                    <a:pt x="123230" y="1800225"/>
                    <a:pt x="0" y="1502331"/>
                    <a:pt x="0" y="1185684"/>
                  </a:cubicBezTo>
                  <a:cubicBezTo>
                    <a:pt x="0" y="869037"/>
                    <a:pt x="123230" y="571143"/>
                    <a:pt x="347186" y="347186"/>
                  </a:cubicBezTo>
                  <a:cubicBezTo>
                    <a:pt x="571143" y="123230"/>
                    <a:pt x="869037" y="0"/>
                    <a:pt x="1185684" y="0"/>
                  </a:cubicBezTo>
                  <a:cubicBezTo>
                    <a:pt x="1502330" y="0"/>
                    <a:pt x="1800225" y="123230"/>
                    <a:pt x="2024182" y="347186"/>
                  </a:cubicBezTo>
                  <a:cubicBezTo>
                    <a:pt x="2248138" y="571143"/>
                    <a:pt x="2371368" y="869037"/>
                    <a:pt x="2371368" y="1185684"/>
                  </a:cubicBezTo>
                  <a:cubicBezTo>
                    <a:pt x="2371368" y="1502331"/>
                    <a:pt x="2248138" y="1800225"/>
                    <a:pt x="2024182" y="2024182"/>
                  </a:cubicBezTo>
                  <a:cubicBezTo>
                    <a:pt x="1800225" y="2248138"/>
                    <a:pt x="1502330" y="2371368"/>
                    <a:pt x="1185684" y="2371368"/>
                  </a:cubicBezTo>
                  <a:close/>
                  <a:moveTo>
                    <a:pt x="1185684" y="267891"/>
                  </a:moveTo>
                  <a:cubicBezTo>
                    <a:pt x="679371" y="267891"/>
                    <a:pt x="267891" y="679906"/>
                    <a:pt x="267891" y="1185684"/>
                  </a:cubicBezTo>
                  <a:cubicBezTo>
                    <a:pt x="267891" y="1691997"/>
                    <a:pt x="679906" y="2103477"/>
                    <a:pt x="1185684" y="2103477"/>
                  </a:cubicBezTo>
                  <a:cubicBezTo>
                    <a:pt x="1691462" y="2103477"/>
                    <a:pt x="2103477" y="1691462"/>
                    <a:pt x="2103477" y="1185684"/>
                  </a:cubicBezTo>
                  <a:cubicBezTo>
                    <a:pt x="2103477" y="679371"/>
                    <a:pt x="1691997" y="267891"/>
                    <a:pt x="1185684" y="267891"/>
                  </a:cubicBezTo>
                  <a:close/>
                </a:path>
              </a:pathLst>
            </a:custGeom>
            <a:grp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63" name="Freeform 62">
              <a:extLst>
                <a:ext uri="{FF2B5EF4-FFF2-40B4-BE49-F238E27FC236}">
                  <a16:creationId xmlns:a16="http://schemas.microsoft.com/office/drawing/2014/main" id="{AA86237D-73A9-0C43-8B03-F9641323853F}"/>
                </a:ext>
              </a:extLst>
            </p:cNvPr>
            <p:cNvSpPr/>
            <p:nvPr/>
          </p:nvSpPr>
          <p:spPr>
            <a:xfrm>
              <a:off x="4406138" y="-6353800"/>
              <a:ext cx="4026931" cy="4028003"/>
            </a:xfrm>
            <a:custGeom>
              <a:avLst/>
              <a:gdLst>
                <a:gd name="connsiteX0" fmla="*/ 2013466 w 4026931"/>
                <a:gd name="connsiteY0" fmla="*/ 4028003 h 4028003"/>
                <a:gd name="connsiteX1" fmla="*/ 1764864 w 4026931"/>
                <a:gd name="connsiteY1" fmla="*/ 3965853 h 4028003"/>
                <a:gd name="connsiteX2" fmla="*/ 1718251 w 4026931"/>
                <a:gd name="connsiteY2" fmla="*/ 3937992 h 4028003"/>
                <a:gd name="connsiteX3" fmla="*/ 1640562 w 4026931"/>
                <a:gd name="connsiteY3" fmla="*/ 3873698 h 4028003"/>
                <a:gd name="connsiteX4" fmla="*/ 1435894 w 4026931"/>
                <a:gd name="connsiteY4" fmla="*/ 3668494 h 4028003"/>
                <a:gd name="connsiteX5" fmla="*/ 1252121 w 4026931"/>
                <a:gd name="connsiteY5" fmla="*/ 3592413 h 4028003"/>
                <a:gd name="connsiteX6" fmla="*/ 962799 w 4026931"/>
                <a:gd name="connsiteY6" fmla="*/ 3592413 h 4028003"/>
                <a:gd name="connsiteX7" fmla="*/ 435054 w 4026931"/>
                <a:gd name="connsiteY7" fmla="*/ 3064669 h 4028003"/>
                <a:gd name="connsiteX8" fmla="*/ 435054 w 4026931"/>
                <a:gd name="connsiteY8" fmla="*/ 2775347 h 4028003"/>
                <a:gd name="connsiteX9" fmla="*/ 358973 w 4026931"/>
                <a:gd name="connsiteY9" fmla="*/ 2591574 h 4028003"/>
                <a:gd name="connsiteX10" fmla="*/ 154305 w 4026931"/>
                <a:gd name="connsiteY10" fmla="*/ 2386906 h 4028003"/>
                <a:gd name="connsiteX11" fmla="*/ 154305 w 4026931"/>
                <a:gd name="connsiteY11" fmla="*/ 1640562 h 4028003"/>
                <a:gd name="connsiteX12" fmla="*/ 358973 w 4026931"/>
                <a:gd name="connsiteY12" fmla="*/ 1435894 h 4028003"/>
                <a:gd name="connsiteX13" fmla="*/ 435054 w 4026931"/>
                <a:gd name="connsiteY13" fmla="*/ 1252121 h 4028003"/>
                <a:gd name="connsiteX14" fmla="*/ 435054 w 4026931"/>
                <a:gd name="connsiteY14" fmla="*/ 962799 h 4028003"/>
                <a:gd name="connsiteX15" fmla="*/ 962799 w 4026931"/>
                <a:gd name="connsiteY15" fmla="*/ 435054 h 4028003"/>
                <a:gd name="connsiteX16" fmla="*/ 1252121 w 4026931"/>
                <a:gd name="connsiteY16" fmla="*/ 435054 h 4028003"/>
                <a:gd name="connsiteX17" fmla="*/ 1435894 w 4026931"/>
                <a:gd name="connsiteY17" fmla="*/ 358973 h 4028003"/>
                <a:gd name="connsiteX18" fmla="*/ 1640562 w 4026931"/>
                <a:gd name="connsiteY18" fmla="*/ 154305 h 4028003"/>
                <a:gd name="connsiteX19" fmla="*/ 2386370 w 4026931"/>
                <a:gd name="connsiteY19" fmla="*/ 154305 h 4028003"/>
                <a:gd name="connsiteX20" fmla="*/ 2591038 w 4026931"/>
                <a:gd name="connsiteY20" fmla="*/ 358973 h 4028003"/>
                <a:gd name="connsiteX21" fmla="*/ 2774811 w 4026931"/>
                <a:gd name="connsiteY21" fmla="*/ 435054 h 4028003"/>
                <a:gd name="connsiteX22" fmla="*/ 3064133 w 4026931"/>
                <a:gd name="connsiteY22" fmla="*/ 435054 h 4028003"/>
                <a:gd name="connsiteX23" fmla="*/ 3591878 w 4026931"/>
                <a:gd name="connsiteY23" fmla="*/ 962799 h 4028003"/>
                <a:gd name="connsiteX24" fmla="*/ 3591878 w 4026931"/>
                <a:gd name="connsiteY24" fmla="*/ 1252121 h 4028003"/>
                <a:gd name="connsiteX25" fmla="*/ 3667959 w 4026931"/>
                <a:gd name="connsiteY25" fmla="*/ 1435894 h 4028003"/>
                <a:gd name="connsiteX26" fmla="*/ 3872627 w 4026931"/>
                <a:gd name="connsiteY26" fmla="*/ 1640562 h 4028003"/>
                <a:gd name="connsiteX27" fmla="*/ 3872627 w 4026931"/>
                <a:gd name="connsiteY27" fmla="*/ 2386906 h 4028003"/>
                <a:gd name="connsiteX28" fmla="*/ 3667959 w 4026931"/>
                <a:gd name="connsiteY28" fmla="*/ 2591574 h 4028003"/>
                <a:gd name="connsiteX29" fmla="*/ 3591878 w 4026931"/>
                <a:gd name="connsiteY29" fmla="*/ 2775347 h 4028003"/>
                <a:gd name="connsiteX30" fmla="*/ 3591878 w 4026931"/>
                <a:gd name="connsiteY30" fmla="*/ 3064669 h 4028003"/>
                <a:gd name="connsiteX31" fmla="*/ 3064133 w 4026931"/>
                <a:gd name="connsiteY31" fmla="*/ 3592413 h 4028003"/>
                <a:gd name="connsiteX32" fmla="*/ 2774811 w 4026931"/>
                <a:gd name="connsiteY32" fmla="*/ 3592413 h 4028003"/>
                <a:gd name="connsiteX33" fmla="*/ 2591038 w 4026931"/>
                <a:gd name="connsiteY33" fmla="*/ 3668494 h 4028003"/>
                <a:gd name="connsiteX34" fmla="*/ 2386370 w 4026931"/>
                <a:gd name="connsiteY34" fmla="*/ 3873163 h 4028003"/>
                <a:gd name="connsiteX35" fmla="*/ 2308146 w 4026931"/>
                <a:gd name="connsiteY35" fmla="*/ 3937457 h 4028003"/>
                <a:gd name="connsiteX36" fmla="*/ 2261533 w 4026931"/>
                <a:gd name="connsiteY36" fmla="*/ 3965317 h 4028003"/>
                <a:gd name="connsiteX37" fmla="*/ 2013466 w 4026931"/>
                <a:gd name="connsiteY37" fmla="*/ 4028003 h 4028003"/>
                <a:gd name="connsiteX38" fmla="*/ 962263 w 4026931"/>
                <a:gd name="connsiteY38" fmla="*/ 703481 h 4028003"/>
                <a:gd name="connsiteX39" fmla="*/ 702409 w 4026931"/>
                <a:gd name="connsiteY39" fmla="*/ 963335 h 4028003"/>
                <a:gd name="connsiteX40" fmla="*/ 702409 w 4026931"/>
                <a:gd name="connsiteY40" fmla="*/ 1252657 h 4028003"/>
                <a:gd name="connsiteX41" fmla="*/ 548104 w 4026931"/>
                <a:gd name="connsiteY41" fmla="*/ 1625560 h 4028003"/>
                <a:gd name="connsiteX42" fmla="*/ 343436 w 4026931"/>
                <a:gd name="connsiteY42" fmla="*/ 1830229 h 4028003"/>
                <a:gd name="connsiteX43" fmla="*/ 343436 w 4026931"/>
                <a:gd name="connsiteY43" fmla="*/ 2197239 h 4028003"/>
                <a:gd name="connsiteX44" fmla="*/ 548104 w 4026931"/>
                <a:gd name="connsiteY44" fmla="*/ 2401908 h 4028003"/>
                <a:gd name="connsiteX45" fmla="*/ 702409 w 4026931"/>
                <a:gd name="connsiteY45" fmla="*/ 2774811 h 4028003"/>
                <a:gd name="connsiteX46" fmla="*/ 702409 w 4026931"/>
                <a:gd name="connsiteY46" fmla="*/ 3064133 h 4028003"/>
                <a:gd name="connsiteX47" fmla="*/ 962263 w 4026931"/>
                <a:gd name="connsiteY47" fmla="*/ 3323987 h 4028003"/>
                <a:gd name="connsiteX48" fmla="*/ 1251585 w 4026931"/>
                <a:gd name="connsiteY48" fmla="*/ 3323987 h 4028003"/>
                <a:gd name="connsiteX49" fmla="*/ 1624489 w 4026931"/>
                <a:gd name="connsiteY49" fmla="*/ 3478292 h 4028003"/>
                <a:gd name="connsiteX50" fmla="*/ 1829157 w 4026931"/>
                <a:gd name="connsiteY50" fmla="*/ 3682961 h 4028003"/>
                <a:gd name="connsiteX51" fmla="*/ 1867733 w 4026931"/>
                <a:gd name="connsiteY51" fmla="*/ 3715107 h 4028003"/>
                <a:gd name="connsiteX52" fmla="*/ 1890236 w 4026931"/>
                <a:gd name="connsiteY52" fmla="*/ 3728502 h 4028003"/>
                <a:gd name="connsiteX53" fmla="*/ 2135088 w 4026931"/>
                <a:gd name="connsiteY53" fmla="*/ 3728502 h 4028003"/>
                <a:gd name="connsiteX54" fmla="*/ 2157591 w 4026931"/>
                <a:gd name="connsiteY54" fmla="*/ 3715107 h 4028003"/>
                <a:gd name="connsiteX55" fmla="*/ 2196703 w 4026931"/>
                <a:gd name="connsiteY55" fmla="*/ 3682961 h 4028003"/>
                <a:gd name="connsiteX56" fmla="*/ 2401372 w 4026931"/>
                <a:gd name="connsiteY56" fmla="*/ 3478292 h 4028003"/>
                <a:gd name="connsiteX57" fmla="*/ 2774275 w 4026931"/>
                <a:gd name="connsiteY57" fmla="*/ 3323987 h 4028003"/>
                <a:gd name="connsiteX58" fmla="*/ 3063597 w 4026931"/>
                <a:gd name="connsiteY58" fmla="*/ 3323987 h 4028003"/>
                <a:gd name="connsiteX59" fmla="*/ 3323451 w 4026931"/>
                <a:gd name="connsiteY59" fmla="*/ 3064133 h 4028003"/>
                <a:gd name="connsiteX60" fmla="*/ 3323451 w 4026931"/>
                <a:gd name="connsiteY60" fmla="*/ 2774811 h 4028003"/>
                <a:gd name="connsiteX61" fmla="*/ 3477756 w 4026931"/>
                <a:gd name="connsiteY61" fmla="*/ 2401908 h 4028003"/>
                <a:gd name="connsiteX62" fmla="*/ 3682425 w 4026931"/>
                <a:gd name="connsiteY62" fmla="*/ 2197239 h 4028003"/>
                <a:gd name="connsiteX63" fmla="*/ 3682425 w 4026931"/>
                <a:gd name="connsiteY63" fmla="*/ 1829693 h 4028003"/>
                <a:gd name="connsiteX64" fmla="*/ 3477756 w 4026931"/>
                <a:gd name="connsiteY64" fmla="*/ 1625025 h 4028003"/>
                <a:gd name="connsiteX65" fmla="*/ 3323451 w 4026931"/>
                <a:gd name="connsiteY65" fmla="*/ 1252121 h 4028003"/>
                <a:gd name="connsiteX66" fmla="*/ 3323451 w 4026931"/>
                <a:gd name="connsiteY66" fmla="*/ 962799 h 4028003"/>
                <a:gd name="connsiteX67" fmla="*/ 3063597 w 4026931"/>
                <a:gd name="connsiteY67" fmla="*/ 702945 h 4028003"/>
                <a:gd name="connsiteX68" fmla="*/ 2774275 w 4026931"/>
                <a:gd name="connsiteY68" fmla="*/ 702945 h 4028003"/>
                <a:gd name="connsiteX69" fmla="*/ 2401372 w 4026931"/>
                <a:gd name="connsiteY69" fmla="*/ 548104 h 4028003"/>
                <a:gd name="connsiteX70" fmla="*/ 2196703 w 4026931"/>
                <a:gd name="connsiteY70" fmla="*/ 343436 h 4028003"/>
                <a:gd name="connsiteX71" fmla="*/ 2012930 w 4026931"/>
                <a:gd name="connsiteY71" fmla="*/ 267355 h 4028003"/>
                <a:gd name="connsiteX72" fmla="*/ 1829157 w 4026931"/>
                <a:gd name="connsiteY72" fmla="*/ 343436 h 4028003"/>
                <a:gd name="connsiteX73" fmla="*/ 1624489 w 4026931"/>
                <a:gd name="connsiteY73" fmla="*/ 548104 h 4028003"/>
                <a:gd name="connsiteX74" fmla="*/ 1251585 w 4026931"/>
                <a:gd name="connsiteY74" fmla="*/ 702409 h 4028003"/>
                <a:gd name="connsiteX75" fmla="*/ 962263 w 4026931"/>
                <a:gd name="connsiteY75" fmla="*/ 702409 h 402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026931" h="4028003">
                  <a:moveTo>
                    <a:pt x="2013466" y="4028003"/>
                  </a:moveTo>
                  <a:cubicBezTo>
                    <a:pt x="1928277" y="4028003"/>
                    <a:pt x="1842552" y="4007108"/>
                    <a:pt x="1764864" y="3965853"/>
                  </a:cubicBezTo>
                  <a:cubicBezTo>
                    <a:pt x="1748790" y="3957281"/>
                    <a:pt x="1733252" y="3947636"/>
                    <a:pt x="1718251" y="3937992"/>
                  </a:cubicBezTo>
                  <a:cubicBezTo>
                    <a:pt x="1690390" y="3919240"/>
                    <a:pt x="1664137" y="3897809"/>
                    <a:pt x="1640562" y="3873698"/>
                  </a:cubicBezTo>
                  <a:lnTo>
                    <a:pt x="1435894" y="3668494"/>
                  </a:lnTo>
                  <a:cubicBezTo>
                    <a:pt x="1386602" y="3619202"/>
                    <a:pt x="1321772" y="3592413"/>
                    <a:pt x="1252121" y="3592413"/>
                  </a:cubicBezTo>
                  <a:lnTo>
                    <a:pt x="962799" y="3592413"/>
                  </a:lnTo>
                  <a:cubicBezTo>
                    <a:pt x="671870" y="3592413"/>
                    <a:pt x="435054" y="3355598"/>
                    <a:pt x="435054" y="3064669"/>
                  </a:cubicBezTo>
                  <a:lnTo>
                    <a:pt x="435054" y="2775347"/>
                  </a:lnTo>
                  <a:cubicBezTo>
                    <a:pt x="435054" y="2706767"/>
                    <a:pt x="407194" y="2640330"/>
                    <a:pt x="358973" y="2591574"/>
                  </a:cubicBezTo>
                  <a:lnTo>
                    <a:pt x="154305" y="2386906"/>
                  </a:lnTo>
                  <a:cubicBezTo>
                    <a:pt x="-51435" y="2181166"/>
                    <a:pt x="-51435" y="1846302"/>
                    <a:pt x="154305" y="1640562"/>
                  </a:cubicBezTo>
                  <a:lnTo>
                    <a:pt x="358973" y="1435894"/>
                  </a:lnTo>
                  <a:cubicBezTo>
                    <a:pt x="407194" y="1387673"/>
                    <a:pt x="435054" y="1320701"/>
                    <a:pt x="435054" y="1252121"/>
                  </a:cubicBezTo>
                  <a:lnTo>
                    <a:pt x="435054" y="962799"/>
                  </a:lnTo>
                  <a:cubicBezTo>
                    <a:pt x="435054" y="671870"/>
                    <a:pt x="671870" y="435054"/>
                    <a:pt x="962799" y="435054"/>
                  </a:cubicBezTo>
                  <a:lnTo>
                    <a:pt x="1252121" y="435054"/>
                  </a:lnTo>
                  <a:cubicBezTo>
                    <a:pt x="1321237" y="435054"/>
                    <a:pt x="1386602" y="408265"/>
                    <a:pt x="1435894" y="358973"/>
                  </a:cubicBezTo>
                  <a:lnTo>
                    <a:pt x="1640562" y="154305"/>
                  </a:lnTo>
                  <a:cubicBezTo>
                    <a:pt x="1846302" y="-51435"/>
                    <a:pt x="2181166" y="-51435"/>
                    <a:pt x="2386370" y="154305"/>
                  </a:cubicBezTo>
                  <a:lnTo>
                    <a:pt x="2591038" y="358973"/>
                  </a:lnTo>
                  <a:cubicBezTo>
                    <a:pt x="2640330" y="408265"/>
                    <a:pt x="2705160" y="435054"/>
                    <a:pt x="2774811" y="435054"/>
                  </a:cubicBezTo>
                  <a:lnTo>
                    <a:pt x="3064133" y="435054"/>
                  </a:lnTo>
                  <a:cubicBezTo>
                    <a:pt x="3355062" y="435054"/>
                    <a:pt x="3591878" y="671870"/>
                    <a:pt x="3591878" y="962799"/>
                  </a:cubicBezTo>
                  <a:lnTo>
                    <a:pt x="3591878" y="1252121"/>
                  </a:lnTo>
                  <a:cubicBezTo>
                    <a:pt x="3591878" y="1321237"/>
                    <a:pt x="3618667" y="1386602"/>
                    <a:pt x="3667959" y="1435894"/>
                  </a:cubicBezTo>
                  <a:lnTo>
                    <a:pt x="3872627" y="1640562"/>
                  </a:lnTo>
                  <a:cubicBezTo>
                    <a:pt x="4078367" y="1846302"/>
                    <a:pt x="4078367" y="2181166"/>
                    <a:pt x="3872627" y="2386906"/>
                  </a:cubicBezTo>
                  <a:lnTo>
                    <a:pt x="3667959" y="2591574"/>
                  </a:lnTo>
                  <a:cubicBezTo>
                    <a:pt x="3618667" y="2640330"/>
                    <a:pt x="3591878" y="2705695"/>
                    <a:pt x="3591878" y="2775347"/>
                  </a:cubicBezTo>
                  <a:lnTo>
                    <a:pt x="3591878" y="3064669"/>
                  </a:lnTo>
                  <a:cubicBezTo>
                    <a:pt x="3591878" y="3355598"/>
                    <a:pt x="3355062" y="3592413"/>
                    <a:pt x="3064133" y="3592413"/>
                  </a:cubicBezTo>
                  <a:lnTo>
                    <a:pt x="2774811" y="3592413"/>
                  </a:lnTo>
                  <a:cubicBezTo>
                    <a:pt x="2705160" y="3592413"/>
                    <a:pt x="2640330" y="3619202"/>
                    <a:pt x="2591038" y="3668494"/>
                  </a:cubicBezTo>
                  <a:lnTo>
                    <a:pt x="2386370" y="3873163"/>
                  </a:lnTo>
                  <a:cubicBezTo>
                    <a:pt x="2362260" y="3897273"/>
                    <a:pt x="2336006" y="3918704"/>
                    <a:pt x="2308146" y="3937457"/>
                  </a:cubicBezTo>
                  <a:cubicBezTo>
                    <a:pt x="2293680" y="3947101"/>
                    <a:pt x="2277606" y="3956745"/>
                    <a:pt x="2261533" y="3965317"/>
                  </a:cubicBezTo>
                  <a:cubicBezTo>
                    <a:pt x="2184380" y="4007108"/>
                    <a:pt x="2098655" y="4028003"/>
                    <a:pt x="2013466" y="4028003"/>
                  </a:cubicBezTo>
                  <a:close/>
                  <a:moveTo>
                    <a:pt x="962263" y="703481"/>
                  </a:moveTo>
                  <a:cubicBezTo>
                    <a:pt x="819210" y="703481"/>
                    <a:pt x="702409" y="819745"/>
                    <a:pt x="702409" y="963335"/>
                  </a:cubicBezTo>
                  <a:lnTo>
                    <a:pt x="702409" y="1252657"/>
                  </a:lnTo>
                  <a:cubicBezTo>
                    <a:pt x="702409" y="1393567"/>
                    <a:pt x="647760" y="1525905"/>
                    <a:pt x="548104" y="1625560"/>
                  </a:cubicBezTo>
                  <a:lnTo>
                    <a:pt x="343436" y="1830229"/>
                  </a:lnTo>
                  <a:cubicBezTo>
                    <a:pt x="242173" y="1931491"/>
                    <a:pt x="242173" y="2095976"/>
                    <a:pt x="343436" y="2197239"/>
                  </a:cubicBezTo>
                  <a:lnTo>
                    <a:pt x="548104" y="2401908"/>
                  </a:lnTo>
                  <a:cubicBezTo>
                    <a:pt x="647760" y="2501563"/>
                    <a:pt x="702409" y="2633901"/>
                    <a:pt x="702409" y="2774811"/>
                  </a:cubicBezTo>
                  <a:lnTo>
                    <a:pt x="702409" y="3064133"/>
                  </a:lnTo>
                  <a:cubicBezTo>
                    <a:pt x="702409" y="3207187"/>
                    <a:pt x="818674" y="3323987"/>
                    <a:pt x="962263" y="3323987"/>
                  </a:cubicBezTo>
                  <a:lnTo>
                    <a:pt x="1251585" y="3323987"/>
                  </a:lnTo>
                  <a:cubicBezTo>
                    <a:pt x="1392496" y="3323987"/>
                    <a:pt x="1524833" y="3378637"/>
                    <a:pt x="1624489" y="3478292"/>
                  </a:cubicBezTo>
                  <a:lnTo>
                    <a:pt x="1829157" y="3682961"/>
                  </a:lnTo>
                  <a:cubicBezTo>
                    <a:pt x="1840944" y="3694748"/>
                    <a:pt x="1853803" y="3705463"/>
                    <a:pt x="1867733" y="3715107"/>
                  </a:cubicBezTo>
                  <a:cubicBezTo>
                    <a:pt x="1875235" y="3719929"/>
                    <a:pt x="1882200" y="3724751"/>
                    <a:pt x="1890236" y="3728502"/>
                  </a:cubicBezTo>
                  <a:cubicBezTo>
                    <a:pt x="1966853" y="3769757"/>
                    <a:pt x="2058472" y="3769757"/>
                    <a:pt x="2135088" y="3728502"/>
                  </a:cubicBezTo>
                  <a:cubicBezTo>
                    <a:pt x="2143125" y="3724216"/>
                    <a:pt x="2150626" y="3719929"/>
                    <a:pt x="2157591" y="3715107"/>
                  </a:cubicBezTo>
                  <a:cubicBezTo>
                    <a:pt x="2171522" y="3705463"/>
                    <a:pt x="2184916" y="3694748"/>
                    <a:pt x="2196703" y="3682961"/>
                  </a:cubicBezTo>
                  <a:lnTo>
                    <a:pt x="2401372" y="3478292"/>
                  </a:lnTo>
                  <a:cubicBezTo>
                    <a:pt x="2501027" y="3378637"/>
                    <a:pt x="2633365" y="3323987"/>
                    <a:pt x="2774275" y="3323987"/>
                  </a:cubicBezTo>
                  <a:lnTo>
                    <a:pt x="3063597" y="3323987"/>
                  </a:lnTo>
                  <a:cubicBezTo>
                    <a:pt x="3206651" y="3323987"/>
                    <a:pt x="3323451" y="3207722"/>
                    <a:pt x="3323451" y="3064133"/>
                  </a:cubicBezTo>
                  <a:lnTo>
                    <a:pt x="3323451" y="2774811"/>
                  </a:lnTo>
                  <a:cubicBezTo>
                    <a:pt x="3323451" y="2633901"/>
                    <a:pt x="3378101" y="2501563"/>
                    <a:pt x="3477756" y="2401908"/>
                  </a:cubicBezTo>
                  <a:lnTo>
                    <a:pt x="3682425" y="2197239"/>
                  </a:lnTo>
                  <a:cubicBezTo>
                    <a:pt x="3783687" y="2095976"/>
                    <a:pt x="3783687" y="1931491"/>
                    <a:pt x="3682425" y="1829693"/>
                  </a:cubicBezTo>
                  <a:lnTo>
                    <a:pt x="3477756" y="1625025"/>
                  </a:lnTo>
                  <a:cubicBezTo>
                    <a:pt x="3378101" y="1525369"/>
                    <a:pt x="3323451" y="1393031"/>
                    <a:pt x="3323451" y="1252121"/>
                  </a:cubicBezTo>
                  <a:lnTo>
                    <a:pt x="3323451" y="962799"/>
                  </a:lnTo>
                  <a:cubicBezTo>
                    <a:pt x="3323451" y="819745"/>
                    <a:pt x="3207187" y="702945"/>
                    <a:pt x="3063597" y="702945"/>
                  </a:cubicBezTo>
                  <a:lnTo>
                    <a:pt x="2774275" y="702945"/>
                  </a:lnTo>
                  <a:cubicBezTo>
                    <a:pt x="2633365" y="702945"/>
                    <a:pt x="2501027" y="648295"/>
                    <a:pt x="2401372" y="548104"/>
                  </a:cubicBezTo>
                  <a:lnTo>
                    <a:pt x="2196703" y="343436"/>
                  </a:lnTo>
                  <a:cubicBezTo>
                    <a:pt x="2147411" y="294144"/>
                    <a:pt x="2082582" y="267355"/>
                    <a:pt x="2012930" y="267355"/>
                  </a:cubicBezTo>
                  <a:cubicBezTo>
                    <a:pt x="1943814" y="267355"/>
                    <a:pt x="1878449" y="294144"/>
                    <a:pt x="1829157" y="343436"/>
                  </a:cubicBezTo>
                  <a:lnTo>
                    <a:pt x="1624489" y="548104"/>
                  </a:lnTo>
                  <a:cubicBezTo>
                    <a:pt x="1524833" y="647760"/>
                    <a:pt x="1392496" y="702409"/>
                    <a:pt x="1251585" y="702409"/>
                  </a:cubicBezTo>
                  <a:lnTo>
                    <a:pt x="962263" y="702409"/>
                  </a:lnTo>
                  <a:close/>
                </a:path>
              </a:pathLst>
            </a:custGeom>
            <a:grp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64" name="Freeform 63">
              <a:extLst>
                <a:ext uri="{FF2B5EF4-FFF2-40B4-BE49-F238E27FC236}">
                  <a16:creationId xmlns:a16="http://schemas.microsoft.com/office/drawing/2014/main" id="{1AD997DB-6C47-FB42-8804-286A3A68EC4C}"/>
                </a:ext>
              </a:extLst>
            </p:cNvPr>
            <p:cNvSpPr/>
            <p:nvPr/>
          </p:nvSpPr>
          <p:spPr>
            <a:xfrm>
              <a:off x="4806902" y="-3029278"/>
              <a:ext cx="1555908" cy="1763256"/>
            </a:xfrm>
            <a:custGeom>
              <a:avLst/>
              <a:gdLst>
                <a:gd name="connsiteX0" fmla="*/ 1049060 w 1555908"/>
                <a:gd name="connsiteY0" fmla="*/ 1763256 h 1763256"/>
                <a:gd name="connsiteX1" fmla="*/ 640259 w 1555908"/>
                <a:gd name="connsiteY1" fmla="*/ 1260693 h 1763256"/>
                <a:gd name="connsiteX2" fmla="*/ 0 w 1555908"/>
                <a:gd name="connsiteY2" fmla="*/ 1357670 h 1763256"/>
                <a:gd name="connsiteX3" fmla="*/ 525066 w 1555908"/>
                <a:gd name="connsiteY3" fmla="*/ 0 h 1763256"/>
                <a:gd name="connsiteX4" fmla="*/ 851356 w 1555908"/>
                <a:gd name="connsiteY4" fmla="*/ 0 h 1763256"/>
                <a:gd name="connsiteX5" fmla="*/ 1224260 w 1555908"/>
                <a:gd name="connsiteY5" fmla="*/ 154305 h 1763256"/>
                <a:gd name="connsiteX6" fmla="*/ 1428929 w 1555908"/>
                <a:gd name="connsiteY6" fmla="*/ 358973 h 1763256"/>
                <a:gd name="connsiteX7" fmla="*/ 1467505 w 1555908"/>
                <a:gd name="connsiteY7" fmla="*/ 391120 h 1763256"/>
                <a:gd name="connsiteX8" fmla="*/ 1555909 w 1555908"/>
                <a:gd name="connsiteY8" fmla="*/ 450592 h 1763256"/>
                <a:gd name="connsiteX9" fmla="*/ 1049060 w 1555908"/>
                <a:gd name="connsiteY9" fmla="*/ 1763256 h 1763256"/>
                <a:gd name="connsiteX10" fmla="*/ 751701 w 1555908"/>
                <a:gd name="connsiteY10" fmla="*/ 972979 h 1763256"/>
                <a:gd name="connsiteX11" fmla="*/ 965478 w 1555908"/>
                <a:gd name="connsiteY11" fmla="*/ 1236047 h 1763256"/>
                <a:gd name="connsiteX12" fmla="*/ 1233369 w 1555908"/>
                <a:gd name="connsiteY12" fmla="*/ 542746 h 1763256"/>
                <a:gd name="connsiteX13" fmla="*/ 1035129 w 1555908"/>
                <a:gd name="connsiteY13" fmla="*/ 343972 h 1763256"/>
                <a:gd name="connsiteX14" fmla="*/ 851356 w 1555908"/>
                <a:gd name="connsiteY14" fmla="*/ 267891 h 1763256"/>
                <a:gd name="connsiteX15" fmla="*/ 708839 w 1555908"/>
                <a:gd name="connsiteY15" fmla="*/ 267891 h 1763256"/>
                <a:gd name="connsiteX16" fmla="*/ 416838 w 1555908"/>
                <a:gd name="connsiteY16" fmla="*/ 1023342 h 1763256"/>
                <a:gd name="connsiteX17" fmla="*/ 751701 w 1555908"/>
                <a:gd name="connsiteY17" fmla="*/ 972979 h 176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5908" h="1763256">
                  <a:moveTo>
                    <a:pt x="1049060" y="1763256"/>
                  </a:moveTo>
                  <a:lnTo>
                    <a:pt x="640259" y="1260693"/>
                  </a:lnTo>
                  <a:lnTo>
                    <a:pt x="0" y="1357670"/>
                  </a:lnTo>
                  <a:lnTo>
                    <a:pt x="525066" y="0"/>
                  </a:lnTo>
                  <a:lnTo>
                    <a:pt x="851356" y="0"/>
                  </a:lnTo>
                  <a:cubicBezTo>
                    <a:pt x="992267" y="0"/>
                    <a:pt x="1124605" y="54650"/>
                    <a:pt x="1224260" y="154305"/>
                  </a:cubicBezTo>
                  <a:lnTo>
                    <a:pt x="1428929" y="358973"/>
                  </a:lnTo>
                  <a:cubicBezTo>
                    <a:pt x="1440716" y="370761"/>
                    <a:pt x="1453575" y="381476"/>
                    <a:pt x="1467505" y="391120"/>
                  </a:cubicBezTo>
                  <a:lnTo>
                    <a:pt x="1555909" y="450592"/>
                  </a:lnTo>
                  <a:lnTo>
                    <a:pt x="1049060" y="1763256"/>
                  </a:lnTo>
                  <a:close/>
                  <a:moveTo>
                    <a:pt x="751701" y="972979"/>
                  </a:moveTo>
                  <a:lnTo>
                    <a:pt x="965478" y="1236047"/>
                  </a:lnTo>
                  <a:lnTo>
                    <a:pt x="1233369" y="542746"/>
                  </a:lnTo>
                  <a:lnTo>
                    <a:pt x="1035129" y="343972"/>
                  </a:lnTo>
                  <a:cubicBezTo>
                    <a:pt x="985838" y="294680"/>
                    <a:pt x="921008" y="267891"/>
                    <a:pt x="851356" y="267891"/>
                  </a:cubicBezTo>
                  <a:lnTo>
                    <a:pt x="708839" y="267891"/>
                  </a:lnTo>
                  <a:lnTo>
                    <a:pt x="416838" y="1023342"/>
                  </a:lnTo>
                  <a:lnTo>
                    <a:pt x="751701" y="972979"/>
                  </a:lnTo>
                  <a:close/>
                </a:path>
              </a:pathLst>
            </a:custGeom>
            <a:grp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65" name="Freeform 64">
              <a:extLst>
                <a:ext uri="{FF2B5EF4-FFF2-40B4-BE49-F238E27FC236}">
                  <a16:creationId xmlns:a16="http://schemas.microsoft.com/office/drawing/2014/main" id="{EB9696F3-3F8B-724E-8D4C-AE0FA22398B3}"/>
                </a:ext>
              </a:extLst>
            </p:cNvPr>
            <p:cNvSpPr/>
            <p:nvPr/>
          </p:nvSpPr>
          <p:spPr>
            <a:xfrm>
              <a:off x="6475861" y="-3028742"/>
              <a:ext cx="1555908" cy="1762184"/>
            </a:xfrm>
            <a:custGeom>
              <a:avLst/>
              <a:gdLst>
                <a:gd name="connsiteX0" fmla="*/ 507385 w 1555908"/>
                <a:gd name="connsiteY0" fmla="*/ 1762184 h 1762184"/>
                <a:gd name="connsiteX1" fmla="*/ 0 w 1555908"/>
                <a:gd name="connsiteY1" fmla="*/ 450592 h 1762184"/>
                <a:gd name="connsiteX2" fmla="*/ 88404 w 1555908"/>
                <a:gd name="connsiteY2" fmla="*/ 391120 h 1762184"/>
                <a:gd name="connsiteX3" fmla="*/ 126980 w 1555908"/>
                <a:gd name="connsiteY3" fmla="*/ 358973 h 1762184"/>
                <a:gd name="connsiteX4" fmla="*/ 331649 w 1555908"/>
                <a:gd name="connsiteY4" fmla="*/ 154305 h 1762184"/>
                <a:gd name="connsiteX5" fmla="*/ 704552 w 1555908"/>
                <a:gd name="connsiteY5" fmla="*/ 0 h 1762184"/>
                <a:gd name="connsiteX6" fmla="*/ 1031379 w 1555908"/>
                <a:gd name="connsiteY6" fmla="*/ 0 h 1762184"/>
                <a:gd name="connsiteX7" fmla="*/ 1555909 w 1555908"/>
                <a:gd name="connsiteY7" fmla="*/ 1357670 h 1762184"/>
                <a:gd name="connsiteX8" fmla="*/ 915650 w 1555908"/>
                <a:gd name="connsiteY8" fmla="*/ 1260693 h 1762184"/>
                <a:gd name="connsiteX9" fmla="*/ 507385 w 1555908"/>
                <a:gd name="connsiteY9" fmla="*/ 1762184 h 1762184"/>
                <a:gd name="connsiteX10" fmla="*/ 323076 w 1555908"/>
                <a:gd name="connsiteY10" fmla="*/ 542210 h 1762184"/>
                <a:gd name="connsiteX11" fmla="*/ 590967 w 1555908"/>
                <a:gd name="connsiteY11" fmla="*/ 1235511 h 1762184"/>
                <a:gd name="connsiteX12" fmla="*/ 804744 w 1555908"/>
                <a:gd name="connsiteY12" fmla="*/ 972443 h 1762184"/>
                <a:gd name="connsiteX13" fmla="*/ 1139607 w 1555908"/>
                <a:gd name="connsiteY13" fmla="*/ 1023342 h 1762184"/>
                <a:gd name="connsiteX14" fmla="*/ 847606 w 1555908"/>
                <a:gd name="connsiteY14" fmla="*/ 267891 h 1762184"/>
                <a:gd name="connsiteX15" fmla="*/ 705088 w 1555908"/>
                <a:gd name="connsiteY15" fmla="*/ 267891 h 1762184"/>
                <a:gd name="connsiteX16" fmla="*/ 521315 w 1555908"/>
                <a:gd name="connsiteY16" fmla="*/ 343971 h 1762184"/>
                <a:gd name="connsiteX17" fmla="*/ 323076 w 1555908"/>
                <a:gd name="connsiteY17" fmla="*/ 542210 h 176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55908" h="1762184">
                  <a:moveTo>
                    <a:pt x="507385" y="1762184"/>
                  </a:moveTo>
                  <a:lnTo>
                    <a:pt x="0" y="450592"/>
                  </a:lnTo>
                  <a:lnTo>
                    <a:pt x="88404" y="391120"/>
                  </a:lnTo>
                  <a:cubicBezTo>
                    <a:pt x="102334" y="382012"/>
                    <a:pt x="115193" y="371296"/>
                    <a:pt x="126980" y="358973"/>
                  </a:cubicBezTo>
                  <a:lnTo>
                    <a:pt x="331649" y="154305"/>
                  </a:lnTo>
                  <a:cubicBezTo>
                    <a:pt x="431304" y="54649"/>
                    <a:pt x="563642" y="0"/>
                    <a:pt x="704552" y="0"/>
                  </a:cubicBezTo>
                  <a:lnTo>
                    <a:pt x="1031379" y="0"/>
                  </a:lnTo>
                  <a:lnTo>
                    <a:pt x="1555909" y="1357670"/>
                  </a:lnTo>
                  <a:lnTo>
                    <a:pt x="915650" y="1260693"/>
                  </a:lnTo>
                  <a:lnTo>
                    <a:pt x="507385" y="1762184"/>
                  </a:lnTo>
                  <a:close/>
                  <a:moveTo>
                    <a:pt x="323076" y="542210"/>
                  </a:moveTo>
                  <a:lnTo>
                    <a:pt x="590967" y="1235511"/>
                  </a:lnTo>
                  <a:lnTo>
                    <a:pt x="804744" y="972443"/>
                  </a:lnTo>
                  <a:lnTo>
                    <a:pt x="1139607" y="1023342"/>
                  </a:lnTo>
                  <a:lnTo>
                    <a:pt x="847606" y="267891"/>
                  </a:lnTo>
                  <a:lnTo>
                    <a:pt x="705088" y="267891"/>
                  </a:lnTo>
                  <a:cubicBezTo>
                    <a:pt x="635436" y="267891"/>
                    <a:pt x="570607" y="294680"/>
                    <a:pt x="521315" y="343971"/>
                  </a:cubicBezTo>
                  <a:lnTo>
                    <a:pt x="323076" y="542210"/>
                  </a:lnTo>
                  <a:close/>
                </a:path>
              </a:pathLst>
            </a:custGeom>
            <a:grpFill/>
            <a:ln w="53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50" name="TextBox 49">
            <a:extLst>
              <a:ext uri="{FF2B5EF4-FFF2-40B4-BE49-F238E27FC236}">
                <a16:creationId xmlns:a16="http://schemas.microsoft.com/office/drawing/2014/main" id="{C2AD666C-89FF-3C42-9A3F-B70076D4D3C7}"/>
              </a:ext>
            </a:extLst>
          </p:cNvPr>
          <p:cNvSpPr txBox="1"/>
          <p:nvPr/>
        </p:nvSpPr>
        <p:spPr>
          <a:xfrm>
            <a:off x="4387564" y="5107394"/>
            <a:ext cx="1901952" cy="646331"/>
          </a:xfrm>
          <a:prstGeom prst="rect">
            <a:avLst/>
          </a:prstGeom>
          <a:noFill/>
        </p:spPr>
        <p:txBody>
          <a:bodyPr rot="0" spcFirstLastPara="0" vertOverflow="overflow" horzOverflow="overflow" vert="horz" wrap="square" lIns="91440" tIns="0" rIns="9144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Preside at all meetings of the Area Council</a:t>
            </a:r>
          </a:p>
        </p:txBody>
      </p:sp>
      <p:grpSp>
        <p:nvGrpSpPr>
          <p:cNvPr id="85" name="Group 84">
            <a:extLst>
              <a:ext uri="{FF2B5EF4-FFF2-40B4-BE49-F238E27FC236}">
                <a16:creationId xmlns:a16="http://schemas.microsoft.com/office/drawing/2014/main" id="{5F54C675-7336-2647-9F71-50D4338BE4EC}"/>
              </a:ext>
            </a:extLst>
          </p:cNvPr>
          <p:cNvGrpSpPr/>
          <p:nvPr/>
        </p:nvGrpSpPr>
        <p:grpSpPr>
          <a:xfrm>
            <a:off x="4188562" y="2118168"/>
            <a:ext cx="2077980" cy="2822975"/>
            <a:chOff x="4188562" y="2118168"/>
            <a:chExt cx="2077980" cy="2822975"/>
          </a:xfrm>
        </p:grpSpPr>
        <p:sp>
          <p:nvSpPr>
            <p:cNvPr id="43" name="Flowchart: Merge 205">
              <a:extLst>
                <a:ext uri="{FF2B5EF4-FFF2-40B4-BE49-F238E27FC236}">
                  <a16:creationId xmlns:a16="http://schemas.microsoft.com/office/drawing/2014/main" id="{046278F4-E0CF-964D-91CA-15F952618366}"/>
                </a:ext>
              </a:extLst>
            </p:cNvPr>
            <p:cNvSpPr/>
            <p:nvPr/>
          </p:nvSpPr>
          <p:spPr>
            <a:xfrm rot="16200000">
              <a:off x="5955987" y="3443238"/>
              <a:ext cx="448280" cy="172831"/>
            </a:xfrm>
            <a:prstGeom prst="flowChartMerg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4" name="Rectangle 203">
              <a:extLst>
                <a:ext uri="{FF2B5EF4-FFF2-40B4-BE49-F238E27FC236}">
                  <a16:creationId xmlns:a16="http://schemas.microsoft.com/office/drawing/2014/main" id="{388A141A-6D8A-4F5B-BD54-BE017A62EF4A}"/>
                </a:ext>
              </a:extLst>
            </p:cNvPr>
            <p:cNvSpPr/>
            <p:nvPr/>
          </p:nvSpPr>
          <p:spPr>
            <a:xfrm>
              <a:off x="4188562" y="2118168"/>
              <a:ext cx="1911096" cy="2822975"/>
            </a:xfrm>
            <a:prstGeom prst="rect">
              <a:avLst/>
            </a:prstGeom>
            <a:gradFill>
              <a:gsLst>
                <a:gs pos="0">
                  <a:srgbClr val="0387B9"/>
                </a:gs>
                <a:gs pos="35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eside</a:t>
              </a:r>
            </a:p>
          </p:txBody>
        </p:sp>
      </p:grpSp>
      <p:grpSp>
        <p:nvGrpSpPr>
          <p:cNvPr id="56" name="Group 55">
            <a:extLst>
              <a:ext uri="{FF2B5EF4-FFF2-40B4-BE49-F238E27FC236}">
                <a16:creationId xmlns:a16="http://schemas.microsoft.com/office/drawing/2014/main" id="{CAF94554-DC76-8947-8334-5583F6F03DFF}"/>
              </a:ext>
            </a:extLst>
          </p:cNvPr>
          <p:cNvGrpSpPr/>
          <p:nvPr/>
        </p:nvGrpSpPr>
        <p:grpSpPr>
          <a:xfrm>
            <a:off x="4638496" y="3454342"/>
            <a:ext cx="996449" cy="978045"/>
            <a:chOff x="4683789" y="3471092"/>
            <a:chExt cx="905863" cy="889132"/>
          </a:xfrm>
        </p:grpSpPr>
        <p:sp>
          <p:nvSpPr>
            <p:cNvPr id="30" name="Freeform 29">
              <a:extLst>
                <a:ext uri="{FF2B5EF4-FFF2-40B4-BE49-F238E27FC236}">
                  <a16:creationId xmlns:a16="http://schemas.microsoft.com/office/drawing/2014/main" id="{65DDCE00-4FF9-494E-B699-4EEF77A017B7}"/>
                </a:ext>
              </a:extLst>
            </p:cNvPr>
            <p:cNvSpPr/>
            <p:nvPr/>
          </p:nvSpPr>
          <p:spPr>
            <a:xfrm>
              <a:off x="4914470" y="3471092"/>
              <a:ext cx="443053" cy="421498"/>
            </a:xfrm>
            <a:custGeom>
              <a:avLst/>
              <a:gdLst>
                <a:gd name="connsiteX0" fmla="*/ 368477 w 443053"/>
                <a:gd name="connsiteY0" fmla="*/ 386456 h 421498"/>
                <a:gd name="connsiteX1" fmla="*/ 343712 w 443053"/>
                <a:gd name="connsiteY1" fmla="*/ 283464 h 421498"/>
                <a:gd name="connsiteX2" fmla="*/ 352285 w 443053"/>
                <a:gd name="connsiteY2" fmla="*/ 256062 h 421498"/>
                <a:gd name="connsiteX3" fmla="*/ 433247 w 443053"/>
                <a:gd name="connsiteY3" fmla="*/ 187086 h 421498"/>
                <a:gd name="connsiteX4" fmla="*/ 417055 w 443053"/>
                <a:gd name="connsiteY4" fmla="*/ 138897 h 421498"/>
                <a:gd name="connsiteX5" fmla="*/ 311327 w 443053"/>
                <a:gd name="connsiteY5" fmla="*/ 130393 h 421498"/>
                <a:gd name="connsiteX6" fmla="*/ 287515 w 443053"/>
                <a:gd name="connsiteY6" fmla="*/ 113386 h 421498"/>
                <a:gd name="connsiteX7" fmla="*/ 247510 w 443053"/>
                <a:gd name="connsiteY7" fmla="*/ 17008 h 421498"/>
                <a:gd name="connsiteX8" fmla="*/ 196075 w 443053"/>
                <a:gd name="connsiteY8" fmla="*/ 17008 h 421498"/>
                <a:gd name="connsiteX9" fmla="*/ 155117 w 443053"/>
                <a:gd name="connsiteY9" fmla="*/ 114330 h 421498"/>
                <a:gd name="connsiteX10" fmla="*/ 131305 w 443053"/>
                <a:gd name="connsiteY10" fmla="*/ 131338 h 421498"/>
                <a:gd name="connsiteX11" fmla="*/ 25577 w 443053"/>
                <a:gd name="connsiteY11" fmla="*/ 139842 h 421498"/>
                <a:gd name="connsiteX12" fmla="*/ 9385 w 443053"/>
                <a:gd name="connsiteY12" fmla="*/ 188031 h 421498"/>
                <a:gd name="connsiteX13" fmla="*/ 90347 w 443053"/>
                <a:gd name="connsiteY13" fmla="*/ 257007 h 421498"/>
                <a:gd name="connsiteX14" fmla="*/ 98920 w 443053"/>
                <a:gd name="connsiteY14" fmla="*/ 284409 h 421498"/>
                <a:gd name="connsiteX15" fmla="*/ 74155 w 443053"/>
                <a:gd name="connsiteY15" fmla="*/ 387401 h 421498"/>
                <a:gd name="connsiteX16" fmla="*/ 116065 w 443053"/>
                <a:gd name="connsiteY16" fmla="*/ 417637 h 421498"/>
                <a:gd name="connsiteX17" fmla="*/ 206552 w 443053"/>
                <a:gd name="connsiteY17" fmla="*/ 362834 h 421498"/>
                <a:gd name="connsiteX18" fmla="*/ 235127 w 443053"/>
                <a:gd name="connsiteY18" fmla="*/ 362834 h 421498"/>
                <a:gd name="connsiteX19" fmla="*/ 325615 w 443053"/>
                <a:gd name="connsiteY19" fmla="*/ 417637 h 421498"/>
                <a:gd name="connsiteX20" fmla="*/ 368477 w 443053"/>
                <a:gd name="connsiteY20" fmla="*/ 386456 h 42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3053" h="421498">
                  <a:moveTo>
                    <a:pt x="368477" y="386456"/>
                  </a:moveTo>
                  <a:lnTo>
                    <a:pt x="343712" y="283464"/>
                  </a:lnTo>
                  <a:cubicBezTo>
                    <a:pt x="340855" y="273070"/>
                    <a:pt x="344665" y="262677"/>
                    <a:pt x="352285" y="256062"/>
                  </a:cubicBezTo>
                  <a:lnTo>
                    <a:pt x="433247" y="187086"/>
                  </a:lnTo>
                  <a:cubicBezTo>
                    <a:pt x="452297" y="171023"/>
                    <a:pt x="441820" y="140787"/>
                    <a:pt x="417055" y="138897"/>
                  </a:cubicBezTo>
                  <a:lnTo>
                    <a:pt x="311327" y="130393"/>
                  </a:lnTo>
                  <a:cubicBezTo>
                    <a:pt x="300850" y="129449"/>
                    <a:pt x="292277" y="122834"/>
                    <a:pt x="287515" y="113386"/>
                  </a:cubicBezTo>
                  <a:lnTo>
                    <a:pt x="247510" y="17008"/>
                  </a:lnTo>
                  <a:cubicBezTo>
                    <a:pt x="237985" y="-5669"/>
                    <a:pt x="205600" y="-5669"/>
                    <a:pt x="196075" y="17008"/>
                  </a:cubicBezTo>
                  <a:lnTo>
                    <a:pt x="155117" y="114330"/>
                  </a:lnTo>
                  <a:cubicBezTo>
                    <a:pt x="151307" y="123779"/>
                    <a:pt x="141782" y="130393"/>
                    <a:pt x="131305" y="131338"/>
                  </a:cubicBezTo>
                  <a:lnTo>
                    <a:pt x="25577" y="139842"/>
                  </a:lnTo>
                  <a:cubicBezTo>
                    <a:pt x="812" y="141732"/>
                    <a:pt x="-8713" y="171968"/>
                    <a:pt x="9385" y="188031"/>
                  </a:cubicBezTo>
                  <a:lnTo>
                    <a:pt x="90347" y="257007"/>
                  </a:lnTo>
                  <a:cubicBezTo>
                    <a:pt x="97967" y="263622"/>
                    <a:pt x="101777" y="274015"/>
                    <a:pt x="98920" y="284409"/>
                  </a:cubicBezTo>
                  <a:lnTo>
                    <a:pt x="74155" y="387401"/>
                  </a:lnTo>
                  <a:cubicBezTo>
                    <a:pt x="68440" y="411023"/>
                    <a:pt x="94157" y="429920"/>
                    <a:pt x="116065" y="417637"/>
                  </a:cubicBezTo>
                  <a:lnTo>
                    <a:pt x="206552" y="362834"/>
                  </a:lnTo>
                  <a:cubicBezTo>
                    <a:pt x="215125" y="357165"/>
                    <a:pt x="226555" y="357165"/>
                    <a:pt x="235127" y="362834"/>
                  </a:cubicBezTo>
                  <a:lnTo>
                    <a:pt x="325615" y="417637"/>
                  </a:lnTo>
                  <a:cubicBezTo>
                    <a:pt x="348475" y="428976"/>
                    <a:pt x="374192" y="410078"/>
                    <a:pt x="368477" y="386456"/>
                  </a:cubicBezTo>
                  <a:close/>
                </a:path>
              </a:pathLst>
            </a:custGeom>
            <a:solidFill>
              <a:schemeClr val="accent1">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31" name="Freeform 30">
              <a:extLst>
                <a:ext uri="{FF2B5EF4-FFF2-40B4-BE49-F238E27FC236}">
                  <a16:creationId xmlns:a16="http://schemas.microsoft.com/office/drawing/2014/main" id="{EAC6AFE5-341B-9243-A1E7-D0C259DFB166}"/>
                </a:ext>
              </a:extLst>
            </p:cNvPr>
            <p:cNvSpPr/>
            <p:nvPr/>
          </p:nvSpPr>
          <p:spPr>
            <a:xfrm>
              <a:off x="5173410" y="3769155"/>
              <a:ext cx="416242" cy="589179"/>
            </a:xfrm>
            <a:custGeom>
              <a:avLst/>
              <a:gdLst>
                <a:gd name="connsiteX0" fmla="*/ 380048 w 416242"/>
                <a:gd name="connsiteY0" fmla="*/ 519 h 589179"/>
                <a:gd name="connsiteX1" fmla="*/ 331470 w 416242"/>
                <a:gd name="connsiteY1" fmla="*/ 32645 h 589179"/>
                <a:gd name="connsiteX2" fmla="*/ 297180 w 416242"/>
                <a:gd name="connsiteY2" fmla="*/ 114850 h 589179"/>
                <a:gd name="connsiteX3" fmla="*/ 287655 w 416242"/>
                <a:gd name="connsiteY3" fmla="*/ 201779 h 589179"/>
                <a:gd name="connsiteX4" fmla="*/ 272415 w 416242"/>
                <a:gd name="connsiteY4" fmla="*/ 226346 h 589179"/>
                <a:gd name="connsiteX5" fmla="*/ 214313 w 416242"/>
                <a:gd name="connsiteY5" fmla="*/ 293432 h 589179"/>
                <a:gd name="connsiteX6" fmla="*/ 209550 w 416242"/>
                <a:gd name="connsiteY6" fmla="*/ 298156 h 589179"/>
                <a:gd name="connsiteX7" fmla="*/ 180023 w 416242"/>
                <a:gd name="connsiteY7" fmla="*/ 302881 h 589179"/>
                <a:gd name="connsiteX8" fmla="*/ 169545 w 416242"/>
                <a:gd name="connsiteY8" fmla="*/ 286818 h 589179"/>
                <a:gd name="connsiteX9" fmla="*/ 175260 w 416242"/>
                <a:gd name="connsiteY9" fmla="*/ 268865 h 589179"/>
                <a:gd name="connsiteX10" fmla="*/ 180975 w 416242"/>
                <a:gd name="connsiteY10" fmla="*/ 263196 h 589179"/>
                <a:gd name="connsiteX11" fmla="*/ 248602 w 416242"/>
                <a:gd name="connsiteY11" fmla="*/ 180991 h 589179"/>
                <a:gd name="connsiteX12" fmla="*/ 237173 w 416242"/>
                <a:gd name="connsiteY12" fmla="*/ 106346 h 589179"/>
                <a:gd name="connsiteX13" fmla="*/ 191452 w 416242"/>
                <a:gd name="connsiteY13" fmla="*/ 113905 h 589179"/>
                <a:gd name="connsiteX14" fmla="*/ 121920 w 416242"/>
                <a:gd name="connsiteY14" fmla="*/ 198944 h 589179"/>
                <a:gd name="connsiteX15" fmla="*/ 75247 w 416242"/>
                <a:gd name="connsiteY15" fmla="*/ 254692 h 589179"/>
                <a:gd name="connsiteX16" fmla="*/ 48577 w 416242"/>
                <a:gd name="connsiteY16" fmla="*/ 292487 h 589179"/>
                <a:gd name="connsiteX17" fmla="*/ 3810 w 416242"/>
                <a:gd name="connsiteY17" fmla="*/ 467290 h 589179"/>
                <a:gd name="connsiteX18" fmla="*/ 0 w 416242"/>
                <a:gd name="connsiteY18" fmla="*/ 572172 h 589179"/>
                <a:gd name="connsiteX19" fmla="*/ 4763 w 416242"/>
                <a:gd name="connsiteY19" fmla="*/ 584455 h 589179"/>
                <a:gd name="connsiteX20" fmla="*/ 17145 w 416242"/>
                <a:gd name="connsiteY20" fmla="*/ 589180 h 589179"/>
                <a:gd name="connsiteX21" fmla="*/ 167640 w 416242"/>
                <a:gd name="connsiteY21" fmla="*/ 589180 h 589179"/>
                <a:gd name="connsiteX22" fmla="*/ 180023 w 416242"/>
                <a:gd name="connsiteY22" fmla="*/ 584455 h 589179"/>
                <a:gd name="connsiteX23" fmla="*/ 184785 w 416242"/>
                <a:gd name="connsiteY23" fmla="*/ 572172 h 589179"/>
                <a:gd name="connsiteX24" fmla="*/ 184785 w 416242"/>
                <a:gd name="connsiteY24" fmla="*/ 529652 h 589179"/>
                <a:gd name="connsiteX25" fmla="*/ 200977 w 416242"/>
                <a:gd name="connsiteY25" fmla="*/ 499416 h 589179"/>
                <a:gd name="connsiteX26" fmla="*/ 331470 w 416242"/>
                <a:gd name="connsiteY26" fmla="*/ 386975 h 589179"/>
                <a:gd name="connsiteX27" fmla="*/ 416242 w 416242"/>
                <a:gd name="connsiteY27" fmla="*/ 47763 h 589179"/>
                <a:gd name="connsiteX28" fmla="*/ 380048 w 416242"/>
                <a:gd name="connsiteY28" fmla="*/ 519 h 58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242" h="589179">
                  <a:moveTo>
                    <a:pt x="380048" y="519"/>
                  </a:moveTo>
                  <a:cubicBezTo>
                    <a:pt x="361950" y="-2315"/>
                    <a:pt x="340042" y="6189"/>
                    <a:pt x="331470" y="32645"/>
                  </a:cubicBezTo>
                  <a:cubicBezTo>
                    <a:pt x="325755" y="50598"/>
                    <a:pt x="314325" y="78944"/>
                    <a:pt x="297180" y="114850"/>
                  </a:cubicBezTo>
                  <a:cubicBezTo>
                    <a:pt x="303848" y="133747"/>
                    <a:pt x="307657" y="163984"/>
                    <a:pt x="287655" y="201779"/>
                  </a:cubicBezTo>
                  <a:cubicBezTo>
                    <a:pt x="283845" y="209338"/>
                    <a:pt x="278130" y="217842"/>
                    <a:pt x="272415" y="226346"/>
                  </a:cubicBezTo>
                  <a:cubicBezTo>
                    <a:pt x="257175" y="247133"/>
                    <a:pt x="236220" y="269810"/>
                    <a:pt x="214313" y="293432"/>
                  </a:cubicBezTo>
                  <a:lnTo>
                    <a:pt x="209550" y="298156"/>
                  </a:lnTo>
                  <a:cubicBezTo>
                    <a:pt x="201930" y="306660"/>
                    <a:pt x="189548" y="308550"/>
                    <a:pt x="180023" y="302881"/>
                  </a:cubicBezTo>
                  <a:cubicBezTo>
                    <a:pt x="174307" y="299101"/>
                    <a:pt x="170498" y="293432"/>
                    <a:pt x="169545" y="286818"/>
                  </a:cubicBezTo>
                  <a:cubicBezTo>
                    <a:pt x="168592" y="280204"/>
                    <a:pt x="170498" y="273590"/>
                    <a:pt x="175260" y="268865"/>
                  </a:cubicBezTo>
                  <a:lnTo>
                    <a:pt x="180975" y="263196"/>
                  </a:lnTo>
                  <a:cubicBezTo>
                    <a:pt x="209550" y="232015"/>
                    <a:pt x="237173" y="202724"/>
                    <a:pt x="248602" y="180991"/>
                  </a:cubicBezTo>
                  <a:cubicBezTo>
                    <a:pt x="268605" y="142251"/>
                    <a:pt x="255270" y="116740"/>
                    <a:pt x="237173" y="106346"/>
                  </a:cubicBezTo>
                  <a:cubicBezTo>
                    <a:pt x="222885" y="97842"/>
                    <a:pt x="201930" y="96897"/>
                    <a:pt x="191452" y="113905"/>
                  </a:cubicBezTo>
                  <a:cubicBezTo>
                    <a:pt x="173355" y="141306"/>
                    <a:pt x="146685" y="170598"/>
                    <a:pt x="121920" y="198944"/>
                  </a:cubicBezTo>
                  <a:cubicBezTo>
                    <a:pt x="103823" y="219731"/>
                    <a:pt x="87630" y="238629"/>
                    <a:pt x="75247" y="254692"/>
                  </a:cubicBezTo>
                  <a:cubicBezTo>
                    <a:pt x="63817" y="268865"/>
                    <a:pt x="55245" y="281149"/>
                    <a:pt x="48577" y="292487"/>
                  </a:cubicBezTo>
                  <a:cubicBezTo>
                    <a:pt x="29527" y="323668"/>
                    <a:pt x="7620" y="395479"/>
                    <a:pt x="3810" y="467290"/>
                  </a:cubicBezTo>
                  <a:cubicBezTo>
                    <a:pt x="1905" y="503195"/>
                    <a:pt x="952" y="543825"/>
                    <a:pt x="0" y="572172"/>
                  </a:cubicBezTo>
                  <a:cubicBezTo>
                    <a:pt x="0" y="576896"/>
                    <a:pt x="1905" y="581620"/>
                    <a:pt x="4763" y="584455"/>
                  </a:cubicBezTo>
                  <a:cubicBezTo>
                    <a:pt x="7620" y="588235"/>
                    <a:pt x="12382" y="589180"/>
                    <a:pt x="17145" y="589180"/>
                  </a:cubicBezTo>
                  <a:lnTo>
                    <a:pt x="167640" y="589180"/>
                  </a:lnTo>
                  <a:cubicBezTo>
                    <a:pt x="172402" y="589180"/>
                    <a:pt x="176213" y="587290"/>
                    <a:pt x="180023" y="584455"/>
                  </a:cubicBezTo>
                  <a:cubicBezTo>
                    <a:pt x="182880" y="581620"/>
                    <a:pt x="184785" y="576896"/>
                    <a:pt x="184785" y="572172"/>
                  </a:cubicBezTo>
                  <a:lnTo>
                    <a:pt x="184785" y="529652"/>
                  </a:lnTo>
                  <a:cubicBezTo>
                    <a:pt x="184785" y="517369"/>
                    <a:pt x="190500" y="506030"/>
                    <a:pt x="200977" y="499416"/>
                  </a:cubicBezTo>
                  <a:cubicBezTo>
                    <a:pt x="251460" y="464455"/>
                    <a:pt x="302895" y="420046"/>
                    <a:pt x="331470" y="386975"/>
                  </a:cubicBezTo>
                  <a:cubicBezTo>
                    <a:pt x="390525" y="317999"/>
                    <a:pt x="413385" y="113905"/>
                    <a:pt x="416242" y="47763"/>
                  </a:cubicBezTo>
                  <a:cubicBezTo>
                    <a:pt x="416242" y="20362"/>
                    <a:pt x="398145" y="4299"/>
                    <a:pt x="380048" y="519"/>
                  </a:cubicBezTo>
                  <a:close/>
                </a:path>
              </a:pathLst>
            </a:custGeom>
            <a:solidFill>
              <a:schemeClr val="accent1">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32" name="Freeform 31">
              <a:extLst>
                <a:ext uri="{FF2B5EF4-FFF2-40B4-BE49-F238E27FC236}">
                  <a16:creationId xmlns:a16="http://schemas.microsoft.com/office/drawing/2014/main" id="{223B8028-D175-BF4E-A807-482BC865C30E}"/>
                </a:ext>
              </a:extLst>
            </p:cNvPr>
            <p:cNvSpPr/>
            <p:nvPr/>
          </p:nvSpPr>
          <p:spPr>
            <a:xfrm>
              <a:off x="4683789" y="3770100"/>
              <a:ext cx="416278" cy="590124"/>
            </a:xfrm>
            <a:custGeom>
              <a:avLst/>
              <a:gdLst>
                <a:gd name="connsiteX0" fmla="*/ 366749 w 416278"/>
                <a:gd name="connsiteY0" fmla="*/ 292487 h 590124"/>
                <a:gd name="connsiteX1" fmla="*/ 340079 w 416278"/>
                <a:gd name="connsiteY1" fmla="*/ 254692 h 590124"/>
                <a:gd name="connsiteX2" fmla="*/ 293406 w 416278"/>
                <a:gd name="connsiteY2" fmla="*/ 198944 h 590124"/>
                <a:gd name="connsiteX3" fmla="*/ 223874 w 416278"/>
                <a:gd name="connsiteY3" fmla="*/ 113905 h 590124"/>
                <a:gd name="connsiteX4" fmla="*/ 178154 w 416278"/>
                <a:gd name="connsiteY4" fmla="*/ 106346 h 590124"/>
                <a:gd name="connsiteX5" fmla="*/ 166724 w 416278"/>
                <a:gd name="connsiteY5" fmla="*/ 180991 h 590124"/>
                <a:gd name="connsiteX6" fmla="*/ 234351 w 416278"/>
                <a:gd name="connsiteY6" fmla="*/ 263196 h 590124"/>
                <a:gd name="connsiteX7" fmla="*/ 240066 w 416278"/>
                <a:gd name="connsiteY7" fmla="*/ 268865 h 590124"/>
                <a:gd name="connsiteX8" fmla="*/ 245781 w 416278"/>
                <a:gd name="connsiteY8" fmla="*/ 286818 h 590124"/>
                <a:gd name="connsiteX9" fmla="*/ 235304 w 416278"/>
                <a:gd name="connsiteY9" fmla="*/ 302881 h 590124"/>
                <a:gd name="connsiteX10" fmla="*/ 205776 w 416278"/>
                <a:gd name="connsiteY10" fmla="*/ 298156 h 590124"/>
                <a:gd name="connsiteX11" fmla="*/ 201014 w 416278"/>
                <a:gd name="connsiteY11" fmla="*/ 293432 h 590124"/>
                <a:gd name="connsiteX12" fmla="*/ 142911 w 416278"/>
                <a:gd name="connsiteY12" fmla="*/ 226346 h 590124"/>
                <a:gd name="connsiteX13" fmla="*/ 127671 w 416278"/>
                <a:gd name="connsiteY13" fmla="*/ 201779 h 590124"/>
                <a:gd name="connsiteX14" fmla="*/ 118146 w 416278"/>
                <a:gd name="connsiteY14" fmla="*/ 114850 h 590124"/>
                <a:gd name="connsiteX15" fmla="*/ 83856 w 416278"/>
                <a:gd name="connsiteY15" fmla="*/ 32645 h 590124"/>
                <a:gd name="connsiteX16" fmla="*/ 35279 w 416278"/>
                <a:gd name="connsiteY16" fmla="*/ 519 h 590124"/>
                <a:gd name="connsiteX17" fmla="*/ 36 w 416278"/>
                <a:gd name="connsiteY17" fmla="*/ 48708 h 590124"/>
                <a:gd name="connsiteX18" fmla="*/ 84809 w 416278"/>
                <a:gd name="connsiteY18" fmla="*/ 387920 h 590124"/>
                <a:gd name="connsiteX19" fmla="*/ 215301 w 416278"/>
                <a:gd name="connsiteY19" fmla="*/ 500361 h 590124"/>
                <a:gd name="connsiteX20" fmla="*/ 231494 w 416278"/>
                <a:gd name="connsiteY20" fmla="*/ 530597 h 590124"/>
                <a:gd name="connsiteX21" fmla="*/ 231494 w 416278"/>
                <a:gd name="connsiteY21" fmla="*/ 573117 h 590124"/>
                <a:gd name="connsiteX22" fmla="*/ 236256 w 416278"/>
                <a:gd name="connsiteY22" fmla="*/ 585400 h 590124"/>
                <a:gd name="connsiteX23" fmla="*/ 248639 w 416278"/>
                <a:gd name="connsiteY23" fmla="*/ 590124 h 590124"/>
                <a:gd name="connsiteX24" fmla="*/ 399134 w 416278"/>
                <a:gd name="connsiteY24" fmla="*/ 590124 h 590124"/>
                <a:gd name="connsiteX25" fmla="*/ 411516 w 416278"/>
                <a:gd name="connsiteY25" fmla="*/ 585400 h 590124"/>
                <a:gd name="connsiteX26" fmla="*/ 416279 w 416278"/>
                <a:gd name="connsiteY26" fmla="*/ 573117 h 590124"/>
                <a:gd name="connsiteX27" fmla="*/ 412469 w 416278"/>
                <a:gd name="connsiteY27" fmla="*/ 468235 h 590124"/>
                <a:gd name="connsiteX28" fmla="*/ 366749 w 416278"/>
                <a:gd name="connsiteY28" fmla="*/ 292487 h 59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16278" h="590124">
                  <a:moveTo>
                    <a:pt x="366749" y="292487"/>
                  </a:moveTo>
                  <a:cubicBezTo>
                    <a:pt x="360081" y="282093"/>
                    <a:pt x="351509" y="268865"/>
                    <a:pt x="340079" y="254692"/>
                  </a:cubicBezTo>
                  <a:cubicBezTo>
                    <a:pt x="327696" y="238629"/>
                    <a:pt x="311504" y="219731"/>
                    <a:pt x="293406" y="198944"/>
                  </a:cubicBezTo>
                  <a:cubicBezTo>
                    <a:pt x="268641" y="170598"/>
                    <a:pt x="242924" y="142251"/>
                    <a:pt x="223874" y="113905"/>
                  </a:cubicBezTo>
                  <a:cubicBezTo>
                    <a:pt x="212444" y="96897"/>
                    <a:pt x="192441" y="97842"/>
                    <a:pt x="178154" y="106346"/>
                  </a:cubicBezTo>
                  <a:cubicBezTo>
                    <a:pt x="159104" y="116739"/>
                    <a:pt x="146721" y="142251"/>
                    <a:pt x="166724" y="180991"/>
                  </a:cubicBezTo>
                  <a:cubicBezTo>
                    <a:pt x="178154" y="202724"/>
                    <a:pt x="204824" y="232015"/>
                    <a:pt x="234351" y="263196"/>
                  </a:cubicBezTo>
                  <a:lnTo>
                    <a:pt x="240066" y="268865"/>
                  </a:lnTo>
                  <a:cubicBezTo>
                    <a:pt x="244829" y="273590"/>
                    <a:pt x="246734" y="280204"/>
                    <a:pt x="245781" y="286818"/>
                  </a:cubicBezTo>
                  <a:cubicBezTo>
                    <a:pt x="244829" y="293432"/>
                    <a:pt x="241019" y="299101"/>
                    <a:pt x="235304" y="302881"/>
                  </a:cubicBezTo>
                  <a:cubicBezTo>
                    <a:pt x="226731" y="308550"/>
                    <a:pt x="213396" y="306660"/>
                    <a:pt x="205776" y="298156"/>
                  </a:cubicBezTo>
                  <a:lnTo>
                    <a:pt x="201014" y="293432"/>
                  </a:lnTo>
                  <a:cubicBezTo>
                    <a:pt x="179106" y="269810"/>
                    <a:pt x="158151" y="247133"/>
                    <a:pt x="142911" y="226346"/>
                  </a:cubicBezTo>
                  <a:cubicBezTo>
                    <a:pt x="136244" y="216897"/>
                    <a:pt x="131481" y="209338"/>
                    <a:pt x="127671" y="201779"/>
                  </a:cubicBezTo>
                  <a:cubicBezTo>
                    <a:pt x="107669" y="163983"/>
                    <a:pt x="111479" y="133747"/>
                    <a:pt x="118146" y="114850"/>
                  </a:cubicBezTo>
                  <a:cubicBezTo>
                    <a:pt x="101001" y="77999"/>
                    <a:pt x="89571" y="50598"/>
                    <a:pt x="83856" y="32645"/>
                  </a:cubicBezTo>
                  <a:cubicBezTo>
                    <a:pt x="75284" y="6189"/>
                    <a:pt x="53376" y="-2315"/>
                    <a:pt x="35279" y="519"/>
                  </a:cubicBezTo>
                  <a:cubicBezTo>
                    <a:pt x="17181" y="3354"/>
                    <a:pt x="-916" y="20362"/>
                    <a:pt x="36" y="48708"/>
                  </a:cubicBezTo>
                  <a:cubicBezTo>
                    <a:pt x="2894" y="114850"/>
                    <a:pt x="26706" y="319889"/>
                    <a:pt x="84809" y="387920"/>
                  </a:cubicBezTo>
                  <a:cubicBezTo>
                    <a:pt x="113384" y="420991"/>
                    <a:pt x="164819" y="464455"/>
                    <a:pt x="215301" y="500361"/>
                  </a:cubicBezTo>
                  <a:cubicBezTo>
                    <a:pt x="224826" y="506975"/>
                    <a:pt x="231494" y="518313"/>
                    <a:pt x="231494" y="530597"/>
                  </a:cubicBezTo>
                  <a:lnTo>
                    <a:pt x="231494" y="573117"/>
                  </a:lnTo>
                  <a:cubicBezTo>
                    <a:pt x="231494" y="577841"/>
                    <a:pt x="233399" y="581620"/>
                    <a:pt x="236256" y="585400"/>
                  </a:cubicBezTo>
                  <a:cubicBezTo>
                    <a:pt x="239114" y="588235"/>
                    <a:pt x="243876" y="590124"/>
                    <a:pt x="248639" y="590124"/>
                  </a:cubicBezTo>
                  <a:lnTo>
                    <a:pt x="399134" y="590124"/>
                  </a:lnTo>
                  <a:cubicBezTo>
                    <a:pt x="403896" y="590124"/>
                    <a:pt x="408659" y="588235"/>
                    <a:pt x="411516" y="585400"/>
                  </a:cubicBezTo>
                  <a:cubicBezTo>
                    <a:pt x="414374" y="581620"/>
                    <a:pt x="416279" y="577841"/>
                    <a:pt x="416279" y="573117"/>
                  </a:cubicBezTo>
                  <a:cubicBezTo>
                    <a:pt x="415326" y="544770"/>
                    <a:pt x="414374" y="504140"/>
                    <a:pt x="412469" y="468235"/>
                  </a:cubicBezTo>
                  <a:cubicBezTo>
                    <a:pt x="407706" y="395479"/>
                    <a:pt x="385799" y="323668"/>
                    <a:pt x="366749" y="292487"/>
                  </a:cubicBezTo>
                  <a:close/>
                </a:path>
              </a:pathLst>
            </a:custGeom>
            <a:solidFill>
              <a:schemeClr val="accent1">
                <a:lumMod val="20000"/>
                <a:lumOff val="8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49" name="TextBox 48">
            <a:extLst>
              <a:ext uri="{FF2B5EF4-FFF2-40B4-BE49-F238E27FC236}">
                <a16:creationId xmlns:a16="http://schemas.microsoft.com/office/drawing/2014/main" id="{22B54BD9-FD31-564D-A6A9-D5DCA6E6A3C0}"/>
              </a:ext>
            </a:extLst>
          </p:cNvPr>
          <p:cNvSpPr txBox="1"/>
          <p:nvPr/>
        </p:nvSpPr>
        <p:spPr>
          <a:xfrm>
            <a:off x="2390460" y="5107394"/>
            <a:ext cx="1901952" cy="646331"/>
          </a:xfrm>
          <a:prstGeom prst="rect">
            <a:avLst/>
          </a:prstGeom>
          <a:noFill/>
        </p:spPr>
        <p:txBody>
          <a:bodyPr rot="0" spcFirstLastPara="0" vertOverflow="overflow" horzOverflow="overflow" vert="horz" wrap="square" lIns="91440" tIns="0" rIns="9144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Guide and lead the program and work of the Area Council</a:t>
            </a:r>
          </a:p>
        </p:txBody>
      </p:sp>
      <p:grpSp>
        <p:nvGrpSpPr>
          <p:cNvPr id="84" name="Group 83">
            <a:extLst>
              <a:ext uri="{FF2B5EF4-FFF2-40B4-BE49-F238E27FC236}">
                <a16:creationId xmlns:a16="http://schemas.microsoft.com/office/drawing/2014/main" id="{03964BE6-BB20-FE4D-B012-162AD7D64763}"/>
              </a:ext>
            </a:extLst>
          </p:cNvPr>
          <p:cNvGrpSpPr/>
          <p:nvPr/>
        </p:nvGrpSpPr>
        <p:grpSpPr>
          <a:xfrm>
            <a:off x="2284781" y="2118169"/>
            <a:ext cx="2076611" cy="2822975"/>
            <a:chOff x="2284781" y="2118169"/>
            <a:chExt cx="2076611" cy="2822975"/>
          </a:xfrm>
        </p:grpSpPr>
        <p:sp>
          <p:nvSpPr>
            <p:cNvPr id="203" name="Rectangle 202">
              <a:extLst>
                <a:ext uri="{FF2B5EF4-FFF2-40B4-BE49-F238E27FC236}">
                  <a16:creationId xmlns:a16="http://schemas.microsoft.com/office/drawing/2014/main" id="{372EE8CB-41B8-4C01-8E4C-A40EC2874C44}"/>
                </a:ext>
              </a:extLst>
            </p:cNvPr>
            <p:cNvSpPr/>
            <p:nvPr/>
          </p:nvSpPr>
          <p:spPr>
            <a:xfrm>
              <a:off x="2284781" y="2118169"/>
              <a:ext cx="1911096" cy="28229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Guide and Lead</a:t>
              </a:r>
            </a:p>
          </p:txBody>
        </p:sp>
        <p:sp>
          <p:nvSpPr>
            <p:cNvPr id="206" name="Flowchart: Merge 205">
              <a:extLst>
                <a:ext uri="{FF2B5EF4-FFF2-40B4-BE49-F238E27FC236}">
                  <a16:creationId xmlns:a16="http://schemas.microsoft.com/office/drawing/2014/main" id="{BF244694-062E-460A-A1B6-50D97A520163}"/>
                </a:ext>
              </a:extLst>
            </p:cNvPr>
            <p:cNvSpPr/>
            <p:nvPr/>
          </p:nvSpPr>
          <p:spPr>
            <a:xfrm rot="16200000">
              <a:off x="4050837" y="3443238"/>
              <a:ext cx="448280" cy="172831"/>
            </a:xfrm>
            <a:prstGeom prst="flowChartMerg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grpSp>
        <p:nvGrpSpPr>
          <p:cNvPr id="11" name="Graphic 8">
            <a:extLst>
              <a:ext uri="{FF2B5EF4-FFF2-40B4-BE49-F238E27FC236}">
                <a16:creationId xmlns:a16="http://schemas.microsoft.com/office/drawing/2014/main" id="{9C61BBA8-B338-2548-ACD7-C79F3F67078B}"/>
              </a:ext>
            </a:extLst>
          </p:cNvPr>
          <p:cNvGrpSpPr/>
          <p:nvPr/>
        </p:nvGrpSpPr>
        <p:grpSpPr>
          <a:xfrm>
            <a:off x="2725033" y="3537864"/>
            <a:ext cx="1023276" cy="811000"/>
            <a:chOff x="4567117" y="-830142"/>
            <a:chExt cx="904875" cy="717163"/>
          </a:xfrm>
          <a:solidFill>
            <a:schemeClr val="accent5"/>
          </a:solidFill>
        </p:grpSpPr>
        <p:sp>
          <p:nvSpPr>
            <p:cNvPr id="13" name="Freeform 12">
              <a:extLst>
                <a:ext uri="{FF2B5EF4-FFF2-40B4-BE49-F238E27FC236}">
                  <a16:creationId xmlns:a16="http://schemas.microsoft.com/office/drawing/2014/main" id="{41D820F4-6635-034A-A0D3-CADE83594280}"/>
                </a:ext>
              </a:extLst>
            </p:cNvPr>
            <p:cNvSpPr/>
            <p:nvPr/>
          </p:nvSpPr>
          <p:spPr>
            <a:xfrm>
              <a:off x="4924305" y="-594209"/>
              <a:ext cx="308435" cy="309278"/>
            </a:xfrm>
            <a:custGeom>
              <a:avLst/>
              <a:gdLst>
                <a:gd name="connsiteX0" fmla="*/ 251460 w 308435"/>
                <a:gd name="connsiteY0" fmla="*/ 5957 h 309278"/>
                <a:gd name="connsiteX1" fmla="*/ 45720 w 308435"/>
                <a:gd name="connsiteY1" fmla="*/ 132571 h 309278"/>
                <a:gd name="connsiteX2" fmla="*/ 0 w 308435"/>
                <a:gd name="connsiteY2" fmla="*/ 214775 h 309278"/>
                <a:gd name="connsiteX3" fmla="*/ 97155 w 308435"/>
                <a:gd name="connsiteY3" fmla="*/ 309263 h 309278"/>
                <a:gd name="connsiteX4" fmla="*/ 179070 w 308435"/>
                <a:gd name="connsiteY4" fmla="*/ 262019 h 309278"/>
                <a:gd name="connsiteX5" fmla="*/ 302895 w 308435"/>
                <a:gd name="connsiteY5" fmla="*/ 55090 h 309278"/>
                <a:gd name="connsiteX6" fmla="*/ 251460 w 308435"/>
                <a:gd name="connsiteY6" fmla="*/ 5957 h 309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8435" h="309278">
                  <a:moveTo>
                    <a:pt x="251460" y="5957"/>
                  </a:moveTo>
                  <a:lnTo>
                    <a:pt x="45720" y="132571"/>
                  </a:lnTo>
                  <a:cubicBezTo>
                    <a:pt x="17145" y="150523"/>
                    <a:pt x="0" y="181704"/>
                    <a:pt x="0" y="214775"/>
                  </a:cubicBezTo>
                  <a:cubicBezTo>
                    <a:pt x="952" y="267688"/>
                    <a:pt x="43815" y="310208"/>
                    <a:pt x="97155" y="309263"/>
                  </a:cubicBezTo>
                  <a:cubicBezTo>
                    <a:pt x="130493" y="309263"/>
                    <a:pt x="161925" y="291310"/>
                    <a:pt x="179070" y="262019"/>
                  </a:cubicBezTo>
                  <a:lnTo>
                    <a:pt x="302895" y="55090"/>
                  </a:lnTo>
                  <a:cubicBezTo>
                    <a:pt x="322898" y="22964"/>
                    <a:pt x="284798" y="-14831"/>
                    <a:pt x="251460" y="595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14" name="Freeform 13">
              <a:extLst>
                <a:ext uri="{FF2B5EF4-FFF2-40B4-BE49-F238E27FC236}">
                  <a16:creationId xmlns:a16="http://schemas.microsoft.com/office/drawing/2014/main" id="{B6E1DE8F-E64C-CB40-8673-3AB440E4757B}"/>
                </a:ext>
              </a:extLst>
            </p:cNvPr>
            <p:cNvSpPr/>
            <p:nvPr/>
          </p:nvSpPr>
          <p:spPr>
            <a:xfrm>
              <a:off x="4567117" y="-830142"/>
              <a:ext cx="904875" cy="717163"/>
            </a:xfrm>
            <a:custGeom>
              <a:avLst/>
              <a:gdLst>
                <a:gd name="connsiteX0" fmla="*/ 452438 w 904875"/>
                <a:gd name="connsiteY0" fmla="*/ 0 h 717163"/>
                <a:gd name="connsiteX1" fmla="*/ 0 w 904875"/>
                <a:gd name="connsiteY1" fmla="*/ 448818 h 717163"/>
                <a:gd name="connsiteX2" fmla="*/ 77153 w 904875"/>
                <a:gd name="connsiteY2" fmla="*/ 700156 h 717163"/>
                <a:gd name="connsiteX3" fmla="*/ 108585 w 904875"/>
                <a:gd name="connsiteY3" fmla="*/ 717164 h 717163"/>
                <a:gd name="connsiteX4" fmla="*/ 130493 w 904875"/>
                <a:gd name="connsiteY4" fmla="*/ 710550 h 717163"/>
                <a:gd name="connsiteX5" fmla="*/ 140970 w 904875"/>
                <a:gd name="connsiteY5" fmla="*/ 657636 h 717163"/>
                <a:gd name="connsiteX6" fmla="*/ 80010 w 904875"/>
                <a:gd name="connsiteY6" fmla="*/ 487558 h 717163"/>
                <a:gd name="connsiteX7" fmla="*/ 140970 w 904875"/>
                <a:gd name="connsiteY7" fmla="*/ 487558 h 717163"/>
                <a:gd name="connsiteX8" fmla="*/ 179070 w 904875"/>
                <a:gd name="connsiteY8" fmla="*/ 449763 h 717163"/>
                <a:gd name="connsiteX9" fmla="*/ 140970 w 904875"/>
                <a:gd name="connsiteY9" fmla="*/ 411968 h 717163"/>
                <a:gd name="connsiteX10" fmla="*/ 79058 w 904875"/>
                <a:gd name="connsiteY10" fmla="*/ 411968 h 717163"/>
                <a:gd name="connsiteX11" fmla="*/ 160973 w 904875"/>
                <a:gd name="connsiteY11" fmla="*/ 215433 h 717163"/>
                <a:gd name="connsiteX12" fmla="*/ 204788 w 904875"/>
                <a:gd name="connsiteY12" fmla="*/ 258897 h 717163"/>
                <a:gd name="connsiteX13" fmla="*/ 232410 w 904875"/>
                <a:gd name="connsiteY13" fmla="*/ 270236 h 717163"/>
                <a:gd name="connsiteX14" fmla="*/ 260033 w 904875"/>
                <a:gd name="connsiteY14" fmla="*/ 258897 h 717163"/>
                <a:gd name="connsiteX15" fmla="*/ 260033 w 904875"/>
                <a:gd name="connsiteY15" fmla="*/ 205039 h 717163"/>
                <a:gd name="connsiteX16" fmla="*/ 215265 w 904875"/>
                <a:gd name="connsiteY16" fmla="*/ 159685 h 717163"/>
                <a:gd name="connsiteX17" fmla="*/ 413385 w 904875"/>
                <a:gd name="connsiteY17" fmla="*/ 77480 h 717163"/>
                <a:gd name="connsiteX18" fmla="*/ 413385 w 904875"/>
                <a:gd name="connsiteY18" fmla="*/ 138897 h 717163"/>
                <a:gd name="connsiteX19" fmla="*/ 451485 w 904875"/>
                <a:gd name="connsiteY19" fmla="*/ 176693 h 717163"/>
                <a:gd name="connsiteX20" fmla="*/ 489585 w 904875"/>
                <a:gd name="connsiteY20" fmla="*/ 138897 h 717163"/>
                <a:gd name="connsiteX21" fmla="*/ 489585 w 904875"/>
                <a:gd name="connsiteY21" fmla="*/ 77480 h 717163"/>
                <a:gd name="connsiteX22" fmla="*/ 825818 w 904875"/>
                <a:gd name="connsiteY22" fmla="*/ 411023 h 717163"/>
                <a:gd name="connsiteX23" fmla="*/ 763905 w 904875"/>
                <a:gd name="connsiteY23" fmla="*/ 411023 h 717163"/>
                <a:gd name="connsiteX24" fmla="*/ 725805 w 904875"/>
                <a:gd name="connsiteY24" fmla="*/ 448818 h 717163"/>
                <a:gd name="connsiteX25" fmla="*/ 763905 w 904875"/>
                <a:gd name="connsiteY25" fmla="*/ 486613 h 717163"/>
                <a:gd name="connsiteX26" fmla="*/ 824865 w 904875"/>
                <a:gd name="connsiteY26" fmla="*/ 486613 h 717163"/>
                <a:gd name="connsiteX27" fmla="*/ 763905 w 904875"/>
                <a:gd name="connsiteY27" fmla="*/ 656692 h 717163"/>
                <a:gd name="connsiteX28" fmla="*/ 774383 w 904875"/>
                <a:gd name="connsiteY28" fmla="*/ 709605 h 717163"/>
                <a:gd name="connsiteX29" fmla="*/ 827723 w 904875"/>
                <a:gd name="connsiteY29" fmla="*/ 699211 h 717163"/>
                <a:gd name="connsiteX30" fmla="*/ 904875 w 904875"/>
                <a:gd name="connsiteY30" fmla="*/ 447873 h 717163"/>
                <a:gd name="connsiteX31" fmla="*/ 452438 w 904875"/>
                <a:gd name="connsiteY31" fmla="*/ 0 h 71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04875" h="717163">
                  <a:moveTo>
                    <a:pt x="452438" y="0"/>
                  </a:moveTo>
                  <a:cubicBezTo>
                    <a:pt x="202883" y="0"/>
                    <a:pt x="0" y="201259"/>
                    <a:pt x="0" y="448818"/>
                  </a:cubicBezTo>
                  <a:cubicBezTo>
                    <a:pt x="0" y="538582"/>
                    <a:pt x="26670" y="625511"/>
                    <a:pt x="77153" y="700156"/>
                  </a:cubicBezTo>
                  <a:cubicBezTo>
                    <a:pt x="84773" y="711495"/>
                    <a:pt x="97155" y="717164"/>
                    <a:pt x="108585" y="717164"/>
                  </a:cubicBezTo>
                  <a:cubicBezTo>
                    <a:pt x="116205" y="717164"/>
                    <a:pt x="123825" y="715274"/>
                    <a:pt x="130493" y="710550"/>
                  </a:cubicBezTo>
                  <a:cubicBezTo>
                    <a:pt x="147638" y="698266"/>
                    <a:pt x="152400" y="674644"/>
                    <a:pt x="140970" y="657636"/>
                  </a:cubicBezTo>
                  <a:cubicBezTo>
                    <a:pt x="106680" y="606613"/>
                    <a:pt x="85725" y="548975"/>
                    <a:pt x="80010" y="487558"/>
                  </a:cubicBezTo>
                  <a:lnTo>
                    <a:pt x="140970" y="487558"/>
                  </a:lnTo>
                  <a:cubicBezTo>
                    <a:pt x="161925" y="487558"/>
                    <a:pt x="179070" y="470550"/>
                    <a:pt x="179070" y="449763"/>
                  </a:cubicBezTo>
                  <a:cubicBezTo>
                    <a:pt x="179070" y="428976"/>
                    <a:pt x="161925" y="411968"/>
                    <a:pt x="140970" y="411968"/>
                  </a:cubicBezTo>
                  <a:lnTo>
                    <a:pt x="79058" y="411968"/>
                  </a:lnTo>
                  <a:cubicBezTo>
                    <a:pt x="86678" y="338267"/>
                    <a:pt x="116205" y="270236"/>
                    <a:pt x="160973" y="215433"/>
                  </a:cubicBezTo>
                  <a:lnTo>
                    <a:pt x="204788" y="258897"/>
                  </a:lnTo>
                  <a:cubicBezTo>
                    <a:pt x="212408" y="266456"/>
                    <a:pt x="221933" y="270236"/>
                    <a:pt x="232410" y="270236"/>
                  </a:cubicBezTo>
                  <a:cubicBezTo>
                    <a:pt x="241935" y="270236"/>
                    <a:pt x="252413" y="266456"/>
                    <a:pt x="260033" y="258897"/>
                  </a:cubicBezTo>
                  <a:cubicBezTo>
                    <a:pt x="275273" y="243779"/>
                    <a:pt x="275273" y="220157"/>
                    <a:pt x="260033" y="205039"/>
                  </a:cubicBezTo>
                  <a:lnTo>
                    <a:pt x="215265" y="159685"/>
                  </a:lnTo>
                  <a:cubicBezTo>
                    <a:pt x="270510" y="115275"/>
                    <a:pt x="339090" y="85984"/>
                    <a:pt x="413385" y="77480"/>
                  </a:cubicBezTo>
                  <a:lnTo>
                    <a:pt x="413385" y="138897"/>
                  </a:lnTo>
                  <a:cubicBezTo>
                    <a:pt x="413385" y="159685"/>
                    <a:pt x="430530" y="176693"/>
                    <a:pt x="451485" y="176693"/>
                  </a:cubicBezTo>
                  <a:cubicBezTo>
                    <a:pt x="472440" y="176693"/>
                    <a:pt x="489585" y="159685"/>
                    <a:pt x="489585" y="138897"/>
                  </a:cubicBezTo>
                  <a:lnTo>
                    <a:pt x="489585" y="77480"/>
                  </a:lnTo>
                  <a:cubicBezTo>
                    <a:pt x="667703" y="96378"/>
                    <a:pt x="807720" y="235275"/>
                    <a:pt x="825818" y="411023"/>
                  </a:cubicBezTo>
                  <a:lnTo>
                    <a:pt x="763905" y="411023"/>
                  </a:lnTo>
                  <a:cubicBezTo>
                    <a:pt x="742950" y="411023"/>
                    <a:pt x="725805" y="428031"/>
                    <a:pt x="725805" y="448818"/>
                  </a:cubicBezTo>
                  <a:cubicBezTo>
                    <a:pt x="725805" y="469605"/>
                    <a:pt x="742950" y="486613"/>
                    <a:pt x="763905" y="486613"/>
                  </a:cubicBezTo>
                  <a:lnTo>
                    <a:pt x="824865" y="486613"/>
                  </a:lnTo>
                  <a:cubicBezTo>
                    <a:pt x="818198" y="548030"/>
                    <a:pt x="798195" y="605668"/>
                    <a:pt x="763905" y="656692"/>
                  </a:cubicBezTo>
                  <a:cubicBezTo>
                    <a:pt x="751523" y="673699"/>
                    <a:pt x="756285" y="698266"/>
                    <a:pt x="774383" y="709605"/>
                  </a:cubicBezTo>
                  <a:cubicBezTo>
                    <a:pt x="791528" y="721888"/>
                    <a:pt x="816293" y="717164"/>
                    <a:pt x="827723" y="699211"/>
                  </a:cubicBezTo>
                  <a:cubicBezTo>
                    <a:pt x="878205" y="625511"/>
                    <a:pt x="904875" y="538582"/>
                    <a:pt x="904875" y="447873"/>
                  </a:cubicBezTo>
                  <a:cubicBezTo>
                    <a:pt x="904875" y="201259"/>
                    <a:pt x="701993" y="0"/>
                    <a:pt x="452438"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176" name="TextBox 175">
            <a:extLst>
              <a:ext uri="{FF2B5EF4-FFF2-40B4-BE49-F238E27FC236}">
                <a16:creationId xmlns:a16="http://schemas.microsoft.com/office/drawing/2014/main" id="{172F716C-41B9-4EBF-AD64-56B92B271CB5}"/>
              </a:ext>
            </a:extLst>
          </p:cNvPr>
          <p:cNvSpPr txBox="1"/>
          <p:nvPr/>
        </p:nvSpPr>
        <p:spPr>
          <a:xfrm>
            <a:off x="259495" y="5107394"/>
            <a:ext cx="2159383" cy="1946687"/>
          </a:xfrm>
          <a:prstGeom prst="rect">
            <a:avLst/>
          </a:prstGeom>
          <a:noFill/>
        </p:spPr>
        <p:txBody>
          <a:bodyPr rot="0" spcFirstLastPara="0" vertOverflow="overflow" horzOverflow="overflow" vert="horz" wrap="square" lIns="0" tIns="0" rIns="91440" bIns="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300"/>
              </a:spcAft>
              <a:buClr>
                <a:srgbClr val="0398DA"/>
              </a:buClr>
              <a:buSzTx/>
              <a:tabLst/>
              <a:defRPr/>
            </a:pPr>
            <a:r>
              <a:rPr kumimoji="0" lang="en-US" sz="1400" b="1" i="0" u="none" strike="noStrike" kern="1200" cap="none" spc="0" normalizeH="0" baseline="0" noProof="0">
                <a:ln>
                  <a:noFill/>
                </a:ln>
                <a:solidFill>
                  <a:srgbClr val="005B98"/>
                </a:solidFill>
                <a:effectLst/>
                <a:uLnTx/>
                <a:uFillTx/>
                <a:latin typeface="Arial"/>
                <a:ea typeface="+mn-ea"/>
                <a:cs typeface="Arial"/>
              </a:rPr>
              <a:t>Assist in messaging and engagement to member Area Council organizations on important strategic initiatives and changes to membership from BGCA</a:t>
            </a:r>
          </a:p>
          <a:p>
            <a:pPr marL="182880" marR="0" lvl="0" indent="-182880" algn="l" defTabSz="914400" rtl="0" eaLnBrk="1" fontAlgn="auto" latinLnBrk="0" hangingPunct="1">
              <a:lnSpc>
                <a:spcPct val="100000"/>
              </a:lnSpc>
              <a:spcBef>
                <a:spcPts val="0"/>
              </a:spcBef>
              <a:spcAft>
                <a:spcPts val="300"/>
              </a:spcAft>
              <a:buClr>
                <a:srgbClr val="0398DA"/>
              </a:buClr>
              <a:buSzTx/>
              <a:buFont typeface="Arial" panose="020B0604020202020204" pitchFamily="34" charset="0"/>
              <a:buChar char="•"/>
              <a:tabLst/>
              <a:defRPr/>
            </a:pPr>
            <a:endParaRPr kumimoji="0" lang="en-US" sz="1200" b="1" i="0" u="none" strike="noStrike" kern="1200" cap="none" spc="0" normalizeH="0" baseline="0" noProof="0">
              <a:ln>
                <a:noFill/>
              </a:ln>
              <a:solidFill>
                <a:srgbClr val="005B98"/>
              </a:solidFill>
              <a:effectLst/>
              <a:uLnTx/>
              <a:uFillTx/>
              <a:latin typeface="Arial"/>
              <a:ea typeface="+mn-ea"/>
              <a:cs typeface="Arial"/>
            </a:endParaRPr>
          </a:p>
        </p:txBody>
      </p:sp>
      <p:grpSp>
        <p:nvGrpSpPr>
          <p:cNvPr id="83" name="Group 82">
            <a:extLst>
              <a:ext uri="{FF2B5EF4-FFF2-40B4-BE49-F238E27FC236}">
                <a16:creationId xmlns:a16="http://schemas.microsoft.com/office/drawing/2014/main" id="{3A5729B4-5E23-D542-B708-7785F62E2BAC}"/>
              </a:ext>
            </a:extLst>
          </p:cNvPr>
          <p:cNvGrpSpPr/>
          <p:nvPr/>
        </p:nvGrpSpPr>
        <p:grpSpPr>
          <a:xfrm>
            <a:off x="381000" y="2125194"/>
            <a:ext cx="2074040" cy="2822975"/>
            <a:chOff x="381000" y="2125194"/>
            <a:chExt cx="2074040" cy="2822975"/>
          </a:xfrm>
        </p:grpSpPr>
        <p:sp>
          <p:nvSpPr>
            <p:cNvPr id="202" name="Rectangle 201">
              <a:extLst>
                <a:ext uri="{FF2B5EF4-FFF2-40B4-BE49-F238E27FC236}">
                  <a16:creationId xmlns:a16="http://schemas.microsoft.com/office/drawing/2014/main" id="{1EE97E26-0EE7-49B2-BDF9-49C59714CFAA}"/>
                </a:ext>
              </a:extLst>
            </p:cNvPr>
            <p:cNvSpPr/>
            <p:nvPr/>
          </p:nvSpPr>
          <p:spPr>
            <a:xfrm>
              <a:off x="381000" y="2125194"/>
              <a:ext cx="1911096" cy="282297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Assist In</a:t>
              </a:r>
            </a:p>
          </p:txBody>
        </p:sp>
        <p:sp>
          <p:nvSpPr>
            <p:cNvPr id="197" name="Flowchart: Merge 196">
              <a:extLst>
                <a:ext uri="{FF2B5EF4-FFF2-40B4-BE49-F238E27FC236}">
                  <a16:creationId xmlns:a16="http://schemas.microsoft.com/office/drawing/2014/main" id="{A0EBF33E-C3D6-475E-BD30-22B4610546F5}"/>
                </a:ext>
              </a:extLst>
            </p:cNvPr>
            <p:cNvSpPr/>
            <p:nvPr/>
          </p:nvSpPr>
          <p:spPr>
            <a:xfrm rot="16200000">
              <a:off x="2144485" y="3443238"/>
              <a:ext cx="448280" cy="172831"/>
            </a:xfrm>
            <a:prstGeom prst="flowChartMerg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sp>
        <p:nvSpPr>
          <p:cNvPr id="54" name="Graphic 166">
            <a:extLst>
              <a:ext uri="{FF2B5EF4-FFF2-40B4-BE49-F238E27FC236}">
                <a16:creationId xmlns:a16="http://schemas.microsoft.com/office/drawing/2014/main" id="{D0F7364B-4A2B-3F42-847A-6236D9A87C27}"/>
              </a:ext>
            </a:extLst>
          </p:cNvPr>
          <p:cNvSpPr/>
          <p:nvPr/>
        </p:nvSpPr>
        <p:spPr>
          <a:xfrm>
            <a:off x="844297" y="3336708"/>
            <a:ext cx="984504" cy="1213312"/>
          </a:xfrm>
          <a:custGeom>
            <a:avLst/>
            <a:gdLst>
              <a:gd name="connsiteX0" fmla="*/ 4588305 w 4588304"/>
              <a:gd name="connsiteY0" fmla="*/ 1060928 h 5654668"/>
              <a:gd name="connsiteX1" fmla="*/ 4588305 w 4588304"/>
              <a:gd name="connsiteY1" fmla="*/ 937201 h 5654668"/>
              <a:gd name="connsiteX2" fmla="*/ 4518134 w 4588304"/>
              <a:gd name="connsiteY2" fmla="*/ 937201 h 5654668"/>
              <a:gd name="connsiteX3" fmla="*/ 4485788 w 4588304"/>
              <a:gd name="connsiteY3" fmla="*/ 937024 h 5654668"/>
              <a:gd name="connsiteX4" fmla="*/ 4426929 w 4588304"/>
              <a:gd name="connsiteY4" fmla="*/ 937378 h 5654668"/>
              <a:gd name="connsiteX5" fmla="*/ 3955943 w 4588304"/>
              <a:gd name="connsiteY5" fmla="*/ 883822 h 5654668"/>
              <a:gd name="connsiteX6" fmla="*/ 2428388 w 4588304"/>
              <a:gd name="connsiteY6" fmla="*/ 78360 h 5654668"/>
              <a:gd name="connsiteX7" fmla="*/ 2391918 w 4588304"/>
              <a:gd name="connsiteY7" fmla="*/ 48784 h 5654668"/>
              <a:gd name="connsiteX8" fmla="*/ 2332176 w 4588304"/>
              <a:gd name="connsiteY8" fmla="*/ 0 h 5654668"/>
              <a:gd name="connsiteX9" fmla="*/ 2274672 w 4588304"/>
              <a:gd name="connsiteY9" fmla="*/ 42597 h 5654668"/>
              <a:gd name="connsiteX10" fmla="*/ 2250869 w 4588304"/>
              <a:gd name="connsiteY10" fmla="*/ 60214 h 5654668"/>
              <a:gd name="connsiteX11" fmla="*/ 1159422 w 4588304"/>
              <a:gd name="connsiteY11" fmla="*/ 699469 h 5654668"/>
              <a:gd name="connsiteX12" fmla="*/ 383066 w 4588304"/>
              <a:gd name="connsiteY12" fmla="*/ 927774 h 5654668"/>
              <a:gd name="connsiteX13" fmla="*/ 275247 w 4588304"/>
              <a:gd name="connsiteY13" fmla="*/ 932606 h 5654668"/>
              <a:gd name="connsiteX14" fmla="*/ 179741 w 4588304"/>
              <a:gd name="connsiteY14" fmla="*/ 931074 h 5654668"/>
              <a:gd name="connsiteX15" fmla="*/ 76871 w 4588304"/>
              <a:gd name="connsiteY15" fmla="*/ 929188 h 5654668"/>
              <a:gd name="connsiteX16" fmla="*/ 9941 w 4588304"/>
              <a:gd name="connsiteY16" fmla="*/ 929188 h 5654668"/>
              <a:gd name="connsiteX17" fmla="*/ 6700 w 4588304"/>
              <a:gd name="connsiteY17" fmla="*/ 996119 h 5654668"/>
              <a:gd name="connsiteX18" fmla="*/ 4992 w 4588304"/>
              <a:gd name="connsiteY18" fmla="*/ 1026756 h 5654668"/>
              <a:gd name="connsiteX19" fmla="*/ 3106 w 4588304"/>
              <a:gd name="connsiteY19" fmla="*/ 1074656 h 5654668"/>
              <a:gd name="connsiteX20" fmla="*/ 1575 w 4588304"/>
              <a:gd name="connsiteY20" fmla="*/ 1408424 h 5654668"/>
              <a:gd name="connsiteX21" fmla="*/ 1044 w 4588304"/>
              <a:gd name="connsiteY21" fmla="*/ 1798988 h 5654668"/>
              <a:gd name="connsiteX22" fmla="*/ 161 w 4588304"/>
              <a:gd name="connsiteY22" fmla="*/ 2946878 h 5654668"/>
              <a:gd name="connsiteX23" fmla="*/ 174910 w 4588304"/>
              <a:gd name="connsiteY23" fmla="*/ 3792875 h 5654668"/>
              <a:gd name="connsiteX24" fmla="*/ 966997 w 4588304"/>
              <a:gd name="connsiteY24" fmla="*/ 4786755 h 5654668"/>
              <a:gd name="connsiteX25" fmla="*/ 2128439 w 4588304"/>
              <a:gd name="connsiteY25" fmla="*/ 5571831 h 5654668"/>
              <a:gd name="connsiteX26" fmla="*/ 2237966 w 4588304"/>
              <a:gd name="connsiteY26" fmla="*/ 5637229 h 5654668"/>
              <a:gd name="connsiteX27" fmla="*/ 2306782 w 4588304"/>
              <a:gd name="connsiteY27" fmla="*/ 5654668 h 5654668"/>
              <a:gd name="connsiteX28" fmla="*/ 2376776 w 4588304"/>
              <a:gd name="connsiteY28" fmla="*/ 5637052 h 5654668"/>
              <a:gd name="connsiteX29" fmla="*/ 2511108 w 4588304"/>
              <a:gd name="connsiteY29" fmla="*/ 5557808 h 5654668"/>
              <a:gd name="connsiteX30" fmla="*/ 3114247 w 4588304"/>
              <a:gd name="connsiteY30" fmla="*/ 5192932 h 5654668"/>
              <a:gd name="connsiteX31" fmla="*/ 4102176 w 4588304"/>
              <a:gd name="connsiteY31" fmla="*/ 4341751 h 5654668"/>
              <a:gd name="connsiteX32" fmla="*/ 4584652 w 4588304"/>
              <a:gd name="connsiteY32" fmla="*/ 3029657 h 5654668"/>
              <a:gd name="connsiteX33" fmla="*/ 4588069 w 4588304"/>
              <a:gd name="connsiteY33" fmla="*/ 1722866 h 5654668"/>
              <a:gd name="connsiteX34" fmla="*/ 4588246 w 4588304"/>
              <a:gd name="connsiteY34" fmla="*/ 1163032 h 5654668"/>
              <a:gd name="connsiteX35" fmla="*/ 4588246 w 4588304"/>
              <a:gd name="connsiteY35" fmla="*/ 1060928 h 5654668"/>
              <a:gd name="connsiteX36" fmla="*/ 3666304 w 4588304"/>
              <a:gd name="connsiteY36" fmla="*/ 2392523 h 5654668"/>
              <a:gd name="connsiteX37" fmla="*/ 3632957 w 4588304"/>
              <a:gd name="connsiteY37" fmla="*/ 2426754 h 5654668"/>
              <a:gd name="connsiteX38" fmla="*/ 2102515 w 4588304"/>
              <a:gd name="connsiteY38" fmla="*/ 3957196 h 5654668"/>
              <a:gd name="connsiteX39" fmla="*/ 1766037 w 4588304"/>
              <a:gd name="connsiteY39" fmla="*/ 3956666 h 5654668"/>
              <a:gd name="connsiteX40" fmla="*/ 939895 w 4588304"/>
              <a:gd name="connsiteY40" fmla="*/ 3129640 h 5654668"/>
              <a:gd name="connsiteX41" fmla="*/ 871433 w 4588304"/>
              <a:gd name="connsiteY41" fmla="*/ 2773837 h 5654668"/>
              <a:gd name="connsiteX42" fmla="*/ 1175565 w 4588304"/>
              <a:gd name="connsiteY42" fmla="*/ 2591016 h 5654668"/>
              <a:gd name="connsiteX43" fmla="*/ 1386431 w 4588304"/>
              <a:gd name="connsiteY43" fmla="*/ 2690646 h 5654668"/>
              <a:gd name="connsiteX44" fmla="*/ 1899367 w 4588304"/>
              <a:gd name="connsiteY44" fmla="*/ 3204112 h 5654668"/>
              <a:gd name="connsiteX45" fmla="*/ 1937016 w 4588304"/>
              <a:gd name="connsiteY45" fmla="*/ 3251658 h 5654668"/>
              <a:gd name="connsiteX46" fmla="*/ 1974664 w 4588304"/>
              <a:gd name="connsiteY46" fmla="*/ 3199811 h 5654668"/>
              <a:gd name="connsiteX47" fmla="*/ 3200620 w 4588304"/>
              <a:gd name="connsiteY47" fmla="*/ 1973502 h 5654668"/>
              <a:gd name="connsiteX48" fmla="*/ 3628479 w 4588304"/>
              <a:gd name="connsiteY48" fmla="*/ 1940331 h 5654668"/>
              <a:gd name="connsiteX49" fmla="*/ 3666304 w 4588304"/>
              <a:gd name="connsiteY49" fmla="*/ 2392523 h 565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588304" h="5654668">
                <a:moveTo>
                  <a:pt x="4588305" y="1060928"/>
                </a:moveTo>
                <a:lnTo>
                  <a:pt x="4588305" y="937201"/>
                </a:lnTo>
                <a:lnTo>
                  <a:pt x="4518134" y="937201"/>
                </a:lnTo>
                <a:cubicBezTo>
                  <a:pt x="4506468" y="937201"/>
                  <a:pt x="4495863" y="937201"/>
                  <a:pt x="4485788" y="937024"/>
                </a:cubicBezTo>
                <a:cubicBezTo>
                  <a:pt x="4464401" y="937024"/>
                  <a:pt x="4445724" y="936848"/>
                  <a:pt x="4426929" y="937378"/>
                </a:cubicBezTo>
                <a:cubicBezTo>
                  <a:pt x="4265024" y="942504"/>
                  <a:pt x="4106536" y="924534"/>
                  <a:pt x="3955943" y="883822"/>
                </a:cubicBezTo>
                <a:cubicBezTo>
                  <a:pt x="3416317" y="737824"/>
                  <a:pt x="2916520" y="474286"/>
                  <a:pt x="2428388" y="78360"/>
                </a:cubicBezTo>
                <a:cubicBezTo>
                  <a:pt x="2416074" y="68639"/>
                  <a:pt x="2404232" y="58682"/>
                  <a:pt x="2391918" y="48784"/>
                </a:cubicBezTo>
                <a:lnTo>
                  <a:pt x="2332176" y="0"/>
                </a:lnTo>
                <a:lnTo>
                  <a:pt x="2274672" y="42597"/>
                </a:lnTo>
                <a:cubicBezTo>
                  <a:pt x="2265952" y="49137"/>
                  <a:pt x="2258234" y="54617"/>
                  <a:pt x="2250869" y="60214"/>
                </a:cubicBezTo>
                <a:cubicBezTo>
                  <a:pt x="1925291" y="310260"/>
                  <a:pt x="1558176" y="525368"/>
                  <a:pt x="1159422" y="699469"/>
                </a:cubicBezTo>
                <a:cubicBezTo>
                  <a:pt x="938481" y="796211"/>
                  <a:pt x="673706" y="898551"/>
                  <a:pt x="383066" y="927774"/>
                </a:cubicBezTo>
                <a:cubicBezTo>
                  <a:pt x="351427" y="931192"/>
                  <a:pt x="317196" y="932606"/>
                  <a:pt x="275247" y="932606"/>
                </a:cubicBezTo>
                <a:cubicBezTo>
                  <a:pt x="243902" y="932606"/>
                  <a:pt x="212794" y="931899"/>
                  <a:pt x="179741" y="931074"/>
                </a:cubicBezTo>
                <a:cubicBezTo>
                  <a:pt x="146512" y="930072"/>
                  <a:pt x="111809" y="929188"/>
                  <a:pt x="76871" y="929188"/>
                </a:cubicBezTo>
                <a:lnTo>
                  <a:pt x="9941" y="929188"/>
                </a:lnTo>
                <a:lnTo>
                  <a:pt x="6700" y="996119"/>
                </a:lnTo>
                <a:cubicBezTo>
                  <a:pt x="6170" y="1007608"/>
                  <a:pt x="5522" y="1017682"/>
                  <a:pt x="4992" y="1026756"/>
                </a:cubicBezTo>
                <a:cubicBezTo>
                  <a:pt x="4167" y="1044078"/>
                  <a:pt x="3283" y="1059278"/>
                  <a:pt x="3106" y="1074656"/>
                </a:cubicBezTo>
                <a:cubicBezTo>
                  <a:pt x="2399" y="1179765"/>
                  <a:pt x="1751" y="1293063"/>
                  <a:pt x="1575" y="1408424"/>
                </a:cubicBezTo>
                <a:lnTo>
                  <a:pt x="1044" y="1798988"/>
                </a:lnTo>
                <a:cubicBezTo>
                  <a:pt x="337" y="2175176"/>
                  <a:pt x="-311" y="2564209"/>
                  <a:pt x="161" y="2946878"/>
                </a:cubicBezTo>
                <a:cubicBezTo>
                  <a:pt x="514" y="3259435"/>
                  <a:pt x="57664" y="3536171"/>
                  <a:pt x="174910" y="3792875"/>
                </a:cubicBezTo>
                <a:cubicBezTo>
                  <a:pt x="336815" y="4147500"/>
                  <a:pt x="588570" y="4463474"/>
                  <a:pt x="966997" y="4786755"/>
                </a:cubicBezTo>
                <a:cubicBezTo>
                  <a:pt x="1326100" y="5093833"/>
                  <a:pt x="1734104" y="5336868"/>
                  <a:pt x="2128439" y="5571831"/>
                </a:cubicBezTo>
                <a:cubicBezTo>
                  <a:pt x="2165085" y="5593571"/>
                  <a:pt x="2201497" y="5615488"/>
                  <a:pt x="2237966" y="5637229"/>
                </a:cubicBezTo>
                <a:cubicBezTo>
                  <a:pt x="2261946" y="5651605"/>
                  <a:pt x="2288635" y="5654668"/>
                  <a:pt x="2306782" y="5654668"/>
                </a:cubicBezTo>
                <a:cubicBezTo>
                  <a:pt x="2322042" y="5654668"/>
                  <a:pt x="2350911" y="5652253"/>
                  <a:pt x="2376776" y="5637052"/>
                </a:cubicBezTo>
                <a:lnTo>
                  <a:pt x="2511108" y="5557808"/>
                </a:lnTo>
                <a:cubicBezTo>
                  <a:pt x="2710014" y="5440562"/>
                  <a:pt x="2915577" y="5319251"/>
                  <a:pt x="3114247" y="5192932"/>
                </a:cubicBezTo>
                <a:cubicBezTo>
                  <a:pt x="3545052" y="4919790"/>
                  <a:pt x="3858965" y="4649182"/>
                  <a:pt x="4102176" y="4341751"/>
                </a:cubicBezTo>
                <a:cubicBezTo>
                  <a:pt x="4418269" y="3942290"/>
                  <a:pt x="4580527" y="3500703"/>
                  <a:pt x="4584652" y="3029657"/>
                </a:cubicBezTo>
                <a:cubicBezTo>
                  <a:pt x="4588423" y="2594080"/>
                  <a:pt x="4588246" y="2151138"/>
                  <a:pt x="4588069" y="1722866"/>
                </a:cubicBezTo>
                <a:cubicBezTo>
                  <a:pt x="4588069" y="1536333"/>
                  <a:pt x="4587892" y="1349565"/>
                  <a:pt x="4588246" y="1163032"/>
                </a:cubicBezTo>
                <a:lnTo>
                  <a:pt x="4588246" y="1060928"/>
                </a:lnTo>
                <a:close/>
                <a:moveTo>
                  <a:pt x="3666304" y="2392523"/>
                </a:moveTo>
                <a:cubicBezTo>
                  <a:pt x="3655699" y="2404365"/>
                  <a:pt x="3644210" y="2415442"/>
                  <a:pt x="3632957" y="2426754"/>
                </a:cubicBezTo>
                <a:cubicBezTo>
                  <a:pt x="3122908" y="2936980"/>
                  <a:pt x="2612859" y="3446970"/>
                  <a:pt x="2102515" y="3957196"/>
                </a:cubicBezTo>
                <a:cubicBezTo>
                  <a:pt x="1991279" y="4068432"/>
                  <a:pt x="1878452" y="4068785"/>
                  <a:pt x="1766037" y="3956666"/>
                </a:cubicBezTo>
                <a:cubicBezTo>
                  <a:pt x="1490480" y="3681108"/>
                  <a:pt x="1214922" y="3405551"/>
                  <a:pt x="939895" y="3129640"/>
                </a:cubicBezTo>
                <a:cubicBezTo>
                  <a:pt x="840973" y="3030187"/>
                  <a:pt x="816345" y="2896032"/>
                  <a:pt x="871433" y="2773837"/>
                </a:cubicBezTo>
                <a:cubicBezTo>
                  <a:pt x="924636" y="2655943"/>
                  <a:pt x="1042589" y="2584005"/>
                  <a:pt x="1175565" y="2591016"/>
                </a:cubicBezTo>
                <a:cubicBezTo>
                  <a:pt x="1258934" y="2595612"/>
                  <a:pt x="1327867" y="2631905"/>
                  <a:pt x="1386431" y="2690646"/>
                </a:cubicBezTo>
                <a:cubicBezTo>
                  <a:pt x="1557233" y="2861978"/>
                  <a:pt x="1728565" y="3032780"/>
                  <a:pt x="1899367" y="3204112"/>
                </a:cubicBezTo>
                <a:cubicBezTo>
                  <a:pt x="1909442" y="3214364"/>
                  <a:pt x="1917337" y="3226677"/>
                  <a:pt x="1937016" y="3251658"/>
                </a:cubicBezTo>
                <a:cubicBezTo>
                  <a:pt x="1954102" y="3227679"/>
                  <a:pt x="1962527" y="3211948"/>
                  <a:pt x="1974664" y="3199811"/>
                </a:cubicBezTo>
                <a:cubicBezTo>
                  <a:pt x="2383021" y="2790747"/>
                  <a:pt x="2791732" y="2381859"/>
                  <a:pt x="3200620" y="1973502"/>
                </a:cubicBezTo>
                <a:cubicBezTo>
                  <a:pt x="3325761" y="1848537"/>
                  <a:pt x="3498448" y="1835752"/>
                  <a:pt x="3628479" y="1940331"/>
                </a:cubicBezTo>
                <a:cubicBezTo>
                  <a:pt x="3768467" y="2052746"/>
                  <a:pt x="3785612" y="2258309"/>
                  <a:pt x="3666304" y="2392523"/>
                </a:cubicBezTo>
              </a:path>
            </a:pathLst>
          </a:custGeom>
          <a:solidFill>
            <a:schemeClr val="accent5"/>
          </a:solidFill>
          <a:ln w="58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Arial" panose="020B0604020202020204" pitchFamily="34" charset="0"/>
              <a:ea typeface="+mn-ea"/>
              <a:cs typeface="+mn-cs"/>
            </a:endParaRPr>
          </a:p>
        </p:txBody>
      </p:sp>
      <p:grpSp>
        <p:nvGrpSpPr>
          <p:cNvPr id="87" name="Group 86">
            <a:extLst>
              <a:ext uri="{FF2B5EF4-FFF2-40B4-BE49-F238E27FC236}">
                <a16:creationId xmlns:a16="http://schemas.microsoft.com/office/drawing/2014/main" id="{41CF4F1C-BDF0-B24B-82E7-D982F672568C}"/>
              </a:ext>
            </a:extLst>
          </p:cNvPr>
          <p:cNvGrpSpPr/>
          <p:nvPr/>
        </p:nvGrpSpPr>
        <p:grpSpPr>
          <a:xfrm>
            <a:off x="7939185" y="2117950"/>
            <a:ext cx="2069303" cy="3058108"/>
            <a:chOff x="7996124" y="695686"/>
            <a:chExt cx="2069303" cy="3058108"/>
          </a:xfrm>
        </p:grpSpPr>
        <p:sp>
          <p:nvSpPr>
            <p:cNvPr id="34" name="Rectangle 33">
              <a:extLst>
                <a:ext uri="{FF2B5EF4-FFF2-40B4-BE49-F238E27FC236}">
                  <a16:creationId xmlns:a16="http://schemas.microsoft.com/office/drawing/2014/main" id="{875B9545-11C0-7C4D-9AF3-4C0322D3A0A7}"/>
                </a:ext>
              </a:extLst>
            </p:cNvPr>
            <p:cNvSpPr/>
            <p:nvPr/>
          </p:nvSpPr>
          <p:spPr>
            <a:xfrm>
              <a:off x="7996124" y="695686"/>
              <a:ext cx="1911096" cy="2822975"/>
            </a:xfrm>
            <a:prstGeom prst="rect">
              <a:avLst/>
            </a:prstGeom>
            <a:gradFill>
              <a:gsLst>
                <a:gs pos="0">
                  <a:srgbClr val="013055"/>
                </a:gs>
                <a:gs pos="35000">
                  <a:schemeClr val="accent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18288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rve</a:t>
              </a:r>
            </a:p>
          </p:txBody>
        </p:sp>
        <p:sp>
          <p:nvSpPr>
            <p:cNvPr id="45" name="Flowchart: Merge 206">
              <a:extLst>
                <a:ext uri="{FF2B5EF4-FFF2-40B4-BE49-F238E27FC236}">
                  <a16:creationId xmlns:a16="http://schemas.microsoft.com/office/drawing/2014/main" id="{89F7F29C-6D57-4540-B3BD-3AE7555233CC}"/>
                </a:ext>
              </a:extLst>
            </p:cNvPr>
            <p:cNvSpPr/>
            <p:nvPr/>
          </p:nvSpPr>
          <p:spPr>
            <a:xfrm rot="16200000">
              <a:off x="9754872" y="3443238"/>
              <a:ext cx="448280" cy="172831"/>
            </a:xfrm>
            <a:prstGeom prst="flowChartMerg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grpSp>
        <p:nvGrpSpPr>
          <p:cNvPr id="78" name="Graphic 76">
            <a:extLst>
              <a:ext uri="{FF2B5EF4-FFF2-40B4-BE49-F238E27FC236}">
                <a16:creationId xmlns:a16="http://schemas.microsoft.com/office/drawing/2014/main" id="{87837EC3-341B-4944-8FA9-5AAC7159F714}"/>
              </a:ext>
            </a:extLst>
          </p:cNvPr>
          <p:cNvGrpSpPr/>
          <p:nvPr/>
        </p:nvGrpSpPr>
        <p:grpSpPr>
          <a:xfrm>
            <a:off x="8383397" y="3551585"/>
            <a:ext cx="1053732" cy="775133"/>
            <a:chOff x="5114828" y="2790726"/>
            <a:chExt cx="1962218" cy="1443422"/>
          </a:xfrm>
          <a:solidFill>
            <a:schemeClr val="accent1">
              <a:lumMod val="20000"/>
              <a:lumOff val="80000"/>
            </a:schemeClr>
          </a:solidFill>
        </p:grpSpPr>
        <p:sp>
          <p:nvSpPr>
            <p:cNvPr id="79" name="Freeform 78">
              <a:extLst>
                <a:ext uri="{FF2B5EF4-FFF2-40B4-BE49-F238E27FC236}">
                  <a16:creationId xmlns:a16="http://schemas.microsoft.com/office/drawing/2014/main" id="{0FBD4A2E-44A4-4E48-98EB-1FFBBBAFAE3D}"/>
                </a:ext>
              </a:extLst>
            </p:cNvPr>
            <p:cNvSpPr/>
            <p:nvPr/>
          </p:nvSpPr>
          <p:spPr>
            <a:xfrm>
              <a:off x="5246274" y="2837116"/>
              <a:ext cx="318135" cy="318135"/>
            </a:xfrm>
            <a:custGeom>
              <a:avLst/>
              <a:gdLst>
                <a:gd name="connsiteX0" fmla="*/ 159068 w 318135"/>
                <a:gd name="connsiteY0" fmla="*/ 318135 h 318135"/>
                <a:gd name="connsiteX1" fmla="*/ 318135 w 318135"/>
                <a:gd name="connsiteY1" fmla="*/ 159067 h 318135"/>
                <a:gd name="connsiteX2" fmla="*/ 159068 w 318135"/>
                <a:gd name="connsiteY2" fmla="*/ 0 h 318135"/>
                <a:gd name="connsiteX3" fmla="*/ 0 w 318135"/>
                <a:gd name="connsiteY3" fmla="*/ 159067 h 318135"/>
                <a:gd name="connsiteX4" fmla="*/ 159068 w 318135"/>
                <a:gd name="connsiteY4" fmla="*/ 318135 h 318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 h="318135">
                  <a:moveTo>
                    <a:pt x="159068" y="318135"/>
                  </a:moveTo>
                  <a:cubicBezTo>
                    <a:pt x="246888" y="318135"/>
                    <a:pt x="318135" y="246888"/>
                    <a:pt x="318135" y="159067"/>
                  </a:cubicBezTo>
                  <a:cubicBezTo>
                    <a:pt x="318135" y="71152"/>
                    <a:pt x="246888" y="0"/>
                    <a:pt x="159068" y="0"/>
                  </a:cubicBezTo>
                  <a:cubicBezTo>
                    <a:pt x="71247" y="0"/>
                    <a:pt x="0" y="71152"/>
                    <a:pt x="0" y="159067"/>
                  </a:cubicBezTo>
                  <a:cubicBezTo>
                    <a:pt x="0" y="246983"/>
                    <a:pt x="71247" y="318135"/>
                    <a:pt x="159068" y="3181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80" name="Freeform 79">
              <a:extLst>
                <a:ext uri="{FF2B5EF4-FFF2-40B4-BE49-F238E27FC236}">
                  <a16:creationId xmlns:a16="http://schemas.microsoft.com/office/drawing/2014/main" id="{5771BBDD-773A-D544-8EAA-AF25E518E992}"/>
                </a:ext>
              </a:extLst>
            </p:cNvPr>
            <p:cNvSpPr/>
            <p:nvPr/>
          </p:nvSpPr>
          <p:spPr>
            <a:xfrm>
              <a:off x="6627685" y="2837116"/>
              <a:ext cx="318134" cy="318135"/>
            </a:xfrm>
            <a:custGeom>
              <a:avLst/>
              <a:gdLst>
                <a:gd name="connsiteX0" fmla="*/ 159067 w 318134"/>
                <a:gd name="connsiteY0" fmla="*/ 318135 h 318135"/>
                <a:gd name="connsiteX1" fmla="*/ 318135 w 318134"/>
                <a:gd name="connsiteY1" fmla="*/ 159067 h 318135"/>
                <a:gd name="connsiteX2" fmla="*/ 159067 w 318134"/>
                <a:gd name="connsiteY2" fmla="*/ 0 h 318135"/>
                <a:gd name="connsiteX3" fmla="*/ 0 w 318134"/>
                <a:gd name="connsiteY3" fmla="*/ 159067 h 318135"/>
                <a:gd name="connsiteX4" fmla="*/ 159067 w 318134"/>
                <a:gd name="connsiteY4" fmla="*/ 318135 h 318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5">
                  <a:moveTo>
                    <a:pt x="159067" y="318135"/>
                  </a:moveTo>
                  <a:cubicBezTo>
                    <a:pt x="246888" y="318135"/>
                    <a:pt x="318135" y="246888"/>
                    <a:pt x="318135" y="159067"/>
                  </a:cubicBezTo>
                  <a:cubicBezTo>
                    <a:pt x="318135" y="71152"/>
                    <a:pt x="246888" y="0"/>
                    <a:pt x="159067" y="0"/>
                  </a:cubicBezTo>
                  <a:cubicBezTo>
                    <a:pt x="71247" y="0"/>
                    <a:pt x="0" y="71152"/>
                    <a:pt x="0" y="159067"/>
                  </a:cubicBezTo>
                  <a:cubicBezTo>
                    <a:pt x="0" y="246983"/>
                    <a:pt x="71152" y="318135"/>
                    <a:pt x="159067" y="3181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81" name="Freeform 80">
              <a:extLst>
                <a:ext uri="{FF2B5EF4-FFF2-40B4-BE49-F238E27FC236}">
                  <a16:creationId xmlns:a16="http://schemas.microsoft.com/office/drawing/2014/main" id="{63E65FFC-4212-7146-A908-6A93077DF350}"/>
                </a:ext>
              </a:extLst>
            </p:cNvPr>
            <p:cNvSpPr/>
            <p:nvPr/>
          </p:nvSpPr>
          <p:spPr>
            <a:xfrm>
              <a:off x="5114828" y="2790726"/>
              <a:ext cx="1962218" cy="1443422"/>
            </a:xfrm>
            <a:custGeom>
              <a:avLst/>
              <a:gdLst>
                <a:gd name="connsiteX0" fmla="*/ 1958246 w 1962218"/>
                <a:gd name="connsiteY0" fmla="*/ 725237 h 1443422"/>
                <a:gd name="connsiteX1" fmla="*/ 1883094 w 1962218"/>
                <a:gd name="connsiteY1" fmla="*/ 477397 h 1443422"/>
                <a:gd name="connsiteX2" fmla="*/ 1671734 w 1962218"/>
                <a:gd name="connsiteY2" fmla="*/ 389195 h 1443422"/>
                <a:gd name="connsiteX3" fmla="*/ 1515905 w 1962218"/>
                <a:gd name="connsiteY3" fmla="*/ 426247 h 1443422"/>
                <a:gd name="connsiteX4" fmla="*/ 1440467 w 1962218"/>
                <a:gd name="connsiteY4" fmla="*/ 302041 h 1443422"/>
                <a:gd name="connsiteX5" fmla="*/ 1394271 w 1962218"/>
                <a:gd name="connsiteY5" fmla="*/ 56677 h 1443422"/>
                <a:gd name="connsiteX6" fmla="*/ 1376268 w 1962218"/>
                <a:gd name="connsiteY6" fmla="*/ 21625 h 1443422"/>
                <a:gd name="connsiteX7" fmla="*/ 1375888 w 1962218"/>
                <a:gd name="connsiteY7" fmla="*/ 21149 h 1443422"/>
                <a:gd name="connsiteX8" fmla="*/ 1373411 w 1962218"/>
                <a:gd name="connsiteY8" fmla="*/ 18768 h 1443422"/>
                <a:gd name="connsiteX9" fmla="*/ 1340740 w 1962218"/>
                <a:gd name="connsiteY9" fmla="*/ 1528 h 1443422"/>
                <a:gd name="connsiteX10" fmla="*/ 1319500 w 1962218"/>
                <a:gd name="connsiteY10" fmla="*/ 480 h 1443422"/>
                <a:gd name="connsiteX11" fmla="*/ 1312165 w 1962218"/>
                <a:gd name="connsiteY11" fmla="*/ 1623 h 1443422"/>
                <a:gd name="connsiteX12" fmla="*/ 1283781 w 1962218"/>
                <a:gd name="connsiteY12" fmla="*/ 15053 h 1443422"/>
                <a:gd name="connsiteX13" fmla="*/ 1282257 w 1962218"/>
                <a:gd name="connsiteY13" fmla="*/ 16196 h 1443422"/>
                <a:gd name="connsiteX14" fmla="*/ 1280447 w 1962218"/>
                <a:gd name="connsiteY14" fmla="*/ 17815 h 1443422"/>
                <a:gd name="connsiteX15" fmla="*/ 1258539 w 1962218"/>
                <a:gd name="connsiteY15" fmla="*/ 56582 h 1443422"/>
                <a:gd name="connsiteX16" fmla="*/ 1212343 w 1962218"/>
                <a:gd name="connsiteY16" fmla="*/ 301946 h 1443422"/>
                <a:gd name="connsiteX17" fmla="*/ 1136905 w 1962218"/>
                <a:gd name="connsiteY17" fmla="*/ 426152 h 1443422"/>
                <a:gd name="connsiteX18" fmla="*/ 981076 w 1962218"/>
                <a:gd name="connsiteY18" fmla="*/ 389100 h 1443422"/>
                <a:gd name="connsiteX19" fmla="*/ 825247 w 1962218"/>
                <a:gd name="connsiteY19" fmla="*/ 426152 h 1443422"/>
                <a:gd name="connsiteX20" fmla="*/ 749809 w 1962218"/>
                <a:gd name="connsiteY20" fmla="*/ 301946 h 1443422"/>
                <a:gd name="connsiteX21" fmla="*/ 703613 w 1962218"/>
                <a:gd name="connsiteY21" fmla="*/ 56582 h 1443422"/>
                <a:gd name="connsiteX22" fmla="*/ 681610 w 1962218"/>
                <a:gd name="connsiteY22" fmla="*/ 17720 h 1443422"/>
                <a:gd name="connsiteX23" fmla="*/ 679991 w 1962218"/>
                <a:gd name="connsiteY23" fmla="*/ 16196 h 1443422"/>
                <a:gd name="connsiteX24" fmla="*/ 678276 w 1962218"/>
                <a:gd name="connsiteY24" fmla="*/ 14863 h 1443422"/>
                <a:gd name="connsiteX25" fmla="*/ 650082 w 1962218"/>
                <a:gd name="connsiteY25" fmla="*/ 1528 h 1443422"/>
                <a:gd name="connsiteX26" fmla="*/ 642748 w 1962218"/>
                <a:gd name="connsiteY26" fmla="*/ 385 h 1443422"/>
                <a:gd name="connsiteX27" fmla="*/ 621507 w 1962218"/>
                <a:gd name="connsiteY27" fmla="*/ 1432 h 1443422"/>
                <a:gd name="connsiteX28" fmla="*/ 592075 w 1962218"/>
                <a:gd name="connsiteY28" fmla="*/ 15720 h 1443422"/>
                <a:gd name="connsiteX29" fmla="*/ 592075 w 1962218"/>
                <a:gd name="connsiteY29" fmla="*/ 15720 h 1443422"/>
                <a:gd name="connsiteX30" fmla="*/ 589027 w 1962218"/>
                <a:gd name="connsiteY30" fmla="*/ 18482 h 1443422"/>
                <a:gd name="connsiteX31" fmla="*/ 586360 w 1962218"/>
                <a:gd name="connsiteY31" fmla="*/ 21054 h 1443422"/>
                <a:gd name="connsiteX32" fmla="*/ 586170 w 1962218"/>
                <a:gd name="connsiteY32" fmla="*/ 21244 h 1443422"/>
                <a:gd name="connsiteX33" fmla="*/ 567977 w 1962218"/>
                <a:gd name="connsiteY33" fmla="*/ 56392 h 1443422"/>
                <a:gd name="connsiteX34" fmla="*/ 521781 w 1962218"/>
                <a:gd name="connsiteY34" fmla="*/ 301756 h 1443422"/>
                <a:gd name="connsiteX35" fmla="*/ 446343 w 1962218"/>
                <a:gd name="connsiteY35" fmla="*/ 425962 h 1443422"/>
                <a:gd name="connsiteX36" fmla="*/ 290514 w 1962218"/>
                <a:gd name="connsiteY36" fmla="*/ 388909 h 1443422"/>
                <a:gd name="connsiteX37" fmla="*/ 79154 w 1962218"/>
                <a:gd name="connsiteY37" fmla="*/ 477111 h 1443422"/>
                <a:gd name="connsiteX38" fmla="*/ 4002 w 1962218"/>
                <a:gd name="connsiteY38" fmla="*/ 724951 h 1443422"/>
                <a:gd name="connsiteX39" fmla="*/ 31434 w 1962218"/>
                <a:gd name="connsiteY39" fmla="*/ 815344 h 1443422"/>
                <a:gd name="connsiteX40" fmla="*/ 83631 w 1962218"/>
                <a:gd name="connsiteY40" fmla="*/ 822392 h 1443422"/>
                <a:gd name="connsiteX41" fmla="*/ 118016 w 1962218"/>
                <a:gd name="connsiteY41" fmla="*/ 822392 h 1443422"/>
                <a:gd name="connsiteX42" fmla="*/ 118587 w 1962218"/>
                <a:gd name="connsiteY42" fmla="*/ 1357316 h 1443422"/>
                <a:gd name="connsiteX43" fmla="*/ 204598 w 1962218"/>
                <a:gd name="connsiteY43" fmla="*/ 1443327 h 1443422"/>
                <a:gd name="connsiteX44" fmla="*/ 290704 w 1962218"/>
                <a:gd name="connsiteY44" fmla="*/ 1357316 h 1443422"/>
                <a:gd name="connsiteX45" fmla="*/ 376620 w 1962218"/>
                <a:gd name="connsiteY45" fmla="*/ 1443327 h 1443422"/>
                <a:gd name="connsiteX46" fmla="*/ 462630 w 1962218"/>
                <a:gd name="connsiteY46" fmla="*/ 1357316 h 1443422"/>
                <a:gd name="connsiteX47" fmla="*/ 462630 w 1962218"/>
                <a:gd name="connsiteY47" fmla="*/ 823345 h 1443422"/>
                <a:gd name="connsiteX48" fmla="*/ 507779 w 1962218"/>
                <a:gd name="connsiteY48" fmla="*/ 592649 h 1443422"/>
                <a:gd name="connsiteX49" fmla="*/ 635795 w 1962218"/>
                <a:gd name="connsiteY49" fmla="*/ 381099 h 1443422"/>
                <a:gd name="connsiteX50" fmla="*/ 763811 w 1962218"/>
                <a:gd name="connsiteY50" fmla="*/ 592649 h 1443422"/>
                <a:gd name="connsiteX51" fmla="*/ 808959 w 1962218"/>
                <a:gd name="connsiteY51" fmla="*/ 823440 h 1443422"/>
                <a:gd name="connsiteX52" fmla="*/ 808959 w 1962218"/>
                <a:gd name="connsiteY52" fmla="*/ 1357411 h 1443422"/>
                <a:gd name="connsiteX53" fmla="*/ 894970 w 1962218"/>
                <a:gd name="connsiteY53" fmla="*/ 1443422 h 1443422"/>
                <a:gd name="connsiteX54" fmla="*/ 980886 w 1962218"/>
                <a:gd name="connsiteY54" fmla="*/ 1357411 h 1443422"/>
                <a:gd name="connsiteX55" fmla="*/ 981267 w 1962218"/>
                <a:gd name="connsiteY55" fmla="*/ 1356078 h 1443422"/>
                <a:gd name="connsiteX56" fmla="*/ 981267 w 1962218"/>
                <a:gd name="connsiteY56" fmla="*/ 1357411 h 1443422"/>
                <a:gd name="connsiteX57" fmla="*/ 1067182 w 1962218"/>
                <a:gd name="connsiteY57" fmla="*/ 1443422 h 1443422"/>
                <a:gd name="connsiteX58" fmla="*/ 1153193 w 1962218"/>
                <a:gd name="connsiteY58" fmla="*/ 1357411 h 1443422"/>
                <a:gd name="connsiteX59" fmla="*/ 1153193 w 1962218"/>
                <a:gd name="connsiteY59" fmla="*/ 823440 h 1443422"/>
                <a:gd name="connsiteX60" fmla="*/ 1198342 w 1962218"/>
                <a:gd name="connsiteY60" fmla="*/ 592649 h 1443422"/>
                <a:gd name="connsiteX61" fmla="*/ 1326262 w 1962218"/>
                <a:gd name="connsiteY61" fmla="*/ 381099 h 1443422"/>
                <a:gd name="connsiteX62" fmla="*/ 1454278 w 1962218"/>
                <a:gd name="connsiteY62" fmla="*/ 592649 h 1443422"/>
                <a:gd name="connsiteX63" fmla="*/ 1499427 w 1962218"/>
                <a:gd name="connsiteY63" fmla="*/ 823345 h 1443422"/>
                <a:gd name="connsiteX64" fmla="*/ 1499427 w 1962218"/>
                <a:gd name="connsiteY64" fmla="*/ 1357316 h 1443422"/>
                <a:gd name="connsiteX65" fmla="*/ 1585438 w 1962218"/>
                <a:gd name="connsiteY65" fmla="*/ 1443327 h 1443422"/>
                <a:gd name="connsiteX66" fmla="*/ 1671353 w 1962218"/>
                <a:gd name="connsiteY66" fmla="*/ 1357316 h 1443422"/>
                <a:gd name="connsiteX67" fmla="*/ 1757459 w 1962218"/>
                <a:gd name="connsiteY67" fmla="*/ 1443327 h 1443422"/>
                <a:gd name="connsiteX68" fmla="*/ 1843470 w 1962218"/>
                <a:gd name="connsiteY68" fmla="*/ 1357316 h 1443422"/>
                <a:gd name="connsiteX69" fmla="*/ 1844041 w 1962218"/>
                <a:gd name="connsiteY69" fmla="*/ 822392 h 1443422"/>
                <a:gd name="connsiteX70" fmla="*/ 1878426 w 1962218"/>
                <a:gd name="connsiteY70" fmla="*/ 822392 h 1443422"/>
                <a:gd name="connsiteX71" fmla="*/ 1930623 w 1962218"/>
                <a:gd name="connsiteY71" fmla="*/ 815344 h 1443422"/>
                <a:gd name="connsiteX72" fmla="*/ 1958246 w 1962218"/>
                <a:gd name="connsiteY72" fmla="*/ 725237 h 144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962218" h="1443422">
                  <a:moveTo>
                    <a:pt x="1958246" y="725237"/>
                  </a:moveTo>
                  <a:cubicBezTo>
                    <a:pt x="1943006" y="648466"/>
                    <a:pt x="1928528" y="536737"/>
                    <a:pt x="1883094" y="477397"/>
                  </a:cubicBezTo>
                  <a:cubicBezTo>
                    <a:pt x="1836040" y="415865"/>
                    <a:pt x="1770604" y="389195"/>
                    <a:pt x="1671734" y="389195"/>
                  </a:cubicBezTo>
                  <a:cubicBezTo>
                    <a:pt x="1606393" y="389195"/>
                    <a:pt x="1556386" y="400625"/>
                    <a:pt x="1515905" y="426247"/>
                  </a:cubicBezTo>
                  <a:lnTo>
                    <a:pt x="1440467" y="302041"/>
                  </a:lnTo>
                  <a:lnTo>
                    <a:pt x="1394271" y="56677"/>
                  </a:lnTo>
                  <a:cubicBezTo>
                    <a:pt x="1391699" y="42961"/>
                    <a:pt x="1385222" y="31055"/>
                    <a:pt x="1376268" y="21625"/>
                  </a:cubicBezTo>
                  <a:cubicBezTo>
                    <a:pt x="1376173" y="21435"/>
                    <a:pt x="1375983" y="21340"/>
                    <a:pt x="1375888" y="21149"/>
                  </a:cubicBezTo>
                  <a:cubicBezTo>
                    <a:pt x="1375126" y="20292"/>
                    <a:pt x="1374268" y="19530"/>
                    <a:pt x="1373411" y="18768"/>
                  </a:cubicBezTo>
                  <a:cubicBezTo>
                    <a:pt x="1364553" y="10386"/>
                    <a:pt x="1353504" y="4195"/>
                    <a:pt x="1340740" y="1528"/>
                  </a:cubicBezTo>
                  <a:cubicBezTo>
                    <a:pt x="1333501" y="4"/>
                    <a:pt x="1326358" y="-282"/>
                    <a:pt x="1319500" y="480"/>
                  </a:cubicBezTo>
                  <a:cubicBezTo>
                    <a:pt x="1317023" y="766"/>
                    <a:pt x="1314642" y="1051"/>
                    <a:pt x="1312165" y="1623"/>
                  </a:cubicBezTo>
                  <a:cubicBezTo>
                    <a:pt x="1301402" y="3814"/>
                    <a:pt x="1291877" y="8576"/>
                    <a:pt x="1283781" y="15053"/>
                  </a:cubicBezTo>
                  <a:cubicBezTo>
                    <a:pt x="1283305" y="15434"/>
                    <a:pt x="1282828" y="15815"/>
                    <a:pt x="1282257" y="16196"/>
                  </a:cubicBezTo>
                  <a:cubicBezTo>
                    <a:pt x="1281590" y="16768"/>
                    <a:pt x="1281018" y="17339"/>
                    <a:pt x="1280447" y="17815"/>
                  </a:cubicBezTo>
                  <a:cubicBezTo>
                    <a:pt x="1269493" y="27626"/>
                    <a:pt x="1261492" y="40961"/>
                    <a:pt x="1258539" y="56582"/>
                  </a:cubicBezTo>
                  <a:lnTo>
                    <a:pt x="1212343" y="301946"/>
                  </a:lnTo>
                  <a:lnTo>
                    <a:pt x="1136905" y="426152"/>
                  </a:lnTo>
                  <a:cubicBezTo>
                    <a:pt x="1096424" y="400530"/>
                    <a:pt x="1046418" y="389100"/>
                    <a:pt x="981076" y="389100"/>
                  </a:cubicBezTo>
                  <a:cubicBezTo>
                    <a:pt x="915735" y="389100"/>
                    <a:pt x="865728" y="400530"/>
                    <a:pt x="825247" y="426152"/>
                  </a:cubicBezTo>
                  <a:lnTo>
                    <a:pt x="749809" y="301946"/>
                  </a:lnTo>
                  <a:lnTo>
                    <a:pt x="703613" y="56582"/>
                  </a:lnTo>
                  <a:cubicBezTo>
                    <a:pt x="700660" y="40961"/>
                    <a:pt x="692659" y="27531"/>
                    <a:pt x="681610" y="17720"/>
                  </a:cubicBezTo>
                  <a:cubicBezTo>
                    <a:pt x="681039" y="17244"/>
                    <a:pt x="680563" y="16672"/>
                    <a:pt x="679991" y="16196"/>
                  </a:cubicBezTo>
                  <a:cubicBezTo>
                    <a:pt x="679419" y="15720"/>
                    <a:pt x="678848" y="15339"/>
                    <a:pt x="678276" y="14863"/>
                  </a:cubicBezTo>
                  <a:cubicBezTo>
                    <a:pt x="670275" y="8481"/>
                    <a:pt x="660750" y="3718"/>
                    <a:pt x="650082" y="1528"/>
                  </a:cubicBezTo>
                  <a:cubicBezTo>
                    <a:pt x="647606" y="1051"/>
                    <a:pt x="645225" y="670"/>
                    <a:pt x="642748" y="385"/>
                  </a:cubicBezTo>
                  <a:cubicBezTo>
                    <a:pt x="635795" y="-377"/>
                    <a:pt x="628651" y="4"/>
                    <a:pt x="621507" y="1432"/>
                  </a:cubicBezTo>
                  <a:cubicBezTo>
                    <a:pt x="610268" y="3718"/>
                    <a:pt x="600362" y="8862"/>
                    <a:pt x="592075" y="15720"/>
                  </a:cubicBezTo>
                  <a:cubicBezTo>
                    <a:pt x="592075" y="15720"/>
                    <a:pt x="592075" y="15720"/>
                    <a:pt x="592075" y="15720"/>
                  </a:cubicBezTo>
                  <a:cubicBezTo>
                    <a:pt x="591027" y="16577"/>
                    <a:pt x="589980" y="17530"/>
                    <a:pt x="589027" y="18482"/>
                  </a:cubicBezTo>
                  <a:cubicBezTo>
                    <a:pt x="588075" y="19339"/>
                    <a:pt x="587217" y="20197"/>
                    <a:pt x="586360" y="21054"/>
                  </a:cubicBezTo>
                  <a:cubicBezTo>
                    <a:pt x="586265" y="21149"/>
                    <a:pt x="586265" y="21244"/>
                    <a:pt x="586170" y="21244"/>
                  </a:cubicBezTo>
                  <a:cubicBezTo>
                    <a:pt x="577121" y="30674"/>
                    <a:pt x="570644" y="42676"/>
                    <a:pt x="567977" y="56392"/>
                  </a:cubicBezTo>
                  <a:lnTo>
                    <a:pt x="521781" y="301756"/>
                  </a:lnTo>
                  <a:lnTo>
                    <a:pt x="446343" y="425962"/>
                  </a:lnTo>
                  <a:cubicBezTo>
                    <a:pt x="405861" y="400339"/>
                    <a:pt x="355855" y="388909"/>
                    <a:pt x="290514" y="388909"/>
                  </a:cubicBezTo>
                  <a:cubicBezTo>
                    <a:pt x="191644" y="388909"/>
                    <a:pt x="126303" y="415484"/>
                    <a:pt x="79154" y="477111"/>
                  </a:cubicBezTo>
                  <a:cubicBezTo>
                    <a:pt x="33720" y="536452"/>
                    <a:pt x="19242" y="648180"/>
                    <a:pt x="4002" y="724951"/>
                  </a:cubicBezTo>
                  <a:cubicBezTo>
                    <a:pt x="-2475" y="757432"/>
                    <a:pt x="-5619" y="797532"/>
                    <a:pt x="31434" y="815344"/>
                  </a:cubicBezTo>
                  <a:cubicBezTo>
                    <a:pt x="44959" y="821821"/>
                    <a:pt x="60580" y="822392"/>
                    <a:pt x="83631" y="822392"/>
                  </a:cubicBezTo>
                  <a:lnTo>
                    <a:pt x="118016" y="822392"/>
                  </a:lnTo>
                  <a:lnTo>
                    <a:pt x="118587" y="1357316"/>
                  </a:lnTo>
                  <a:cubicBezTo>
                    <a:pt x="118587" y="1404846"/>
                    <a:pt x="157068" y="1443327"/>
                    <a:pt x="204598" y="1443327"/>
                  </a:cubicBezTo>
                  <a:cubicBezTo>
                    <a:pt x="252033" y="1443327"/>
                    <a:pt x="290704" y="1404846"/>
                    <a:pt x="290704" y="1357316"/>
                  </a:cubicBezTo>
                  <a:cubicBezTo>
                    <a:pt x="290704" y="1404846"/>
                    <a:pt x="329185" y="1443327"/>
                    <a:pt x="376620" y="1443327"/>
                  </a:cubicBezTo>
                  <a:cubicBezTo>
                    <a:pt x="424149" y="1443327"/>
                    <a:pt x="462630" y="1404846"/>
                    <a:pt x="462630" y="1357316"/>
                  </a:cubicBezTo>
                  <a:lnTo>
                    <a:pt x="462630" y="823345"/>
                  </a:lnTo>
                  <a:cubicBezTo>
                    <a:pt x="462630" y="823345"/>
                    <a:pt x="479871" y="639607"/>
                    <a:pt x="507779" y="592649"/>
                  </a:cubicBezTo>
                  <a:cubicBezTo>
                    <a:pt x="530353" y="554644"/>
                    <a:pt x="607220" y="428057"/>
                    <a:pt x="635795" y="381099"/>
                  </a:cubicBezTo>
                  <a:cubicBezTo>
                    <a:pt x="664370" y="428152"/>
                    <a:pt x="741237" y="554644"/>
                    <a:pt x="763811" y="592649"/>
                  </a:cubicBezTo>
                  <a:cubicBezTo>
                    <a:pt x="791719" y="639703"/>
                    <a:pt x="808959" y="823440"/>
                    <a:pt x="808959" y="823440"/>
                  </a:cubicBezTo>
                  <a:lnTo>
                    <a:pt x="808959" y="1357411"/>
                  </a:lnTo>
                  <a:cubicBezTo>
                    <a:pt x="808959" y="1404941"/>
                    <a:pt x="847440" y="1443422"/>
                    <a:pt x="894970" y="1443422"/>
                  </a:cubicBezTo>
                  <a:cubicBezTo>
                    <a:pt x="942405" y="1443422"/>
                    <a:pt x="980886" y="1404941"/>
                    <a:pt x="980886" y="1357411"/>
                  </a:cubicBezTo>
                  <a:lnTo>
                    <a:pt x="981267" y="1356078"/>
                  </a:lnTo>
                  <a:lnTo>
                    <a:pt x="981267" y="1357411"/>
                  </a:lnTo>
                  <a:cubicBezTo>
                    <a:pt x="981267" y="1404941"/>
                    <a:pt x="1019748" y="1443422"/>
                    <a:pt x="1067182" y="1443422"/>
                  </a:cubicBezTo>
                  <a:cubicBezTo>
                    <a:pt x="1114712" y="1443422"/>
                    <a:pt x="1153193" y="1404941"/>
                    <a:pt x="1153193" y="1357411"/>
                  </a:cubicBezTo>
                  <a:lnTo>
                    <a:pt x="1153193" y="823440"/>
                  </a:lnTo>
                  <a:cubicBezTo>
                    <a:pt x="1153193" y="823440"/>
                    <a:pt x="1170433" y="639703"/>
                    <a:pt x="1198342" y="592649"/>
                  </a:cubicBezTo>
                  <a:cubicBezTo>
                    <a:pt x="1220916" y="554644"/>
                    <a:pt x="1297687" y="428152"/>
                    <a:pt x="1326262" y="381099"/>
                  </a:cubicBezTo>
                  <a:cubicBezTo>
                    <a:pt x="1354837" y="428152"/>
                    <a:pt x="1431704" y="554644"/>
                    <a:pt x="1454278" y="592649"/>
                  </a:cubicBezTo>
                  <a:cubicBezTo>
                    <a:pt x="1482187" y="639703"/>
                    <a:pt x="1499427" y="823345"/>
                    <a:pt x="1499427" y="823345"/>
                  </a:cubicBezTo>
                  <a:lnTo>
                    <a:pt x="1499427" y="1357316"/>
                  </a:lnTo>
                  <a:cubicBezTo>
                    <a:pt x="1499427" y="1404846"/>
                    <a:pt x="1537908" y="1443327"/>
                    <a:pt x="1585438" y="1443327"/>
                  </a:cubicBezTo>
                  <a:cubicBezTo>
                    <a:pt x="1632872" y="1443327"/>
                    <a:pt x="1671353" y="1404846"/>
                    <a:pt x="1671353" y="1357316"/>
                  </a:cubicBezTo>
                  <a:cubicBezTo>
                    <a:pt x="1671353" y="1404846"/>
                    <a:pt x="1709929" y="1443327"/>
                    <a:pt x="1757459" y="1443327"/>
                  </a:cubicBezTo>
                  <a:cubicBezTo>
                    <a:pt x="1804989" y="1443327"/>
                    <a:pt x="1843470" y="1404846"/>
                    <a:pt x="1843470" y="1357316"/>
                  </a:cubicBezTo>
                  <a:lnTo>
                    <a:pt x="1844041" y="822392"/>
                  </a:lnTo>
                  <a:lnTo>
                    <a:pt x="1878426" y="822392"/>
                  </a:lnTo>
                  <a:cubicBezTo>
                    <a:pt x="1901382" y="822392"/>
                    <a:pt x="1917003" y="821725"/>
                    <a:pt x="1930623" y="815344"/>
                  </a:cubicBezTo>
                  <a:cubicBezTo>
                    <a:pt x="1967771" y="797818"/>
                    <a:pt x="1964723" y="757717"/>
                    <a:pt x="1958246" y="72523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82" name="Freeform 81">
              <a:extLst>
                <a:ext uri="{FF2B5EF4-FFF2-40B4-BE49-F238E27FC236}">
                  <a16:creationId xmlns:a16="http://schemas.microsoft.com/office/drawing/2014/main" id="{D10B1124-CB93-E844-8E84-A7BD5D0AAAC7}"/>
                </a:ext>
              </a:extLst>
            </p:cNvPr>
            <p:cNvSpPr/>
            <p:nvPr/>
          </p:nvSpPr>
          <p:spPr>
            <a:xfrm>
              <a:off x="5936837" y="2837116"/>
              <a:ext cx="318135" cy="318135"/>
            </a:xfrm>
            <a:custGeom>
              <a:avLst/>
              <a:gdLst>
                <a:gd name="connsiteX0" fmla="*/ 159067 w 318135"/>
                <a:gd name="connsiteY0" fmla="*/ 318135 h 318135"/>
                <a:gd name="connsiteX1" fmla="*/ 318135 w 318135"/>
                <a:gd name="connsiteY1" fmla="*/ 159067 h 318135"/>
                <a:gd name="connsiteX2" fmla="*/ 159067 w 318135"/>
                <a:gd name="connsiteY2" fmla="*/ 0 h 318135"/>
                <a:gd name="connsiteX3" fmla="*/ 0 w 318135"/>
                <a:gd name="connsiteY3" fmla="*/ 159067 h 318135"/>
                <a:gd name="connsiteX4" fmla="*/ 159067 w 318135"/>
                <a:gd name="connsiteY4" fmla="*/ 318135 h 318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 h="318135">
                  <a:moveTo>
                    <a:pt x="159067" y="318135"/>
                  </a:moveTo>
                  <a:cubicBezTo>
                    <a:pt x="246888" y="318135"/>
                    <a:pt x="318135" y="246888"/>
                    <a:pt x="318135" y="159067"/>
                  </a:cubicBezTo>
                  <a:cubicBezTo>
                    <a:pt x="318135" y="71152"/>
                    <a:pt x="246888" y="0"/>
                    <a:pt x="159067" y="0"/>
                  </a:cubicBezTo>
                  <a:cubicBezTo>
                    <a:pt x="71247" y="0"/>
                    <a:pt x="0" y="71152"/>
                    <a:pt x="0" y="159067"/>
                  </a:cubicBezTo>
                  <a:cubicBezTo>
                    <a:pt x="0" y="246983"/>
                    <a:pt x="71247" y="318135"/>
                    <a:pt x="159067" y="3181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grpSp>
        <p:nvGrpSpPr>
          <p:cNvPr id="71" name="Graphic 69">
            <a:extLst>
              <a:ext uri="{FF2B5EF4-FFF2-40B4-BE49-F238E27FC236}">
                <a16:creationId xmlns:a16="http://schemas.microsoft.com/office/drawing/2014/main" id="{643C56CF-D15A-9F4A-9EAE-A940CAFCA79A}"/>
              </a:ext>
            </a:extLst>
          </p:cNvPr>
          <p:cNvGrpSpPr/>
          <p:nvPr/>
        </p:nvGrpSpPr>
        <p:grpSpPr>
          <a:xfrm>
            <a:off x="10274735" y="3314366"/>
            <a:ext cx="1139404" cy="1079436"/>
            <a:chOff x="5829434" y="-2206709"/>
            <a:chExt cx="1818294" cy="1722596"/>
          </a:xfrm>
          <a:solidFill>
            <a:schemeClr val="accent1">
              <a:lumMod val="20000"/>
              <a:lumOff val="80000"/>
            </a:schemeClr>
          </a:solidFill>
        </p:grpSpPr>
        <p:grpSp>
          <p:nvGrpSpPr>
            <p:cNvPr id="72" name="Graphic 69">
              <a:extLst>
                <a:ext uri="{FF2B5EF4-FFF2-40B4-BE49-F238E27FC236}">
                  <a16:creationId xmlns:a16="http://schemas.microsoft.com/office/drawing/2014/main" id="{643C56CF-D15A-9F4A-9EAE-A940CAFCA79A}"/>
                </a:ext>
              </a:extLst>
            </p:cNvPr>
            <p:cNvGrpSpPr/>
            <p:nvPr/>
          </p:nvGrpSpPr>
          <p:grpSpPr>
            <a:xfrm>
              <a:off x="5829434" y="-2206709"/>
              <a:ext cx="1818294" cy="1722596"/>
              <a:chOff x="5829434" y="-2206709"/>
              <a:chExt cx="1818294" cy="1722596"/>
            </a:xfrm>
            <a:grpFill/>
          </p:grpSpPr>
          <p:sp>
            <p:nvSpPr>
              <p:cNvPr id="73" name="Freeform 72">
                <a:extLst>
                  <a:ext uri="{FF2B5EF4-FFF2-40B4-BE49-F238E27FC236}">
                    <a16:creationId xmlns:a16="http://schemas.microsoft.com/office/drawing/2014/main" id="{F74E3B5F-6590-AC4C-AAC9-231B8AF94684}"/>
                  </a:ext>
                </a:extLst>
              </p:cNvPr>
              <p:cNvSpPr/>
              <p:nvPr/>
            </p:nvSpPr>
            <p:spPr>
              <a:xfrm>
                <a:off x="5829434" y="-2206709"/>
                <a:ext cx="1818294" cy="1722596"/>
              </a:xfrm>
              <a:custGeom>
                <a:avLst/>
                <a:gdLst>
                  <a:gd name="connsiteX0" fmla="*/ 1765268 w 1818294"/>
                  <a:gd name="connsiteY0" fmla="*/ 239173 h 1722596"/>
                  <a:gd name="connsiteX1" fmla="*/ 1816703 w 1818294"/>
                  <a:gd name="connsiteY1" fmla="*/ 102965 h 1722596"/>
                  <a:gd name="connsiteX2" fmla="*/ 1794129 w 1818294"/>
                  <a:gd name="connsiteY2" fmla="*/ 70295 h 1722596"/>
                  <a:gd name="connsiteX3" fmla="*/ 1520762 w 1818294"/>
                  <a:gd name="connsiteY3" fmla="*/ 70295 h 1722596"/>
                  <a:gd name="connsiteX4" fmla="*/ 1520762 w 1818294"/>
                  <a:gd name="connsiteY4" fmla="*/ 54769 h 1722596"/>
                  <a:gd name="connsiteX5" fmla="*/ 1465993 w 1818294"/>
                  <a:gd name="connsiteY5" fmla="*/ 0 h 1722596"/>
                  <a:gd name="connsiteX6" fmla="*/ 1411224 w 1818294"/>
                  <a:gd name="connsiteY6" fmla="*/ 54769 h 1722596"/>
                  <a:gd name="connsiteX7" fmla="*/ 1411224 w 1818294"/>
                  <a:gd name="connsiteY7" fmla="*/ 668560 h 1722596"/>
                  <a:gd name="connsiteX8" fmla="*/ 1182624 w 1818294"/>
                  <a:gd name="connsiteY8" fmla="*/ 668560 h 1722596"/>
                  <a:gd name="connsiteX9" fmla="*/ 1106900 w 1818294"/>
                  <a:gd name="connsiteY9" fmla="*/ 744188 h 1722596"/>
                  <a:gd name="connsiteX10" fmla="*/ 1106900 w 1818294"/>
                  <a:gd name="connsiteY10" fmla="*/ 945928 h 1722596"/>
                  <a:gd name="connsiteX11" fmla="*/ 694182 w 1818294"/>
                  <a:gd name="connsiteY11" fmla="*/ 945928 h 1722596"/>
                  <a:gd name="connsiteX12" fmla="*/ 618554 w 1818294"/>
                  <a:gd name="connsiteY12" fmla="*/ 1021652 h 1722596"/>
                  <a:gd name="connsiteX13" fmla="*/ 618554 w 1818294"/>
                  <a:gd name="connsiteY13" fmla="*/ 1223296 h 1722596"/>
                  <a:gd name="connsiteX14" fmla="*/ 205835 w 1818294"/>
                  <a:gd name="connsiteY14" fmla="*/ 1223296 h 1722596"/>
                  <a:gd name="connsiteX15" fmla="*/ 130112 w 1818294"/>
                  <a:gd name="connsiteY15" fmla="*/ 1299020 h 1722596"/>
                  <a:gd name="connsiteX16" fmla="*/ 130112 w 1818294"/>
                  <a:gd name="connsiteY16" fmla="*/ 1500759 h 1722596"/>
                  <a:gd name="connsiteX17" fmla="*/ 74962 w 1818294"/>
                  <a:gd name="connsiteY17" fmla="*/ 1500759 h 1722596"/>
                  <a:gd name="connsiteX18" fmla="*/ 0 w 1818294"/>
                  <a:gd name="connsiteY18" fmla="*/ 1575721 h 1722596"/>
                  <a:gd name="connsiteX19" fmla="*/ 0 w 1818294"/>
                  <a:gd name="connsiteY19" fmla="*/ 1647539 h 1722596"/>
                  <a:gd name="connsiteX20" fmla="*/ 74962 w 1818294"/>
                  <a:gd name="connsiteY20" fmla="*/ 1722596 h 1722596"/>
                  <a:gd name="connsiteX21" fmla="*/ 1705261 w 1818294"/>
                  <a:gd name="connsiteY21" fmla="*/ 1722596 h 1722596"/>
                  <a:gd name="connsiteX22" fmla="*/ 1780223 w 1818294"/>
                  <a:gd name="connsiteY22" fmla="*/ 1647539 h 1722596"/>
                  <a:gd name="connsiteX23" fmla="*/ 1780223 w 1818294"/>
                  <a:gd name="connsiteY23" fmla="*/ 1575721 h 1722596"/>
                  <a:gd name="connsiteX24" fmla="*/ 1705261 w 1818294"/>
                  <a:gd name="connsiteY24" fmla="*/ 1500759 h 1722596"/>
                  <a:gd name="connsiteX25" fmla="*/ 1650111 w 1818294"/>
                  <a:gd name="connsiteY25" fmla="*/ 1500759 h 1722596"/>
                  <a:gd name="connsiteX26" fmla="*/ 1650111 w 1818294"/>
                  <a:gd name="connsiteY26" fmla="*/ 744188 h 1722596"/>
                  <a:gd name="connsiteX27" fmla="*/ 1574387 w 1818294"/>
                  <a:gd name="connsiteY27" fmla="*/ 668560 h 1722596"/>
                  <a:gd name="connsiteX28" fmla="*/ 1520762 w 1818294"/>
                  <a:gd name="connsiteY28" fmla="*/ 668560 h 1722596"/>
                  <a:gd name="connsiteX29" fmla="*/ 1520762 w 1818294"/>
                  <a:gd name="connsiteY29" fmla="*/ 408146 h 1722596"/>
                  <a:gd name="connsiteX30" fmla="*/ 1794129 w 1818294"/>
                  <a:gd name="connsiteY30" fmla="*/ 408146 h 1722596"/>
                  <a:gd name="connsiteX31" fmla="*/ 1816703 w 1818294"/>
                  <a:gd name="connsiteY31" fmla="*/ 375380 h 1722596"/>
                  <a:gd name="connsiteX32" fmla="*/ 1765268 w 1818294"/>
                  <a:gd name="connsiteY32" fmla="*/ 239173 h 1722596"/>
                  <a:gd name="connsiteX33" fmla="*/ 1595342 w 1818294"/>
                  <a:gd name="connsiteY33" fmla="*/ 744188 h 1722596"/>
                  <a:gd name="connsiteX34" fmla="*/ 1595342 w 1818294"/>
                  <a:gd name="connsiteY34" fmla="*/ 1500759 h 1722596"/>
                  <a:gd name="connsiteX35" fmla="*/ 1161669 w 1818294"/>
                  <a:gd name="connsiteY35" fmla="*/ 1500759 h 1722596"/>
                  <a:gd name="connsiteX36" fmla="*/ 1161669 w 1818294"/>
                  <a:gd name="connsiteY36" fmla="*/ 945928 h 1722596"/>
                  <a:gd name="connsiteX37" fmla="*/ 1161669 w 1818294"/>
                  <a:gd name="connsiteY37" fmla="*/ 744188 h 1722596"/>
                  <a:gd name="connsiteX38" fmla="*/ 1182624 w 1818294"/>
                  <a:gd name="connsiteY38" fmla="*/ 723329 h 1722596"/>
                  <a:gd name="connsiteX39" fmla="*/ 1418654 w 1818294"/>
                  <a:gd name="connsiteY39" fmla="*/ 723329 h 1722596"/>
                  <a:gd name="connsiteX40" fmla="*/ 1513427 w 1818294"/>
                  <a:gd name="connsiteY40" fmla="*/ 723329 h 1722596"/>
                  <a:gd name="connsiteX41" fmla="*/ 1574387 w 1818294"/>
                  <a:gd name="connsiteY41" fmla="*/ 723329 h 1722596"/>
                  <a:gd name="connsiteX42" fmla="*/ 1595342 w 1818294"/>
                  <a:gd name="connsiteY42" fmla="*/ 744188 h 1722596"/>
                  <a:gd name="connsiteX43" fmla="*/ 1725454 w 1818294"/>
                  <a:gd name="connsiteY43" fmla="*/ 1575721 h 1722596"/>
                  <a:gd name="connsiteX44" fmla="*/ 1725454 w 1818294"/>
                  <a:gd name="connsiteY44" fmla="*/ 1647539 h 1722596"/>
                  <a:gd name="connsiteX45" fmla="*/ 1705261 w 1818294"/>
                  <a:gd name="connsiteY45" fmla="*/ 1667828 h 1722596"/>
                  <a:gd name="connsiteX46" fmla="*/ 74962 w 1818294"/>
                  <a:gd name="connsiteY46" fmla="*/ 1667828 h 1722596"/>
                  <a:gd name="connsiteX47" fmla="*/ 54769 w 1818294"/>
                  <a:gd name="connsiteY47" fmla="*/ 1647539 h 1722596"/>
                  <a:gd name="connsiteX48" fmla="*/ 54769 w 1818294"/>
                  <a:gd name="connsiteY48" fmla="*/ 1575721 h 1722596"/>
                  <a:gd name="connsiteX49" fmla="*/ 74962 w 1818294"/>
                  <a:gd name="connsiteY49" fmla="*/ 1555528 h 1722596"/>
                  <a:gd name="connsiteX50" fmla="*/ 1705261 w 1818294"/>
                  <a:gd name="connsiteY50" fmla="*/ 1555528 h 1722596"/>
                  <a:gd name="connsiteX51" fmla="*/ 1725454 w 1818294"/>
                  <a:gd name="connsiteY51" fmla="*/ 1575721 h 1722596"/>
                  <a:gd name="connsiteX52" fmla="*/ 184880 w 1818294"/>
                  <a:gd name="connsiteY52" fmla="*/ 1299020 h 1722596"/>
                  <a:gd name="connsiteX53" fmla="*/ 205835 w 1818294"/>
                  <a:gd name="connsiteY53" fmla="*/ 1278065 h 1722596"/>
                  <a:gd name="connsiteX54" fmla="*/ 618554 w 1818294"/>
                  <a:gd name="connsiteY54" fmla="*/ 1278065 h 1722596"/>
                  <a:gd name="connsiteX55" fmla="*/ 618554 w 1818294"/>
                  <a:gd name="connsiteY55" fmla="*/ 1500759 h 1722596"/>
                  <a:gd name="connsiteX56" fmla="*/ 184880 w 1818294"/>
                  <a:gd name="connsiteY56" fmla="*/ 1500759 h 1722596"/>
                  <a:gd name="connsiteX57" fmla="*/ 184880 w 1818294"/>
                  <a:gd name="connsiteY57" fmla="*/ 1299020 h 1722596"/>
                  <a:gd name="connsiteX58" fmla="*/ 673322 w 1818294"/>
                  <a:gd name="connsiteY58" fmla="*/ 1223296 h 1722596"/>
                  <a:gd name="connsiteX59" fmla="*/ 673322 w 1818294"/>
                  <a:gd name="connsiteY59" fmla="*/ 1021652 h 1722596"/>
                  <a:gd name="connsiteX60" fmla="*/ 694182 w 1818294"/>
                  <a:gd name="connsiteY60" fmla="*/ 1000696 h 1722596"/>
                  <a:gd name="connsiteX61" fmla="*/ 1106900 w 1818294"/>
                  <a:gd name="connsiteY61" fmla="*/ 1000696 h 1722596"/>
                  <a:gd name="connsiteX62" fmla="*/ 1106900 w 1818294"/>
                  <a:gd name="connsiteY62" fmla="*/ 1500759 h 1722596"/>
                  <a:gd name="connsiteX63" fmla="*/ 673322 w 1818294"/>
                  <a:gd name="connsiteY63" fmla="*/ 1500759 h 1722596"/>
                  <a:gd name="connsiteX64" fmla="*/ 673322 w 1818294"/>
                  <a:gd name="connsiteY64" fmla="*/ 1223296 h 172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18294" h="1722596">
                    <a:moveTo>
                      <a:pt x="1765268" y="239173"/>
                    </a:moveTo>
                    <a:lnTo>
                      <a:pt x="1816703" y="102965"/>
                    </a:lnTo>
                    <a:cubicBezTo>
                      <a:pt x="1822704" y="87154"/>
                      <a:pt x="1810988" y="70295"/>
                      <a:pt x="1794129" y="70295"/>
                    </a:cubicBezTo>
                    <a:lnTo>
                      <a:pt x="1520762" y="70295"/>
                    </a:lnTo>
                    <a:lnTo>
                      <a:pt x="1520762" y="54769"/>
                    </a:lnTo>
                    <a:cubicBezTo>
                      <a:pt x="1520762" y="24574"/>
                      <a:pt x="1496282" y="0"/>
                      <a:pt x="1465993" y="0"/>
                    </a:cubicBezTo>
                    <a:cubicBezTo>
                      <a:pt x="1435799" y="0"/>
                      <a:pt x="1411224" y="24574"/>
                      <a:pt x="1411224" y="54769"/>
                    </a:cubicBezTo>
                    <a:lnTo>
                      <a:pt x="1411224" y="668560"/>
                    </a:lnTo>
                    <a:lnTo>
                      <a:pt x="1182624" y="668560"/>
                    </a:lnTo>
                    <a:cubicBezTo>
                      <a:pt x="1140905" y="668560"/>
                      <a:pt x="1106900" y="702469"/>
                      <a:pt x="1106900" y="744188"/>
                    </a:cubicBezTo>
                    <a:lnTo>
                      <a:pt x="1106900" y="945928"/>
                    </a:lnTo>
                    <a:lnTo>
                      <a:pt x="694182" y="945928"/>
                    </a:lnTo>
                    <a:cubicBezTo>
                      <a:pt x="652463" y="945928"/>
                      <a:pt x="618554" y="979932"/>
                      <a:pt x="618554" y="1021652"/>
                    </a:cubicBezTo>
                    <a:lnTo>
                      <a:pt x="618554" y="1223296"/>
                    </a:lnTo>
                    <a:lnTo>
                      <a:pt x="205835" y="1223296"/>
                    </a:lnTo>
                    <a:cubicBezTo>
                      <a:pt x="164116" y="1223296"/>
                      <a:pt x="130112" y="1257300"/>
                      <a:pt x="130112" y="1299020"/>
                    </a:cubicBezTo>
                    <a:lnTo>
                      <a:pt x="130112" y="1500759"/>
                    </a:lnTo>
                    <a:lnTo>
                      <a:pt x="74962" y="1500759"/>
                    </a:lnTo>
                    <a:cubicBezTo>
                      <a:pt x="33623" y="1500759"/>
                      <a:pt x="0" y="1534382"/>
                      <a:pt x="0" y="1575721"/>
                    </a:cubicBezTo>
                    <a:lnTo>
                      <a:pt x="0" y="1647539"/>
                    </a:lnTo>
                    <a:cubicBezTo>
                      <a:pt x="0" y="1688973"/>
                      <a:pt x="33623" y="1722596"/>
                      <a:pt x="74962" y="1722596"/>
                    </a:cubicBezTo>
                    <a:lnTo>
                      <a:pt x="1705261" y="1722596"/>
                    </a:lnTo>
                    <a:cubicBezTo>
                      <a:pt x="1746599" y="1722596"/>
                      <a:pt x="1780223" y="1688973"/>
                      <a:pt x="1780223" y="1647539"/>
                    </a:cubicBezTo>
                    <a:lnTo>
                      <a:pt x="1780223" y="1575721"/>
                    </a:lnTo>
                    <a:cubicBezTo>
                      <a:pt x="1780223" y="1534382"/>
                      <a:pt x="1746599" y="1500759"/>
                      <a:pt x="1705261" y="1500759"/>
                    </a:cubicBezTo>
                    <a:lnTo>
                      <a:pt x="1650111" y="1500759"/>
                    </a:lnTo>
                    <a:lnTo>
                      <a:pt x="1650111" y="744188"/>
                    </a:lnTo>
                    <a:cubicBezTo>
                      <a:pt x="1650111" y="702469"/>
                      <a:pt x="1616107" y="668560"/>
                      <a:pt x="1574387" y="668560"/>
                    </a:cubicBezTo>
                    <a:lnTo>
                      <a:pt x="1520762" y="668560"/>
                    </a:lnTo>
                    <a:lnTo>
                      <a:pt x="1520762" y="408146"/>
                    </a:lnTo>
                    <a:lnTo>
                      <a:pt x="1794129" y="408146"/>
                    </a:lnTo>
                    <a:cubicBezTo>
                      <a:pt x="1810988" y="408146"/>
                      <a:pt x="1822704" y="391192"/>
                      <a:pt x="1816703" y="375380"/>
                    </a:cubicBezTo>
                    <a:lnTo>
                      <a:pt x="1765268" y="239173"/>
                    </a:lnTo>
                    <a:close/>
                    <a:moveTo>
                      <a:pt x="1595342" y="744188"/>
                    </a:moveTo>
                    <a:lnTo>
                      <a:pt x="1595342" y="1500759"/>
                    </a:lnTo>
                    <a:lnTo>
                      <a:pt x="1161669" y="1500759"/>
                    </a:lnTo>
                    <a:lnTo>
                      <a:pt x="1161669" y="945928"/>
                    </a:lnTo>
                    <a:lnTo>
                      <a:pt x="1161669" y="744188"/>
                    </a:lnTo>
                    <a:cubicBezTo>
                      <a:pt x="1161669" y="732663"/>
                      <a:pt x="1171099" y="723329"/>
                      <a:pt x="1182624" y="723329"/>
                    </a:cubicBezTo>
                    <a:lnTo>
                      <a:pt x="1418654" y="723329"/>
                    </a:lnTo>
                    <a:lnTo>
                      <a:pt x="1513427" y="723329"/>
                    </a:lnTo>
                    <a:lnTo>
                      <a:pt x="1574387" y="723329"/>
                    </a:lnTo>
                    <a:cubicBezTo>
                      <a:pt x="1585913" y="723329"/>
                      <a:pt x="1595342" y="732663"/>
                      <a:pt x="1595342" y="744188"/>
                    </a:cubicBezTo>
                    <a:close/>
                    <a:moveTo>
                      <a:pt x="1725454" y="1575721"/>
                    </a:moveTo>
                    <a:lnTo>
                      <a:pt x="1725454" y="1647539"/>
                    </a:lnTo>
                    <a:cubicBezTo>
                      <a:pt x="1725454" y="1658779"/>
                      <a:pt x="1716405" y="1667828"/>
                      <a:pt x="1705261" y="1667828"/>
                    </a:cubicBezTo>
                    <a:lnTo>
                      <a:pt x="74962" y="1667828"/>
                    </a:lnTo>
                    <a:cubicBezTo>
                      <a:pt x="63818" y="1667828"/>
                      <a:pt x="54769" y="1658779"/>
                      <a:pt x="54769" y="1647539"/>
                    </a:cubicBezTo>
                    <a:lnTo>
                      <a:pt x="54769" y="1575721"/>
                    </a:lnTo>
                    <a:cubicBezTo>
                      <a:pt x="54769" y="1564577"/>
                      <a:pt x="63818" y="1555528"/>
                      <a:pt x="74962" y="1555528"/>
                    </a:cubicBezTo>
                    <a:lnTo>
                      <a:pt x="1705261" y="1555528"/>
                    </a:lnTo>
                    <a:cubicBezTo>
                      <a:pt x="1716405" y="1555528"/>
                      <a:pt x="1725454" y="1564577"/>
                      <a:pt x="1725454" y="1575721"/>
                    </a:cubicBezTo>
                    <a:close/>
                    <a:moveTo>
                      <a:pt x="184880" y="1299020"/>
                    </a:moveTo>
                    <a:cubicBezTo>
                      <a:pt x="184880" y="1287494"/>
                      <a:pt x="194310" y="1278065"/>
                      <a:pt x="205835" y="1278065"/>
                    </a:cubicBezTo>
                    <a:lnTo>
                      <a:pt x="618554" y="1278065"/>
                    </a:lnTo>
                    <a:lnTo>
                      <a:pt x="618554" y="1500759"/>
                    </a:lnTo>
                    <a:lnTo>
                      <a:pt x="184880" y="1500759"/>
                    </a:lnTo>
                    <a:lnTo>
                      <a:pt x="184880" y="1299020"/>
                    </a:lnTo>
                    <a:close/>
                    <a:moveTo>
                      <a:pt x="673322" y="1223296"/>
                    </a:moveTo>
                    <a:lnTo>
                      <a:pt x="673322" y="1021652"/>
                    </a:lnTo>
                    <a:cubicBezTo>
                      <a:pt x="673322" y="1010126"/>
                      <a:pt x="682657" y="1000696"/>
                      <a:pt x="694182" y="1000696"/>
                    </a:cubicBezTo>
                    <a:lnTo>
                      <a:pt x="1106900" y="1000696"/>
                    </a:lnTo>
                    <a:lnTo>
                      <a:pt x="1106900" y="1500759"/>
                    </a:lnTo>
                    <a:lnTo>
                      <a:pt x="673322" y="1500759"/>
                    </a:lnTo>
                    <a:lnTo>
                      <a:pt x="673322" y="122329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sp>
            <p:nvSpPr>
              <p:cNvPr id="74" name="Freeform 73">
                <a:extLst>
                  <a:ext uri="{FF2B5EF4-FFF2-40B4-BE49-F238E27FC236}">
                    <a16:creationId xmlns:a16="http://schemas.microsoft.com/office/drawing/2014/main" id="{D396DE5A-BE32-CB4D-A677-2DBD4B5EDAAB}"/>
                  </a:ext>
                </a:extLst>
              </p:cNvPr>
              <p:cNvSpPr/>
              <p:nvPr/>
            </p:nvSpPr>
            <p:spPr>
              <a:xfrm>
                <a:off x="5885597" y="-2027544"/>
                <a:ext cx="1027210" cy="759332"/>
              </a:xfrm>
              <a:custGeom>
                <a:avLst/>
                <a:gdLst>
                  <a:gd name="connsiteX0" fmla="*/ 55089 w 1027210"/>
                  <a:gd name="connsiteY0" fmla="*/ 759333 h 759332"/>
                  <a:gd name="connsiteX1" fmla="*/ 76711 w 1027210"/>
                  <a:gd name="connsiteY1" fmla="*/ 754856 h 759332"/>
                  <a:gd name="connsiteX2" fmla="*/ 917673 w 1027210"/>
                  <a:gd name="connsiteY2" fmla="*/ 189548 h 759332"/>
                  <a:gd name="connsiteX3" fmla="*/ 917673 w 1027210"/>
                  <a:gd name="connsiteY3" fmla="*/ 261938 h 759332"/>
                  <a:gd name="connsiteX4" fmla="*/ 972442 w 1027210"/>
                  <a:gd name="connsiteY4" fmla="*/ 316706 h 759332"/>
                  <a:gd name="connsiteX5" fmla="*/ 1027210 w 1027210"/>
                  <a:gd name="connsiteY5" fmla="*/ 261938 h 759332"/>
                  <a:gd name="connsiteX6" fmla="*/ 1027210 w 1027210"/>
                  <a:gd name="connsiteY6" fmla="*/ 54769 h 759332"/>
                  <a:gd name="connsiteX7" fmla="*/ 1027115 w 1027210"/>
                  <a:gd name="connsiteY7" fmla="*/ 52768 h 759332"/>
                  <a:gd name="connsiteX8" fmla="*/ 1027020 w 1027210"/>
                  <a:gd name="connsiteY8" fmla="*/ 51340 h 759332"/>
                  <a:gd name="connsiteX9" fmla="*/ 1025687 w 1027210"/>
                  <a:gd name="connsiteY9" fmla="*/ 42196 h 759332"/>
                  <a:gd name="connsiteX10" fmla="*/ 1025401 w 1027210"/>
                  <a:gd name="connsiteY10" fmla="*/ 41053 h 759332"/>
                  <a:gd name="connsiteX11" fmla="*/ 1022258 w 1027210"/>
                  <a:gd name="connsiteY11" fmla="*/ 32194 h 759332"/>
                  <a:gd name="connsiteX12" fmla="*/ 1021686 w 1027210"/>
                  <a:gd name="connsiteY12" fmla="*/ 31051 h 759332"/>
                  <a:gd name="connsiteX13" fmla="*/ 1016828 w 1027210"/>
                  <a:gd name="connsiteY13" fmla="*/ 22860 h 759332"/>
                  <a:gd name="connsiteX14" fmla="*/ 1016066 w 1027210"/>
                  <a:gd name="connsiteY14" fmla="*/ 21812 h 759332"/>
                  <a:gd name="connsiteX15" fmla="*/ 1009494 w 1027210"/>
                  <a:gd name="connsiteY15" fmla="*/ 14573 h 759332"/>
                  <a:gd name="connsiteX16" fmla="*/ 1009113 w 1027210"/>
                  <a:gd name="connsiteY16" fmla="*/ 14097 h 759332"/>
                  <a:gd name="connsiteX17" fmla="*/ 1008637 w 1027210"/>
                  <a:gd name="connsiteY17" fmla="*/ 13716 h 759332"/>
                  <a:gd name="connsiteX18" fmla="*/ 1000731 w 1027210"/>
                  <a:gd name="connsiteY18" fmla="*/ 7906 h 759332"/>
                  <a:gd name="connsiteX19" fmla="*/ 999683 w 1027210"/>
                  <a:gd name="connsiteY19" fmla="*/ 7334 h 759332"/>
                  <a:gd name="connsiteX20" fmla="*/ 991016 w 1027210"/>
                  <a:gd name="connsiteY20" fmla="*/ 3334 h 759332"/>
                  <a:gd name="connsiteX21" fmla="*/ 989872 w 1027210"/>
                  <a:gd name="connsiteY21" fmla="*/ 2953 h 759332"/>
                  <a:gd name="connsiteX22" fmla="*/ 980729 w 1027210"/>
                  <a:gd name="connsiteY22" fmla="*/ 762 h 759332"/>
                  <a:gd name="connsiteX23" fmla="*/ 979490 w 1027210"/>
                  <a:gd name="connsiteY23" fmla="*/ 571 h 759332"/>
                  <a:gd name="connsiteX24" fmla="*/ 972251 w 1027210"/>
                  <a:gd name="connsiteY24" fmla="*/ 0 h 759332"/>
                  <a:gd name="connsiteX25" fmla="*/ 764987 w 1027210"/>
                  <a:gd name="connsiteY25" fmla="*/ 0 h 759332"/>
                  <a:gd name="connsiteX26" fmla="*/ 710219 w 1027210"/>
                  <a:gd name="connsiteY26" fmla="*/ 54769 h 759332"/>
                  <a:gd name="connsiteX27" fmla="*/ 764987 w 1027210"/>
                  <a:gd name="connsiteY27" fmla="*/ 109538 h 759332"/>
                  <a:gd name="connsiteX28" fmla="*/ 842807 w 1027210"/>
                  <a:gd name="connsiteY28" fmla="*/ 109538 h 759332"/>
                  <a:gd name="connsiteX29" fmla="*/ 33086 w 1027210"/>
                  <a:gd name="connsiteY29" fmla="*/ 654368 h 759332"/>
                  <a:gd name="connsiteX30" fmla="*/ 4511 w 1027210"/>
                  <a:gd name="connsiteY30" fmla="*/ 726377 h 759332"/>
                  <a:gd name="connsiteX31" fmla="*/ 55089 w 1027210"/>
                  <a:gd name="connsiteY31" fmla="*/ 759333 h 75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27210" h="759332">
                    <a:moveTo>
                      <a:pt x="55089" y="759333"/>
                    </a:moveTo>
                    <a:cubicBezTo>
                      <a:pt x="62328" y="759333"/>
                      <a:pt x="69662" y="757904"/>
                      <a:pt x="76711" y="754856"/>
                    </a:cubicBezTo>
                    <a:cubicBezTo>
                      <a:pt x="363699" y="631127"/>
                      <a:pt x="686596" y="412528"/>
                      <a:pt x="917673" y="189548"/>
                    </a:cubicBezTo>
                    <a:lnTo>
                      <a:pt x="917673" y="261938"/>
                    </a:lnTo>
                    <a:cubicBezTo>
                      <a:pt x="917673" y="292227"/>
                      <a:pt x="942152" y="316706"/>
                      <a:pt x="972442" y="316706"/>
                    </a:cubicBezTo>
                    <a:cubicBezTo>
                      <a:pt x="1002731" y="316706"/>
                      <a:pt x="1027210" y="292227"/>
                      <a:pt x="1027210" y="261938"/>
                    </a:cubicBezTo>
                    <a:lnTo>
                      <a:pt x="1027210" y="54769"/>
                    </a:lnTo>
                    <a:cubicBezTo>
                      <a:pt x="1027210" y="54102"/>
                      <a:pt x="1027115" y="53435"/>
                      <a:pt x="1027115" y="52768"/>
                    </a:cubicBezTo>
                    <a:cubicBezTo>
                      <a:pt x="1027115" y="52292"/>
                      <a:pt x="1027115" y="51816"/>
                      <a:pt x="1027020" y="51340"/>
                    </a:cubicBezTo>
                    <a:cubicBezTo>
                      <a:pt x="1026830" y="48196"/>
                      <a:pt x="1026353" y="45148"/>
                      <a:pt x="1025687" y="42196"/>
                    </a:cubicBezTo>
                    <a:cubicBezTo>
                      <a:pt x="1025591" y="41815"/>
                      <a:pt x="1025496" y="41434"/>
                      <a:pt x="1025401" y="41053"/>
                    </a:cubicBezTo>
                    <a:cubicBezTo>
                      <a:pt x="1024639" y="38005"/>
                      <a:pt x="1023591" y="35052"/>
                      <a:pt x="1022258" y="32194"/>
                    </a:cubicBezTo>
                    <a:cubicBezTo>
                      <a:pt x="1022067" y="31814"/>
                      <a:pt x="1021876" y="31432"/>
                      <a:pt x="1021686" y="31051"/>
                    </a:cubicBezTo>
                    <a:cubicBezTo>
                      <a:pt x="1020353" y="28194"/>
                      <a:pt x="1018733" y="25432"/>
                      <a:pt x="1016828" y="22860"/>
                    </a:cubicBezTo>
                    <a:cubicBezTo>
                      <a:pt x="1016542" y="22479"/>
                      <a:pt x="1016352" y="22193"/>
                      <a:pt x="1016066" y="21812"/>
                    </a:cubicBezTo>
                    <a:cubicBezTo>
                      <a:pt x="1014066" y="19240"/>
                      <a:pt x="1011875" y="16764"/>
                      <a:pt x="1009494" y="14573"/>
                    </a:cubicBezTo>
                    <a:cubicBezTo>
                      <a:pt x="1009304" y="14478"/>
                      <a:pt x="1009208" y="14288"/>
                      <a:pt x="1009113" y="14097"/>
                    </a:cubicBezTo>
                    <a:cubicBezTo>
                      <a:pt x="1008922" y="14002"/>
                      <a:pt x="1008827" y="13906"/>
                      <a:pt x="1008637" y="13716"/>
                    </a:cubicBezTo>
                    <a:cubicBezTo>
                      <a:pt x="1006160" y="11525"/>
                      <a:pt x="1003493" y="9620"/>
                      <a:pt x="1000731" y="7906"/>
                    </a:cubicBezTo>
                    <a:cubicBezTo>
                      <a:pt x="1000350" y="7715"/>
                      <a:pt x="1000064" y="7525"/>
                      <a:pt x="999683" y="7334"/>
                    </a:cubicBezTo>
                    <a:cubicBezTo>
                      <a:pt x="996921" y="5715"/>
                      <a:pt x="994063" y="4381"/>
                      <a:pt x="991016" y="3334"/>
                    </a:cubicBezTo>
                    <a:cubicBezTo>
                      <a:pt x="990634" y="3239"/>
                      <a:pt x="990254" y="3048"/>
                      <a:pt x="989872" y="2953"/>
                    </a:cubicBezTo>
                    <a:cubicBezTo>
                      <a:pt x="986920" y="2000"/>
                      <a:pt x="983872" y="1238"/>
                      <a:pt x="980729" y="762"/>
                    </a:cubicBezTo>
                    <a:cubicBezTo>
                      <a:pt x="980347" y="667"/>
                      <a:pt x="979871" y="667"/>
                      <a:pt x="979490" y="571"/>
                    </a:cubicBezTo>
                    <a:cubicBezTo>
                      <a:pt x="977109" y="286"/>
                      <a:pt x="974728" y="0"/>
                      <a:pt x="972251" y="0"/>
                    </a:cubicBezTo>
                    <a:lnTo>
                      <a:pt x="764987" y="0"/>
                    </a:lnTo>
                    <a:cubicBezTo>
                      <a:pt x="734698" y="0"/>
                      <a:pt x="710219" y="24479"/>
                      <a:pt x="710219" y="54769"/>
                    </a:cubicBezTo>
                    <a:cubicBezTo>
                      <a:pt x="710219" y="85058"/>
                      <a:pt x="734698" y="109538"/>
                      <a:pt x="764987" y="109538"/>
                    </a:cubicBezTo>
                    <a:lnTo>
                      <a:pt x="842807" y="109538"/>
                    </a:lnTo>
                    <a:cubicBezTo>
                      <a:pt x="621065" y="324136"/>
                      <a:pt x="309787" y="535019"/>
                      <a:pt x="33086" y="654368"/>
                    </a:cubicBezTo>
                    <a:cubicBezTo>
                      <a:pt x="5273" y="666369"/>
                      <a:pt x="-7490" y="698563"/>
                      <a:pt x="4511" y="726377"/>
                    </a:cubicBezTo>
                    <a:cubicBezTo>
                      <a:pt x="13655" y="746951"/>
                      <a:pt x="33848" y="759333"/>
                      <a:pt x="55089" y="759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75" name="Freeform 74">
              <a:extLst>
                <a:ext uri="{FF2B5EF4-FFF2-40B4-BE49-F238E27FC236}">
                  <a16:creationId xmlns:a16="http://schemas.microsoft.com/office/drawing/2014/main" id="{2BDDFA69-885C-F943-AB9A-246F36FEA138}"/>
                </a:ext>
              </a:extLst>
            </p:cNvPr>
            <p:cNvSpPr/>
            <p:nvPr/>
          </p:nvSpPr>
          <p:spPr>
            <a:xfrm>
              <a:off x="6914046" y="-2127271"/>
              <a:ext cx="666" cy="285"/>
            </a:xfrm>
            <a:custGeom>
              <a:avLst/>
              <a:gdLst>
                <a:gd name="connsiteX0" fmla="*/ 0 w 666"/>
                <a:gd name="connsiteY0" fmla="*/ 0 h 285"/>
                <a:gd name="connsiteX1" fmla="*/ 95 w 666"/>
                <a:gd name="connsiteY1" fmla="*/ 95 h 285"/>
                <a:gd name="connsiteX2" fmla="*/ 667 w 666"/>
                <a:gd name="connsiteY2" fmla="*/ 286 h 285"/>
              </a:gdLst>
              <a:ahLst/>
              <a:cxnLst>
                <a:cxn ang="0">
                  <a:pos x="connsiteX0" y="connsiteY0"/>
                </a:cxn>
                <a:cxn ang="0">
                  <a:pos x="connsiteX1" y="connsiteY1"/>
                </a:cxn>
                <a:cxn ang="0">
                  <a:pos x="connsiteX2" y="connsiteY2"/>
                </a:cxn>
              </a:cxnLst>
              <a:rect l="l" t="t" r="r" b="b"/>
              <a:pathLst>
                <a:path w="666" h="285">
                  <a:moveTo>
                    <a:pt x="0" y="0"/>
                  </a:moveTo>
                  <a:lnTo>
                    <a:pt x="95" y="95"/>
                  </a:lnTo>
                  <a:lnTo>
                    <a:pt x="667" y="28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Tree>
    <p:custDataLst>
      <p:tags r:id="rId1"/>
    </p:custDataLst>
    <p:extLst>
      <p:ext uri="{BB962C8B-B14F-4D97-AF65-F5344CB8AC3E}">
        <p14:creationId xmlns:p14="http://schemas.microsoft.com/office/powerpoint/2010/main" val="332565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fade">
                                      <p:cBhvr>
                                        <p:cTn id="7" dur="500"/>
                                        <p:tgtEl>
                                          <p:spTgt spid="121"/>
                                        </p:tgtEl>
                                      </p:cBhvr>
                                    </p:animEffect>
                                  </p:childTnLst>
                                </p:cTn>
                              </p:par>
                              <p:par>
                                <p:cTn id="8" presetID="10" presetClass="entr" presetSubtype="0" fill="hold" nodeType="withEffect">
                                  <p:stCondLst>
                                    <p:cond delay="0"/>
                                  </p:stCondLst>
                                  <p:childTnLst>
                                    <p:set>
                                      <p:cBhvr>
                                        <p:cTn id="9" dur="1" fill="hold">
                                          <p:stCondLst>
                                            <p:cond delay="0"/>
                                          </p:stCondLst>
                                        </p:cTn>
                                        <p:tgtEl>
                                          <p:spTgt spid="71"/>
                                        </p:tgtEl>
                                        <p:attrNameLst>
                                          <p:attrName>style.visibility</p:attrName>
                                        </p:attrNameLst>
                                      </p:cBhvr>
                                      <p:to>
                                        <p:strVal val="visible"/>
                                      </p:to>
                                    </p:set>
                                    <p:animEffect transition="in" filter="fade">
                                      <p:cBhvr>
                                        <p:cTn id="10" dur="500"/>
                                        <p:tgtEl>
                                          <p:spTgt spid="71"/>
                                        </p:tgtEl>
                                      </p:cBhvr>
                                    </p:animEffect>
                                  </p:childTnLst>
                                </p:cTn>
                              </p:par>
                              <p:par>
                                <p:cTn id="11" presetID="10"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animEffect transition="in" filter="fade">
                                      <p:cBhvr>
                                        <p:cTn id="13" dur="500"/>
                                        <p:tgtEl>
                                          <p:spTgt spid="68"/>
                                        </p:tgtEl>
                                      </p:cBhvr>
                                    </p:animEffect>
                                  </p:childTnLst>
                                </p:cTn>
                              </p:par>
                              <p:par>
                                <p:cTn id="14" presetID="10" presetClass="entr" presetSubtype="0" fill="hold" nodeType="withEffect">
                                  <p:stCondLst>
                                    <p:cond delay="0"/>
                                  </p:stCondLst>
                                  <p:childTnLst>
                                    <p:set>
                                      <p:cBhvr>
                                        <p:cTn id="15" dur="1" fill="hold">
                                          <p:stCondLst>
                                            <p:cond delay="0"/>
                                          </p:stCondLst>
                                        </p:cTn>
                                        <p:tgtEl>
                                          <p:spTgt spid="78"/>
                                        </p:tgtEl>
                                        <p:attrNameLst>
                                          <p:attrName>style.visibility</p:attrName>
                                        </p:attrNameLst>
                                      </p:cBhvr>
                                      <p:to>
                                        <p:strVal val="visible"/>
                                      </p:to>
                                    </p:set>
                                    <p:animEffect transition="in" filter="fade">
                                      <p:cBhvr>
                                        <p:cTn id="16" dur="500"/>
                                        <p:tgtEl>
                                          <p:spTgt spid="78"/>
                                        </p:tgtEl>
                                      </p:cBhvr>
                                    </p:animEffect>
                                  </p:childTnLst>
                                </p:cTn>
                              </p:par>
                              <p:par>
                                <p:cTn id="17" presetID="10" presetClass="entr" presetSubtype="0" fill="hold" nodeType="with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fade">
                                      <p:cBhvr>
                                        <p:cTn id="25"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p:bldP spid="5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860D5A-278E-437D-B02D-4D2C0F716CE7}"/>
              </a:ext>
            </a:extLst>
          </p:cNvPr>
          <p:cNvSpPr>
            <a:spLocks noGrp="1"/>
          </p:cNvSpPr>
          <p:nvPr>
            <p:ph type="title"/>
          </p:nvPr>
        </p:nvSpPr>
        <p:spPr>
          <a:xfrm>
            <a:off x="1543050" y="-872181"/>
            <a:ext cx="12039600" cy="5444181"/>
          </a:xfrm>
        </p:spPr>
        <p:txBody>
          <a:bodyPr>
            <a:normAutofit/>
          </a:bodyPr>
          <a:lstStyle/>
          <a:p>
            <a:pPr algn="ctr"/>
            <a:r>
              <a:rPr lang="en-US" sz="4800"/>
              <a:t>Area Council Liaison Role</a:t>
            </a:r>
          </a:p>
        </p:txBody>
      </p:sp>
      <p:pic>
        <p:nvPicPr>
          <p:cNvPr id="4" name="Picture 3">
            <a:extLst>
              <a:ext uri="{FF2B5EF4-FFF2-40B4-BE49-F238E27FC236}">
                <a16:creationId xmlns:a16="http://schemas.microsoft.com/office/drawing/2014/main" id="{DAC25212-F635-451F-99D9-D9F95A0564AF}"/>
              </a:ext>
            </a:extLst>
          </p:cNvPr>
          <p:cNvPicPr>
            <a:picLocks noChangeAspect="1"/>
          </p:cNvPicPr>
          <p:nvPr/>
        </p:nvPicPr>
        <p:blipFill>
          <a:blip r:embed="rId3"/>
          <a:stretch>
            <a:fillRect/>
          </a:stretch>
        </p:blipFill>
        <p:spPr>
          <a:xfrm>
            <a:off x="9440145" y="301228"/>
            <a:ext cx="2518691" cy="1762349"/>
          </a:xfrm>
          <a:prstGeom prst="rect">
            <a:avLst/>
          </a:prstGeom>
        </p:spPr>
      </p:pic>
    </p:spTree>
    <p:extLst>
      <p:ext uri="{BB962C8B-B14F-4D97-AF65-F5344CB8AC3E}">
        <p14:creationId xmlns:p14="http://schemas.microsoft.com/office/powerpoint/2010/main" val="3657665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550F4-95A9-4C8C-B23D-7F7C139300DA}"/>
              </a:ext>
            </a:extLst>
          </p:cNvPr>
          <p:cNvSpPr>
            <a:spLocks noGrp="1"/>
          </p:cNvSpPr>
          <p:nvPr>
            <p:ph type="title"/>
          </p:nvPr>
        </p:nvSpPr>
        <p:spPr>
          <a:xfrm>
            <a:off x="95410" y="1431326"/>
            <a:ext cx="3202220" cy="5257800"/>
          </a:xfrm>
        </p:spPr>
        <p:txBody>
          <a:bodyPr/>
          <a:lstStyle/>
          <a:p>
            <a:pPr algn="ctr"/>
            <a:r>
              <a:rPr lang="en-US"/>
              <a:t>Area Council Liaison</a:t>
            </a:r>
            <a:br>
              <a:rPr lang="en-US"/>
            </a:br>
            <a:endParaRPr lang="en-US"/>
          </a:p>
        </p:txBody>
      </p:sp>
      <p:pic>
        <p:nvPicPr>
          <p:cNvPr id="8" name="Picture 7">
            <a:extLst>
              <a:ext uri="{FF2B5EF4-FFF2-40B4-BE49-F238E27FC236}">
                <a16:creationId xmlns:a16="http://schemas.microsoft.com/office/drawing/2014/main" id="{9C765A57-D492-448B-B563-D291E04B3BF7}"/>
              </a:ext>
            </a:extLst>
          </p:cNvPr>
          <p:cNvPicPr>
            <a:picLocks noChangeAspect="1"/>
          </p:cNvPicPr>
          <p:nvPr/>
        </p:nvPicPr>
        <p:blipFill>
          <a:blip r:embed="rId3"/>
          <a:stretch>
            <a:fillRect/>
          </a:stretch>
        </p:blipFill>
        <p:spPr>
          <a:xfrm>
            <a:off x="606014" y="496956"/>
            <a:ext cx="2256626" cy="1578980"/>
          </a:xfrm>
          <a:prstGeom prst="rect">
            <a:avLst/>
          </a:prstGeom>
        </p:spPr>
      </p:pic>
      <p:sp>
        <p:nvSpPr>
          <p:cNvPr id="6" name="Content Placeholder 2">
            <a:extLst>
              <a:ext uri="{FF2B5EF4-FFF2-40B4-BE49-F238E27FC236}">
                <a16:creationId xmlns:a16="http://schemas.microsoft.com/office/drawing/2014/main" id="{F289969D-7A6D-4165-9C7D-B448A8387C45}"/>
              </a:ext>
            </a:extLst>
          </p:cNvPr>
          <p:cNvSpPr>
            <a:spLocks noGrp="1"/>
          </p:cNvSpPr>
          <p:nvPr>
            <p:ph idx="1"/>
          </p:nvPr>
        </p:nvSpPr>
        <p:spPr>
          <a:xfrm>
            <a:off x="3474674" y="231598"/>
            <a:ext cx="8111312" cy="6178378"/>
          </a:xfrm>
        </p:spPr>
        <p:txBody>
          <a:bodyPr anchor="ctr">
            <a:normAutofit/>
          </a:bodyPr>
          <a:lstStyle/>
          <a:p>
            <a:pPr marL="0" indent="0">
              <a:buNone/>
            </a:pPr>
            <a:r>
              <a:rPr lang="en-US" sz="3200" b="0">
                <a:solidFill>
                  <a:schemeClr val="bg2"/>
                </a:solidFill>
              </a:rPr>
              <a:t>The Area Council Liaison (ACL) has the direct responsibility for serving as conduit between the local organization and the greater Boys &amp; Girls Club Movement. </a:t>
            </a:r>
          </a:p>
          <a:p>
            <a:pPr marL="0" indent="0">
              <a:buNone/>
            </a:pPr>
            <a:endParaRPr lang="en-US" sz="3200" b="0">
              <a:solidFill>
                <a:schemeClr val="bg2"/>
              </a:solidFill>
            </a:endParaRPr>
          </a:p>
          <a:p>
            <a:pPr marL="0" indent="0">
              <a:buNone/>
            </a:pPr>
            <a:r>
              <a:rPr lang="en-US" sz="3200" b="0">
                <a:solidFill>
                  <a:schemeClr val="bg2"/>
                </a:solidFill>
              </a:rPr>
              <a:t>Area Council Liaisons working in Area Councils initiate and review ideas, suggestions and proposals for National Council ultimate consideration and they take action to support, amend or oppose proposals before the National Council. </a:t>
            </a:r>
          </a:p>
          <a:p>
            <a:endParaRPr lang="en-US" sz="1800"/>
          </a:p>
        </p:txBody>
      </p:sp>
    </p:spTree>
    <p:extLst>
      <p:ext uri="{BB962C8B-B14F-4D97-AF65-F5344CB8AC3E}">
        <p14:creationId xmlns:p14="http://schemas.microsoft.com/office/powerpoint/2010/main" val="12788412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0517DD-EB72-45B5-8BD1-725217DB67B2}"/>
              </a:ext>
            </a:extLst>
          </p:cNvPr>
          <p:cNvSpPr>
            <a:spLocks noGrp="1"/>
          </p:cNvSpPr>
          <p:nvPr>
            <p:ph type="title"/>
          </p:nvPr>
        </p:nvSpPr>
        <p:spPr>
          <a:xfrm>
            <a:off x="330387" y="26577"/>
            <a:ext cx="11429999" cy="891902"/>
          </a:xfrm>
        </p:spPr>
        <p:txBody>
          <a:bodyPr>
            <a:normAutofit fontScale="90000"/>
          </a:bodyPr>
          <a:lstStyle/>
          <a:p>
            <a:pPr algn="ctr"/>
            <a:r>
              <a:rPr lang="en-US"/>
              <a:t>Why is your Area Council Liaison role important?</a:t>
            </a:r>
          </a:p>
        </p:txBody>
      </p:sp>
      <p:sp>
        <p:nvSpPr>
          <p:cNvPr id="2" name="Content Placeholder 1">
            <a:extLst>
              <a:ext uri="{FF2B5EF4-FFF2-40B4-BE49-F238E27FC236}">
                <a16:creationId xmlns:a16="http://schemas.microsoft.com/office/drawing/2014/main" id="{D007B235-6390-4ACD-8564-8189B9B26A06}"/>
              </a:ext>
            </a:extLst>
          </p:cNvPr>
          <p:cNvSpPr>
            <a:spLocks noGrp="1"/>
          </p:cNvSpPr>
          <p:nvPr>
            <p:ph sz="half" idx="1"/>
          </p:nvPr>
        </p:nvSpPr>
        <p:spPr>
          <a:xfrm>
            <a:off x="537410" y="995119"/>
            <a:ext cx="11430000" cy="396798"/>
          </a:xfrm>
        </p:spPr>
        <p:txBody>
          <a:bodyPr>
            <a:normAutofit fontScale="25000" lnSpcReduction="20000"/>
          </a:bodyPr>
          <a:lstStyle/>
          <a:p>
            <a:pPr marL="0" indent="0">
              <a:buNone/>
            </a:pPr>
            <a:r>
              <a:rPr lang="en-US" sz="9600"/>
              <a:t>Your engagement with Leadership at the local, state, and national level brings:</a:t>
            </a:r>
          </a:p>
          <a:p>
            <a:pPr marL="0" indent="0">
              <a:buNone/>
            </a:pPr>
            <a:r>
              <a:rPr lang="en-US"/>
              <a:t>:</a:t>
            </a:r>
          </a:p>
        </p:txBody>
      </p:sp>
      <p:grpSp>
        <p:nvGrpSpPr>
          <p:cNvPr id="38" name="Group 37">
            <a:extLst>
              <a:ext uri="{FF2B5EF4-FFF2-40B4-BE49-F238E27FC236}">
                <a16:creationId xmlns:a16="http://schemas.microsoft.com/office/drawing/2014/main" id="{4EF91CFC-3088-A249-9AFB-FF65678927F9}"/>
              </a:ext>
            </a:extLst>
          </p:cNvPr>
          <p:cNvGrpSpPr/>
          <p:nvPr/>
        </p:nvGrpSpPr>
        <p:grpSpPr>
          <a:xfrm>
            <a:off x="151215" y="2136267"/>
            <a:ext cx="2198038" cy="1246864"/>
            <a:chOff x="1378207" y="3497567"/>
            <a:chExt cx="4797399" cy="2482779"/>
          </a:xfrm>
        </p:grpSpPr>
        <p:pic>
          <p:nvPicPr>
            <p:cNvPr id="29" name="Picture 28">
              <a:extLst>
                <a:ext uri="{FF2B5EF4-FFF2-40B4-BE49-F238E27FC236}">
                  <a16:creationId xmlns:a16="http://schemas.microsoft.com/office/drawing/2014/main" id="{2B618DDC-65FB-9848-A3C9-C8822FBFA5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8072" y="3497567"/>
              <a:ext cx="1657660" cy="1649841"/>
            </a:xfrm>
            <a:prstGeom prst="rect">
              <a:avLst/>
            </a:prstGeom>
          </p:spPr>
        </p:pic>
        <p:sp>
          <p:nvSpPr>
            <p:cNvPr id="33" name="Rectangle 32">
              <a:extLst>
                <a:ext uri="{FF2B5EF4-FFF2-40B4-BE49-F238E27FC236}">
                  <a16:creationId xmlns:a16="http://schemas.microsoft.com/office/drawing/2014/main" id="{74975A29-85A8-4A4E-8D34-87F998328010}"/>
                </a:ext>
              </a:extLst>
            </p:cNvPr>
            <p:cNvSpPr/>
            <p:nvPr/>
          </p:nvSpPr>
          <p:spPr>
            <a:xfrm>
              <a:off x="1378207" y="5244925"/>
              <a:ext cx="4797399" cy="73542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Strategic Thinking</a:t>
              </a:r>
            </a:p>
          </p:txBody>
        </p:sp>
      </p:grpSp>
      <p:grpSp>
        <p:nvGrpSpPr>
          <p:cNvPr id="41" name="Group 40">
            <a:extLst>
              <a:ext uri="{FF2B5EF4-FFF2-40B4-BE49-F238E27FC236}">
                <a16:creationId xmlns:a16="http://schemas.microsoft.com/office/drawing/2014/main" id="{8687B296-B501-9048-8C7A-ED7710FBB3BD}"/>
              </a:ext>
            </a:extLst>
          </p:cNvPr>
          <p:cNvGrpSpPr/>
          <p:nvPr/>
        </p:nvGrpSpPr>
        <p:grpSpPr>
          <a:xfrm>
            <a:off x="678964" y="3987740"/>
            <a:ext cx="1318814" cy="1156532"/>
            <a:chOff x="4977748" y="2403522"/>
            <a:chExt cx="2236510" cy="2103632"/>
          </a:xfrm>
        </p:grpSpPr>
        <p:pic>
          <p:nvPicPr>
            <p:cNvPr id="25" name="Picture 24">
              <a:extLst>
                <a:ext uri="{FF2B5EF4-FFF2-40B4-BE49-F238E27FC236}">
                  <a16:creationId xmlns:a16="http://schemas.microsoft.com/office/drawing/2014/main" id="{1458F355-B646-0043-8678-1C02A7817D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1073" y="2403522"/>
              <a:ext cx="1548192" cy="1657660"/>
            </a:xfrm>
            <a:prstGeom prst="rect">
              <a:avLst/>
            </a:prstGeom>
          </p:spPr>
        </p:pic>
        <p:sp>
          <p:nvSpPr>
            <p:cNvPr id="34" name="Rectangle 33">
              <a:extLst>
                <a:ext uri="{FF2B5EF4-FFF2-40B4-BE49-F238E27FC236}">
                  <a16:creationId xmlns:a16="http://schemas.microsoft.com/office/drawing/2014/main" id="{CFA380D6-724C-4247-9845-E11321627863}"/>
                </a:ext>
              </a:extLst>
            </p:cNvPr>
            <p:cNvSpPr/>
            <p:nvPr/>
          </p:nvSpPr>
          <p:spPr>
            <a:xfrm>
              <a:off x="4977748" y="4137822"/>
              <a:ext cx="2236510"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People Leadership</a:t>
              </a:r>
              <a:endParaRPr kumimoji="0" lang="en-US" sz="18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20" name="Content Placeholder 2">
            <a:extLst>
              <a:ext uri="{FF2B5EF4-FFF2-40B4-BE49-F238E27FC236}">
                <a16:creationId xmlns:a16="http://schemas.microsoft.com/office/drawing/2014/main" id="{5168663B-E85C-49D2-B7B1-36B3D65A6C5F}"/>
              </a:ext>
            </a:extLst>
          </p:cNvPr>
          <p:cNvSpPr txBox="1">
            <a:spLocks/>
          </p:cNvSpPr>
          <p:nvPr/>
        </p:nvSpPr>
        <p:spPr>
          <a:xfrm>
            <a:off x="2552808" y="1389707"/>
            <a:ext cx="9414602" cy="6178378"/>
          </a:xfrm>
          <a:prstGeom prst="rect">
            <a:avLst/>
          </a:prstGeom>
        </p:spPr>
        <p:txBody>
          <a:bodyPr vert="horz" lIns="0" tIns="0" rIns="0" bIns="0" rtlCol="0" anchor="ctr">
            <a:norm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b="1" i="0" kern="1200">
                <a:solidFill>
                  <a:schemeClr val="accent1">
                    <a:lumMod val="50000"/>
                  </a:schemeClr>
                </a:solidFill>
                <a:latin typeface="Arial" panose="020B0604020202020204" pitchFamily="34" charset="0"/>
                <a:ea typeface="+mn-ea"/>
                <a:cs typeface="Arial" panose="020B0604020202020204" pitchFamily="34" charset="0"/>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i="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b="1" i="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sz="2400" b="0">
                <a:solidFill>
                  <a:schemeClr val="bg2"/>
                </a:solidFill>
              </a:rPr>
              <a:t>Engage and provide feedback to BGCA on important strategic initiatives and changes to membership </a:t>
            </a:r>
          </a:p>
          <a:p>
            <a:endParaRPr lang="en-US" sz="2400" b="0">
              <a:solidFill>
                <a:schemeClr val="bg2"/>
              </a:solidFill>
            </a:endParaRPr>
          </a:p>
          <a:p>
            <a:endParaRPr lang="en-US" sz="2400" b="0">
              <a:solidFill>
                <a:schemeClr val="bg2"/>
              </a:solidFill>
            </a:endParaRPr>
          </a:p>
          <a:p>
            <a:r>
              <a:rPr lang="en-US" sz="2400" b="0">
                <a:solidFill>
                  <a:schemeClr val="bg2"/>
                </a:solidFill>
              </a:rPr>
              <a:t>Promote, attend and participate in the annual meeting of the Area Council as well as actively recruiting other board members from their local organization to engage in the meetings and events </a:t>
            </a:r>
          </a:p>
          <a:p>
            <a:r>
              <a:rPr lang="en-US" sz="2400" b="0">
                <a:solidFill>
                  <a:schemeClr val="bg2"/>
                </a:solidFill>
              </a:rPr>
              <a:t>Plan for an organized succession to the ACL position prior to their departure</a:t>
            </a:r>
          </a:p>
          <a:p>
            <a:endParaRPr lang="en-US" sz="2400" b="0">
              <a:solidFill>
                <a:schemeClr val="bg2"/>
              </a:solidFill>
            </a:endParaRPr>
          </a:p>
          <a:p>
            <a:endParaRPr lang="en-US" sz="1900"/>
          </a:p>
        </p:txBody>
      </p:sp>
    </p:spTree>
    <p:extLst>
      <p:ext uri="{BB962C8B-B14F-4D97-AF65-F5344CB8AC3E}">
        <p14:creationId xmlns:p14="http://schemas.microsoft.com/office/powerpoint/2010/main" val="10014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70517DD-EB72-45B5-8BD1-725217DB67B2}"/>
              </a:ext>
            </a:extLst>
          </p:cNvPr>
          <p:cNvSpPr>
            <a:spLocks noGrp="1"/>
          </p:cNvSpPr>
          <p:nvPr>
            <p:ph type="title"/>
          </p:nvPr>
        </p:nvSpPr>
        <p:spPr>
          <a:xfrm>
            <a:off x="330387" y="26577"/>
            <a:ext cx="11429999" cy="891902"/>
          </a:xfrm>
        </p:spPr>
        <p:txBody>
          <a:bodyPr>
            <a:normAutofit fontScale="90000"/>
          </a:bodyPr>
          <a:lstStyle/>
          <a:p>
            <a:pPr algn="ctr"/>
            <a:r>
              <a:rPr lang="en-US"/>
              <a:t>Why is your Area Council Liaison role important?</a:t>
            </a:r>
          </a:p>
        </p:txBody>
      </p:sp>
      <p:sp>
        <p:nvSpPr>
          <p:cNvPr id="2" name="Content Placeholder 1">
            <a:extLst>
              <a:ext uri="{FF2B5EF4-FFF2-40B4-BE49-F238E27FC236}">
                <a16:creationId xmlns:a16="http://schemas.microsoft.com/office/drawing/2014/main" id="{D007B235-6390-4ACD-8564-8189B9B26A06}"/>
              </a:ext>
            </a:extLst>
          </p:cNvPr>
          <p:cNvSpPr>
            <a:spLocks noGrp="1"/>
          </p:cNvSpPr>
          <p:nvPr>
            <p:ph sz="half" idx="1"/>
          </p:nvPr>
        </p:nvSpPr>
        <p:spPr>
          <a:xfrm>
            <a:off x="537410" y="995119"/>
            <a:ext cx="11430000" cy="396798"/>
          </a:xfrm>
        </p:spPr>
        <p:txBody>
          <a:bodyPr>
            <a:normAutofit fontScale="25000" lnSpcReduction="20000"/>
          </a:bodyPr>
          <a:lstStyle/>
          <a:p>
            <a:pPr marL="0" indent="0">
              <a:buNone/>
            </a:pPr>
            <a:r>
              <a:rPr lang="en-US" sz="9600"/>
              <a:t>Your engagement with Leadership at the local, state, and national level brings:</a:t>
            </a:r>
          </a:p>
          <a:p>
            <a:pPr marL="0" indent="0">
              <a:buNone/>
            </a:pPr>
            <a:r>
              <a:rPr lang="en-US"/>
              <a:t>:</a:t>
            </a:r>
          </a:p>
        </p:txBody>
      </p:sp>
      <p:grpSp>
        <p:nvGrpSpPr>
          <p:cNvPr id="39" name="Group 38">
            <a:extLst>
              <a:ext uri="{FF2B5EF4-FFF2-40B4-BE49-F238E27FC236}">
                <a16:creationId xmlns:a16="http://schemas.microsoft.com/office/drawing/2014/main" id="{25C465DA-2FC3-BB4B-B0E6-BC6CC4350119}"/>
              </a:ext>
            </a:extLst>
          </p:cNvPr>
          <p:cNvGrpSpPr/>
          <p:nvPr/>
        </p:nvGrpSpPr>
        <p:grpSpPr>
          <a:xfrm>
            <a:off x="254525" y="1692903"/>
            <a:ext cx="2103663" cy="1157968"/>
            <a:chOff x="5713471" y="3497567"/>
            <a:chExt cx="5130472" cy="2477205"/>
          </a:xfrm>
        </p:grpSpPr>
        <p:pic>
          <p:nvPicPr>
            <p:cNvPr id="31" name="Picture 30">
              <a:extLst>
                <a:ext uri="{FF2B5EF4-FFF2-40B4-BE49-F238E27FC236}">
                  <a16:creationId xmlns:a16="http://schemas.microsoft.com/office/drawing/2014/main" id="{CCF4EEC8-1124-5646-B60B-E2D2B73114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4606" y="3497567"/>
              <a:ext cx="1548192" cy="1649841"/>
            </a:xfrm>
            <a:prstGeom prst="rect">
              <a:avLst/>
            </a:prstGeom>
          </p:spPr>
        </p:pic>
        <p:sp>
          <p:nvSpPr>
            <p:cNvPr id="35" name="Rectangle 34">
              <a:extLst>
                <a:ext uri="{FF2B5EF4-FFF2-40B4-BE49-F238E27FC236}">
                  <a16:creationId xmlns:a16="http://schemas.microsoft.com/office/drawing/2014/main" id="{0D3A3B78-AFEF-2A44-8CFD-789C024DFA76}"/>
                </a:ext>
              </a:extLst>
            </p:cNvPr>
            <p:cNvSpPr/>
            <p:nvPr/>
          </p:nvSpPr>
          <p:spPr>
            <a:xfrm>
              <a:off x="5713471" y="5244925"/>
              <a:ext cx="5130472" cy="72984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Accessing Networks</a:t>
              </a:r>
              <a:endParaRPr kumimoji="0" lang="en-US" sz="16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grpSp>
        <p:nvGrpSpPr>
          <p:cNvPr id="40" name="Group 39">
            <a:extLst>
              <a:ext uri="{FF2B5EF4-FFF2-40B4-BE49-F238E27FC236}">
                <a16:creationId xmlns:a16="http://schemas.microsoft.com/office/drawing/2014/main" id="{A0C6D827-8A7D-C548-8746-981DCDE63934}"/>
              </a:ext>
            </a:extLst>
          </p:cNvPr>
          <p:cNvGrpSpPr/>
          <p:nvPr/>
        </p:nvGrpSpPr>
        <p:grpSpPr>
          <a:xfrm>
            <a:off x="254525" y="4901704"/>
            <a:ext cx="1854429" cy="1188170"/>
            <a:chOff x="8929831" y="2403522"/>
            <a:chExt cx="3246467" cy="2295050"/>
          </a:xfrm>
        </p:grpSpPr>
        <p:pic>
          <p:nvPicPr>
            <p:cNvPr id="27" name="Picture 26">
              <a:extLst>
                <a:ext uri="{FF2B5EF4-FFF2-40B4-BE49-F238E27FC236}">
                  <a16:creationId xmlns:a16="http://schemas.microsoft.com/office/drawing/2014/main" id="{A037E637-E5A9-844D-9414-D67B610719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28140" y="2403522"/>
              <a:ext cx="1649841" cy="1657660"/>
            </a:xfrm>
            <a:prstGeom prst="rect">
              <a:avLst/>
            </a:prstGeom>
          </p:spPr>
        </p:pic>
        <p:sp>
          <p:nvSpPr>
            <p:cNvPr id="36" name="Rectangle 35">
              <a:extLst>
                <a:ext uri="{FF2B5EF4-FFF2-40B4-BE49-F238E27FC236}">
                  <a16:creationId xmlns:a16="http://schemas.microsoft.com/office/drawing/2014/main" id="{BAFECBCA-B281-0844-9707-599074AB1DBD}"/>
                </a:ext>
              </a:extLst>
            </p:cNvPr>
            <p:cNvSpPr/>
            <p:nvPr/>
          </p:nvSpPr>
          <p:spPr>
            <a:xfrm>
              <a:off x="8929831" y="4137821"/>
              <a:ext cx="3246467" cy="56075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Results Leadership</a:t>
              </a:r>
              <a:endParaRPr kumimoji="0" lang="en-US" sz="1600" b="0" i="0" u="none" strike="noStrike" kern="1200" cap="none" spc="0" normalizeH="0" baseline="0" noProof="0">
                <a:ln>
                  <a:noFill/>
                </a:ln>
                <a:solidFill>
                  <a:srgbClr val="0398DA"/>
                </a:solidFill>
                <a:effectLst/>
                <a:uLnTx/>
                <a:uFillTx/>
                <a:latin typeface="Corbel" panose="020B0503020204020204"/>
                <a:ea typeface="+mn-ea"/>
                <a:cs typeface="+mn-cs"/>
              </a:endParaRPr>
            </a:p>
          </p:txBody>
        </p:sp>
      </p:grpSp>
      <p:sp>
        <p:nvSpPr>
          <p:cNvPr id="19" name="Content Placeholder 2">
            <a:extLst>
              <a:ext uri="{FF2B5EF4-FFF2-40B4-BE49-F238E27FC236}">
                <a16:creationId xmlns:a16="http://schemas.microsoft.com/office/drawing/2014/main" id="{9925C8FF-2A6E-49AC-96A6-C48DF1DC8A9A}"/>
              </a:ext>
            </a:extLst>
          </p:cNvPr>
          <p:cNvSpPr txBox="1">
            <a:spLocks/>
          </p:cNvSpPr>
          <p:nvPr/>
        </p:nvSpPr>
        <p:spPr>
          <a:xfrm>
            <a:off x="2647543" y="1609643"/>
            <a:ext cx="9544457" cy="6178378"/>
          </a:xfrm>
          <a:prstGeom prst="rect">
            <a:avLst/>
          </a:prstGeom>
        </p:spPr>
        <p:txBody>
          <a:bodyPr vert="horz" lIns="0" tIns="0" rIns="0" bIns="0" rtlCol="0" anchor="ctr">
            <a:norm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b="1" i="0" kern="1200">
                <a:solidFill>
                  <a:schemeClr val="accent1">
                    <a:lumMod val="50000"/>
                  </a:schemeClr>
                </a:solidFill>
                <a:latin typeface="Arial" panose="020B0604020202020204" pitchFamily="34" charset="0"/>
                <a:ea typeface="+mn-ea"/>
                <a:cs typeface="Arial" panose="020B0604020202020204" pitchFamily="34" charset="0"/>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i="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b="1" i="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b="0">
                <a:solidFill>
                  <a:schemeClr val="bg2"/>
                </a:solidFill>
              </a:rPr>
              <a:t>Engage in quarterly meetings using technology and face to face with other ACL members in their designated Area Council</a:t>
            </a:r>
          </a:p>
          <a:p>
            <a:pPr marL="0" indent="0">
              <a:buNone/>
            </a:pPr>
            <a:endParaRPr lang="en-US" sz="1600" b="0">
              <a:solidFill>
                <a:schemeClr val="bg2"/>
              </a:solidFill>
            </a:endParaRPr>
          </a:p>
          <a:p>
            <a:r>
              <a:rPr lang="en-US" b="0">
                <a:solidFill>
                  <a:schemeClr val="bg2"/>
                </a:solidFill>
              </a:rPr>
              <a:t>Attend the annual planning meeting of his/her Area Council, presenting the ideas and suggestions of their Club for consideration on the program of the next Area Council meeting</a:t>
            </a:r>
          </a:p>
          <a:p>
            <a:r>
              <a:rPr lang="en-US" b="0">
                <a:solidFill>
                  <a:schemeClr val="bg2"/>
                </a:solidFill>
              </a:rPr>
              <a:t>Ensure that their Club reviews, discusses and adopts a formal position on issues of Boys &amp; Girls Clubs of America governance which may be voted on from time to time</a:t>
            </a:r>
          </a:p>
          <a:p>
            <a:endParaRPr lang="en-US" sz="1600" b="0">
              <a:solidFill>
                <a:schemeClr val="bg2"/>
              </a:solidFill>
            </a:endParaRPr>
          </a:p>
          <a:p>
            <a:r>
              <a:rPr lang="en-US" b="0">
                <a:solidFill>
                  <a:schemeClr val="bg2"/>
                </a:solidFill>
              </a:rPr>
              <a:t>Promote attendance and participation in National Council discussions by members of their local board of directors or other governing body</a:t>
            </a:r>
          </a:p>
          <a:p>
            <a:r>
              <a:rPr lang="en-US" b="0">
                <a:solidFill>
                  <a:schemeClr val="bg2"/>
                </a:solidFill>
              </a:rPr>
              <a:t>Provide at least quarterly reports on Area Council activities at their Club board meetings</a:t>
            </a:r>
          </a:p>
          <a:p>
            <a:pPr marL="0" indent="0">
              <a:buNone/>
            </a:pPr>
            <a:endParaRPr lang="en-US" sz="2400" b="0">
              <a:solidFill>
                <a:schemeClr val="bg2"/>
              </a:solidFill>
            </a:endParaRPr>
          </a:p>
          <a:p>
            <a:endParaRPr lang="en-US" sz="2400" b="0">
              <a:solidFill>
                <a:schemeClr val="bg2"/>
              </a:solidFill>
            </a:endParaRPr>
          </a:p>
          <a:p>
            <a:endParaRPr lang="en-US" sz="1900"/>
          </a:p>
        </p:txBody>
      </p:sp>
      <p:grpSp>
        <p:nvGrpSpPr>
          <p:cNvPr id="20" name="Group 19">
            <a:extLst>
              <a:ext uri="{FF2B5EF4-FFF2-40B4-BE49-F238E27FC236}">
                <a16:creationId xmlns:a16="http://schemas.microsoft.com/office/drawing/2014/main" id="{1D0A1A1E-3040-40F0-A9E3-E5A525B0ED38}"/>
              </a:ext>
            </a:extLst>
          </p:cNvPr>
          <p:cNvGrpSpPr/>
          <p:nvPr/>
        </p:nvGrpSpPr>
        <p:grpSpPr>
          <a:xfrm>
            <a:off x="205044" y="3268837"/>
            <a:ext cx="2154757" cy="1106552"/>
            <a:chOff x="-884736" y="2403522"/>
            <a:chExt cx="4766753" cy="2498826"/>
          </a:xfrm>
        </p:grpSpPr>
        <p:pic>
          <p:nvPicPr>
            <p:cNvPr id="21" name="Picture 20">
              <a:extLst>
                <a:ext uri="{FF2B5EF4-FFF2-40B4-BE49-F238E27FC236}">
                  <a16:creationId xmlns:a16="http://schemas.microsoft.com/office/drawing/2014/main" id="{0245066D-465B-4D6C-B366-BEE977ACA9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4539" y="2403522"/>
              <a:ext cx="1548192" cy="1657660"/>
            </a:xfrm>
            <a:prstGeom prst="rect">
              <a:avLst/>
            </a:prstGeom>
          </p:spPr>
        </p:pic>
        <p:sp>
          <p:nvSpPr>
            <p:cNvPr id="22" name="Rectangle 21">
              <a:extLst>
                <a:ext uri="{FF2B5EF4-FFF2-40B4-BE49-F238E27FC236}">
                  <a16:creationId xmlns:a16="http://schemas.microsoft.com/office/drawing/2014/main" id="{C76FD131-4581-42E0-99A0-1A027FFBEFEC}"/>
                </a:ext>
              </a:extLst>
            </p:cNvPr>
            <p:cNvSpPr/>
            <p:nvPr/>
          </p:nvSpPr>
          <p:spPr>
            <a:xfrm>
              <a:off x="-884736" y="4137822"/>
              <a:ext cx="4766753" cy="76452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B98"/>
                  </a:solidFill>
                  <a:effectLst/>
                  <a:uLnTx/>
                  <a:uFillTx/>
                  <a:latin typeface="Arial" panose="020B0604020202020204" pitchFamily="34" charset="0"/>
                  <a:ea typeface="+mn-ea"/>
                  <a:cs typeface="Arial" panose="020B0604020202020204" pitchFamily="34" charset="0"/>
                </a:rPr>
                <a:t>Thought Leadership</a:t>
              </a:r>
            </a:p>
          </p:txBody>
        </p:sp>
      </p:grpSp>
    </p:spTree>
    <p:extLst>
      <p:ext uri="{BB962C8B-B14F-4D97-AF65-F5344CB8AC3E}">
        <p14:creationId xmlns:p14="http://schemas.microsoft.com/office/powerpoint/2010/main" val="10023268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550F4-95A9-4C8C-B23D-7F7C139300DA}"/>
              </a:ext>
            </a:extLst>
          </p:cNvPr>
          <p:cNvSpPr>
            <a:spLocks noGrp="1"/>
          </p:cNvSpPr>
          <p:nvPr>
            <p:ph type="title"/>
          </p:nvPr>
        </p:nvSpPr>
        <p:spPr>
          <a:xfrm>
            <a:off x="95410" y="1431326"/>
            <a:ext cx="3202220" cy="5257800"/>
          </a:xfrm>
        </p:spPr>
        <p:txBody>
          <a:bodyPr/>
          <a:lstStyle/>
          <a:p>
            <a:pPr algn="ctr"/>
            <a:br>
              <a:rPr lang="en-US"/>
            </a:br>
            <a:br>
              <a:rPr lang="en-US"/>
            </a:br>
            <a:r>
              <a:rPr lang="en-US"/>
              <a:t>Your Impact as an Area Council Liaison</a:t>
            </a:r>
            <a:br>
              <a:rPr lang="en-US"/>
            </a:br>
            <a:br>
              <a:rPr lang="en-US"/>
            </a:br>
            <a:endParaRPr lang="en-US"/>
          </a:p>
        </p:txBody>
      </p:sp>
      <p:pic>
        <p:nvPicPr>
          <p:cNvPr id="8" name="Picture 7">
            <a:extLst>
              <a:ext uri="{FF2B5EF4-FFF2-40B4-BE49-F238E27FC236}">
                <a16:creationId xmlns:a16="http://schemas.microsoft.com/office/drawing/2014/main" id="{9C765A57-D492-448B-B563-D291E04B3BF7}"/>
              </a:ext>
            </a:extLst>
          </p:cNvPr>
          <p:cNvPicPr>
            <a:picLocks noChangeAspect="1"/>
          </p:cNvPicPr>
          <p:nvPr/>
        </p:nvPicPr>
        <p:blipFill>
          <a:blip r:embed="rId3"/>
          <a:stretch>
            <a:fillRect/>
          </a:stretch>
        </p:blipFill>
        <p:spPr>
          <a:xfrm>
            <a:off x="606014" y="496956"/>
            <a:ext cx="2256626" cy="1578980"/>
          </a:xfrm>
          <a:prstGeom prst="rect">
            <a:avLst/>
          </a:prstGeom>
        </p:spPr>
      </p:pic>
      <p:sp>
        <p:nvSpPr>
          <p:cNvPr id="10" name="Pentagon 5">
            <a:extLst>
              <a:ext uri="{FF2B5EF4-FFF2-40B4-BE49-F238E27FC236}">
                <a16:creationId xmlns:a16="http://schemas.microsoft.com/office/drawing/2014/main" id="{C69746BD-C310-4C4F-B2D8-646B6420DD16}"/>
              </a:ext>
            </a:extLst>
          </p:cNvPr>
          <p:cNvSpPr/>
          <p:nvPr/>
        </p:nvSpPr>
        <p:spPr>
          <a:xfrm>
            <a:off x="6096000" y="491694"/>
            <a:ext cx="5003800" cy="369332"/>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trengthen Local Organizations</a:t>
            </a:r>
          </a:p>
        </p:txBody>
      </p:sp>
      <p:sp>
        <p:nvSpPr>
          <p:cNvPr id="12" name="Pentagon 50">
            <a:extLst>
              <a:ext uri="{FF2B5EF4-FFF2-40B4-BE49-F238E27FC236}">
                <a16:creationId xmlns:a16="http://schemas.microsoft.com/office/drawing/2014/main" id="{693C1E49-1962-438E-BBF4-E842BB74A8C5}"/>
              </a:ext>
            </a:extLst>
          </p:cNvPr>
          <p:cNvSpPr/>
          <p:nvPr/>
        </p:nvSpPr>
        <p:spPr>
          <a:xfrm>
            <a:off x="6095999" y="1638605"/>
            <a:ext cx="4226529" cy="369332"/>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trengthen the Movement</a:t>
            </a:r>
          </a:p>
        </p:txBody>
      </p:sp>
      <p:sp>
        <p:nvSpPr>
          <p:cNvPr id="14" name="Pentagon 5">
            <a:extLst>
              <a:ext uri="{FF2B5EF4-FFF2-40B4-BE49-F238E27FC236}">
                <a16:creationId xmlns:a16="http://schemas.microsoft.com/office/drawing/2014/main" id="{1A8E2438-8BD4-4882-862C-123446DF41CD}"/>
              </a:ext>
            </a:extLst>
          </p:cNvPr>
          <p:cNvSpPr/>
          <p:nvPr/>
        </p:nvSpPr>
        <p:spPr>
          <a:xfrm>
            <a:off x="6096000" y="2779823"/>
            <a:ext cx="5101780" cy="1107996"/>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Improved Communications and Decision Making at Local, State, Regional, &amp; National Level</a:t>
            </a:r>
          </a:p>
        </p:txBody>
      </p:sp>
      <p:sp>
        <p:nvSpPr>
          <p:cNvPr id="15" name="Pentagon 5">
            <a:extLst>
              <a:ext uri="{FF2B5EF4-FFF2-40B4-BE49-F238E27FC236}">
                <a16:creationId xmlns:a16="http://schemas.microsoft.com/office/drawing/2014/main" id="{8D8626C4-CCE4-44E0-8D8D-69F08EB5AA86}"/>
              </a:ext>
            </a:extLst>
          </p:cNvPr>
          <p:cNvSpPr/>
          <p:nvPr/>
        </p:nvSpPr>
        <p:spPr>
          <a:xfrm>
            <a:off x="6095999" y="4850063"/>
            <a:ext cx="5101779" cy="369332"/>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3">
                    <a:lumMod val="50000"/>
                  </a:schemeClr>
                </a:solidFill>
                <a:effectLst/>
                <a:uLnTx/>
                <a:uFillTx/>
                <a:latin typeface="Arial" panose="020B0604020202020204" pitchFamily="34" charset="0"/>
                <a:ea typeface="+mn-ea"/>
                <a:cs typeface="Arial" panose="020B0604020202020204" pitchFamily="34" charset="0"/>
              </a:rPr>
              <a:t>Strong Advocate for Youth</a:t>
            </a:r>
          </a:p>
        </p:txBody>
      </p:sp>
      <p:pic>
        <p:nvPicPr>
          <p:cNvPr id="7" name="Picture 6">
            <a:extLst>
              <a:ext uri="{FF2B5EF4-FFF2-40B4-BE49-F238E27FC236}">
                <a16:creationId xmlns:a16="http://schemas.microsoft.com/office/drawing/2014/main" id="{F14047EF-D389-424C-B491-D49ACB9EBB25}"/>
              </a:ext>
            </a:extLst>
          </p:cNvPr>
          <p:cNvPicPr>
            <a:picLocks noChangeAspect="1"/>
          </p:cNvPicPr>
          <p:nvPr/>
        </p:nvPicPr>
        <p:blipFill>
          <a:blip r:embed="rId4"/>
          <a:stretch>
            <a:fillRect/>
          </a:stretch>
        </p:blipFill>
        <p:spPr>
          <a:xfrm>
            <a:off x="3854426" y="711935"/>
            <a:ext cx="1249788" cy="1438781"/>
          </a:xfrm>
          <a:prstGeom prst="rect">
            <a:avLst/>
          </a:prstGeom>
          <a:solidFill>
            <a:schemeClr val="bg1"/>
          </a:solidFill>
        </p:spPr>
      </p:pic>
      <p:sp>
        <p:nvSpPr>
          <p:cNvPr id="17" name="Freeform 23">
            <a:extLst>
              <a:ext uri="{FF2B5EF4-FFF2-40B4-BE49-F238E27FC236}">
                <a16:creationId xmlns:a16="http://schemas.microsoft.com/office/drawing/2014/main" id="{D6D2AA0C-DF53-4486-905F-FAD8A21B4609}"/>
              </a:ext>
            </a:extLst>
          </p:cNvPr>
          <p:cNvSpPr/>
          <p:nvPr/>
        </p:nvSpPr>
        <p:spPr>
          <a:xfrm>
            <a:off x="3913105" y="4764058"/>
            <a:ext cx="1191109" cy="842903"/>
          </a:xfrm>
          <a:custGeom>
            <a:avLst/>
            <a:gdLst>
              <a:gd name="connsiteX0" fmla="*/ 221694 w 853201"/>
              <a:gd name="connsiteY0" fmla="*/ 0 h 603778"/>
              <a:gd name="connsiteX1" fmla="*/ 120729 w 853201"/>
              <a:gd name="connsiteY1" fmla="*/ 100157 h 603778"/>
              <a:gd name="connsiteX2" fmla="*/ 221694 w 853201"/>
              <a:gd name="connsiteY2" fmla="*/ 200315 h 603778"/>
              <a:gd name="connsiteX3" fmla="*/ 322659 w 853201"/>
              <a:gd name="connsiteY3" fmla="*/ 100157 h 603778"/>
              <a:gd name="connsiteX4" fmla="*/ 221694 w 853201"/>
              <a:gd name="connsiteY4" fmla="*/ 0 h 603778"/>
              <a:gd name="connsiteX5" fmla="*/ 636032 w 853201"/>
              <a:gd name="connsiteY5" fmla="*/ 0 h 603778"/>
              <a:gd name="connsiteX6" fmla="*/ 535067 w 853201"/>
              <a:gd name="connsiteY6" fmla="*/ 100157 h 603778"/>
              <a:gd name="connsiteX7" fmla="*/ 636032 w 853201"/>
              <a:gd name="connsiteY7" fmla="*/ 200315 h 603778"/>
              <a:gd name="connsiteX8" fmla="*/ 736997 w 853201"/>
              <a:gd name="connsiteY8" fmla="*/ 100157 h 603778"/>
              <a:gd name="connsiteX9" fmla="*/ 636032 w 853201"/>
              <a:gd name="connsiteY9" fmla="*/ 0 h 603778"/>
              <a:gd name="connsiteX10" fmla="*/ 17859 w 853201"/>
              <a:gd name="connsiteY10" fmla="*/ 158740 h 603778"/>
              <a:gd name="connsiteX11" fmla="*/ 17859 w 853201"/>
              <a:gd name="connsiteY11" fmla="*/ 158740 h 603778"/>
              <a:gd name="connsiteX12" fmla="*/ 17859 w 853201"/>
              <a:gd name="connsiteY12" fmla="*/ 242834 h 603778"/>
              <a:gd name="connsiteX13" fmla="*/ 100727 w 853201"/>
              <a:gd name="connsiteY13" fmla="*/ 325039 h 603778"/>
              <a:gd name="connsiteX14" fmla="*/ 100727 w 853201"/>
              <a:gd name="connsiteY14" fmla="*/ 464881 h 603778"/>
              <a:gd name="connsiteX15" fmla="*/ 100727 w 853201"/>
              <a:gd name="connsiteY15" fmla="*/ 551810 h 603778"/>
              <a:gd name="connsiteX16" fmla="*/ 153114 w 853201"/>
              <a:gd name="connsiteY16" fmla="*/ 603778 h 603778"/>
              <a:gd name="connsiteX17" fmla="*/ 153114 w 853201"/>
              <a:gd name="connsiteY17" fmla="*/ 603778 h 603778"/>
              <a:gd name="connsiteX18" fmla="*/ 205502 w 853201"/>
              <a:gd name="connsiteY18" fmla="*/ 551810 h 603778"/>
              <a:gd name="connsiteX19" fmla="*/ 205502 w 853201"/>
              <a:gd name="connsiteY19" fmla="*/ 493227 h 603778"/>
              <a:gd name="connsiteX20" fmla="*/ 236934 w 853201"/>
              <a:gd name="connsiteY20" fmla="*/ 493227 h 603778"/>
              <a:gd name="connsiteX21" fmla="*/ 236934 w 853201"/>
              <a:gd name="connsiteY21" fmla="*/ 551810 h 603778"/>
              <a:gd name="connsiteX22" fmla="*/ 289322 w 853201"/>
              <a:gd name="connsiteY22" fmla="*/ 603778 h 603778"/>
              <a:gd name="connsiteX23" fmla="*/ 289322 w 853201"/>
              <a:gd name="connsiteY23" fmla="*/ 603778 h 603778"/>
              <a:gd name="connsiteX24" fmla="*/ 341709 w 853201"/>
              <a:gd name="connsiteY24" fmla="*/ 551810 h 603778"/>
              <a:gd name="connsiteX25" fmla="*/ 341709 w 853201"/>
              <a:gd name="connsiteY25" fmla="*/ 467716 h 603778"/>
              <a:gd name="connsiteX26" fmla="*/ 341709 w 853201"/>
              <a:gd name="connsiteY26" fmla="*/ 465826 h 603778"/>
              <a:gd name="connsiteX27" fmla="*/ 341709 w 853201"/>
              <a:gd name="connsiteY27" fmla="*/ 325039 h 603778"/>
              <a:gd name="connsiteX28" fmla="*/ 427434 w 853201"/>
              <a:gd name="connsiteY28" fmla="*/ 240000 h 603778"/>
              <a:gd name="connsiteX29" fmla="*/ 509349 w 853201"/>
              <a:gd name="connsiteY29" fmla="*/ 321259 h 603778"/>
              <a:gd name="connsiteX30" fmla="*/ 463629 w 853201"/>
              <a:gd name="connsiteY30" fmla="*/ 456377 h 603778"/>
              <a:gd name="connsiteX31" fmla="*/ 480774 w 853201"/>
              <a:gd name="connsiteY31" fmla="*/ 491338 h 603778"/>
              <a:gd name="connsiteX32" fmla="*/ 489347 w 853201"/>
              <a:gd name="connsiteY32" fmla="*/ 492282 h 603778"/>
              <a:gd name="connsiteX33" fmla="*/ 512207 w 853201"/>
              <a:gd name="connsiteY33" fmla="*/ 492282 h 603778"/>
              <a:gd name="connsiteX34" fmla="*/ 512207 w 853201"/>
              <a:gd name="connsiteY34" fmla="*/ 550865 h 603778"/>
              <a:gd name="connsiteX35" fmla="*/ 564594 w 853201"/>
              <a:gd name="connsiteY35" fmla="*/ 602834 h 603778"/>
              <a:gd name="connsiteX36" fmla="*/ 564594 w 853201"/>
              <a:gd name="connsiteY36" fmla="*/ 602834 h 603778"/>
              <a:gd name="connsiteX37" fmla="*/ 616982 w 853201"/>
              <a:gd name="connsiteY37" fmla="*/ 550865 h 603778"/>
              <a:gd name="connsiteX38" fmla="*/ 616982 w 853201"/>
              <a:gd name="connsiteY38" fmla="*/ 492282 h 603778"/>
              <a:gd name="connsiteX39" fmla="*/ 648414 w 853201"/>
              <a:gd name="connsiteY39" fmla="*/ 492282 h 603778"/>
              <a:gd name="connsiteX40" fmla="*/ 648414 w 853201"/>
              <a:gd name="connsiteY40" fmla="*/ 550865 h 603778"/>
              <a:gd name="connsiteX41" fmla="*/ 700802 w 853201"/>
              <a:gd name="connsiteY41" fmla="*/ 602834 h 603778"/>
              <a:gd name="connsiteX42" fmla="*/ 700802 w 853201"/>
              <a:gd name="connsiteY42" fmla="*/ 602834 h 603778"/>
              <a:gd name="connsiteX43" fmla="*/ 753189 w 853201"/>
              <a:gd name="connsiteY43" fmla="*/ 550865 h 603778"/>
              <a:gd name="connsiteX44" fmla="*/ 753189 w 853201"/>
              <a:gd name="connsiteY44" fmla="*/ 492282 h 603778"/>
              <a:gd name="connsiteX45" fmla="*/ 776049 w 853201"/>
              <a:gd name="connsiteY45" fmla="*/ 492282 h 603778"/>
              <a:gd name="connsiteX46" fmla="*/ 803672 w 853201"/>
              <a:gd name="connsiteY46" fmla="*/ 464881 h 603778"/>
              <a:gd name="connsiteX47" fmla="*/ 802719 w 853201"/>
              <a:gd name="connsiteY47" fmla="*/ 456377 h 603778"/>
              <a:gd name="connsiteX48" fmla="*/ 756999 w 853201"/>
              <a:gd name="connsiteY48" fmla="*/ 321259 h 603778"/>
              <a:gd name="connsiteX49" fmla="*/ 836057 w 853201"/>
              <a:gd name="connsiteY49" fmla="*/ 242834 h 603778"/>
              <a:gd name="connsiteX50" fmla="*/ 836057 w 853201"/>
              <a:gd name="connsiteY50" fmla="*/ 159685 h 603778"/>
              <a:gd name="connsiteX51" fmla="*/ 835104 w 853201"/>
              <a:gd name="connsiteY51" fmla="*/ 158740 h 603778"/>
              <a:gd name="connsiteX52" fmla="*/ 752237 w 853201"/>
              <a:gd name="connsiteY52" fmla="*/ 158740 h 603778"/>
              <a:gd name="connsiteX53" fmla="*/ 675084 w 853201"/>
              <a:gd name="connsiteY53" fmla="*/ 235275 h 603778"/>
              <a:gd name="connsiteX54" fmla="*/ 593169 w 853201"/>
              <a:gd name="connsiteY54" fmla="*/ 235275 h 603778"/>
              <a:gd name="connsiteX55" fmla="*/ 517922 w 853201"/>
              <a:gd name="connsiteY55" fmla="*/ 159685 h 603778"/>
              <a:gd name="connsiteX56" fmla="*/ 433149 w 853201"/>
              <a:gd name="connsiteY56" fmla="*/ 159685 h 603778"/>
              <a:gd name="connsiteX57" fmla="*/ 429339 w 853201"/>
              <a:gd name="connsiteY57" fmla="*/ 163464 h 603778"/>
              <a:gd name="connsiteX58" fmla="*/ 425529 w 853201"/>
              <a:gd name="connsiteY58" fmla="*/ 159685 h 603778"/>
              <a:gd name="connsiteX59" fmla="*/ 340757 w 853201"/>
              <a:gd name="connsiteY59" fmla="*/ 159685 h 603778"/>
              <a:gd name="connsiteX60" fmla="*/ 264557 w 853201"/>
              <a:gd name="connsiteY60" fmla="*/ 235275 h 603778"/>
              <a:gd name="connsiteX61" fmla="*/ 177879 w 853201"/>
              <a:gd name="connsiteY61" fmla="*/ 235275 h 603778"/>
              <a:gd name="connsiteX62" fmla="*/ 101679 w 853201"/>
              <a:gd name="connsiteY62" fmla="*/ 159685 h 603778"/>
              <a:gd name="connsiteX63" fmla="*/ 17859 w 853201"/>
              <a:gd name="connsiteY63" fmla="*/ 158740 h 60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53201" h="603778">
                <a:moveTo>
                  <a:pt x="221694" y="0"/>
                </a:moveTo>
                <a:cubicBezTo>
                  <a:pt x="166449" y="0"/>
                  <a:pt x="120729" y="45354"/>
                  <a:pt x="120729" y="100157"/>
                </a:cubicBezTo>
                <a:cubicBezTo>
                  <a:pt x="120729" y="154960"/>
                  <a:pt x="166449" y="200315"/>
                  <a:pt x="221694" y="200315"/>
                </a:cubicBezTo>
                <a:cubicBezTo>
                  <a:pt x="276939" y="200315"/>
                  <a:pt x="322659" y="154960"/>
                  <a:pt x="322659" y="100157"/>
                </a:cubicBezTo>
                <a:cubicBezTo>
                  <a:pt x="322659" y="44409"/>
                  <a:pt x="277892" y="0"/>
                  <a:pt x="221694" y="0"/>
                </a:cubicBezTo>
                <a:close/>
                <a:moveTo>
                  <a:pt x="636032" y="0"/>
                </a:moveTo>
                <a:cubicBezTo>
                  <a:pt x="580787" y="0"/>
                  <a:pt x="535067" y="45354"/>
                  <a:pt x="535067" y="100157"/>
                </a:cubicBezTo>
                <a:cubicBezTo>
                  <a:pt x="535067" y="154960"/>
                  <a:pt x="580787" y="200315"/>
                  <a:pt x="636032" y="200315"/>
                </a:cubicBezTo>
                <a:cubicBezTo>
                  <a:pt x="691277" y="200315"/>
                  <a:pt x="736997" y="154960"/>
                  <a:pt x="736997" y="100157"/>
                </a:cubicBezTo>
                <a:cubicBezTo>
                  <a:pt x="736997" y="44409"/>
                  <a:pt x="692229" y="0"/>
                  <a:pt x="636032" y="0"/>
                </a:cubicBezTo>
                <a:close/>
                <a:moveTo>
                  <a:pt x="17859" y="158740"/>
                </a:moveTo>
                <a:lnTo>
                  <a:pt x="17859" y="158740"/>
                </a:lnTo>
                <a:cubicBezTo>
                  <a:pt x="-5953" y="182362"/>
                  <a:pt x="-5953" y="219212"/>
                  <a:pt x="17859" y="242834"/>
                </a:cubicBezTo>
                <a:lnTo>
                  <a:pt x="100727" y="325039"/>
                </a:lnTo>
                <a:lnTo>
                  <a:pt x="100727" y="464881"/>
                </a:lnTo>
                <a:lnTo>
                  <a:pt x="100727" y="551810"/>
                </a:lnTo>
                <a:cubicBezTo>
                  <a:pt x="100727" y="581101"/>
                  <a:pt x="124539" y="603778"/>
                  <a:pt x="153114" y="603778"/>
                </a:cubicBezTo>
                <a:lnTo>
                  <a:pt x="153114" y="603778"/>
                </a:lnTo>
                <a:cubicBezTo>
                  <a:pt x="182642" y="603778"/>
                  <a:pt x="205502" y="580156"/>
                  <a:pt x="205502" y="551810"/>
                </a:cubicBezTo>
                <a:lnTo>
                  <a:pt x="205502" y="493227"/>
                </a:lnTo>
                <a:lnTo>
                  <a:pt x="236934" y="493227"/>
                </a:lnTo>
                <a:lnTo>
                  <a:pt x="236934" y="551810"/>
                </a:lnTo>
                <a:cubicBezTo>
                  <a:pt x="236934" y="581101"/>
                  <a:pt x="260747" y="603778"/>
                  <a:pt x="289322" y="603778"/>
                </a:cubicBezTo>
                <a:lnTo>
                  <a:pt x="289322" y="603778"/>
                </a:lnTo>
                <a:cubicBezTo>
                  <a:pt x="318849" y="603778"/>
                  <a:pt x="341709" y="580156"/>
                  <a:pt x="341709" y="551810"/>
                </a:cubicBezTo>
                <a:lnTo>
                  <a:pt x="341709" y="467716"/>
                </a:lnTo>
                <a:cubicBezTo>
                  <a:pt x="341709" y="466771"/>
                  <a:pt x="341709" y="465826"/>
                  <a:pt x="341709" y="465826"/>
                </a:cubicBezTo>
                <a:lnTo>
                  <a:pt x="341709" y="325039"/>
                </a:lnTo>
                <a:lnTo>
                  <a:pt x="427434" y="240000"/>
                </a:lnTo>
                <a:lnTo>
                  <a:pt x="509349" y="321259"/>
                </a:lnTo>
                <a:lnTo>
                  <a:pt x="463629" y="456377"/>
                </a:lnTo>
                <a:cubicBezTo>
                  <a:pt x="458867" y="470550"/>
                  <a:pt x="466487" y="486613"/>
                  <a:pt x="480774" y="491338"/>
                </a:cubicBezTo>
                <a:cubicBezTo>
                  <a:pt x="483632" y="492282"/>
                  <a:pt x="486489" y="492282"/>
                  <a:pt x="489347" y="492282"/>
                </a:cubicBezTo>
                <a:lnTo>
                  <a:pt x="512207" y="492282"/>
                </a:lnTo>
                <a:lnTo>
                  <a:pt x="512207" y="550865"/>
                </a:lnTo>
                <a:cubicBezTo>
                  <a:pt x="512207" y="580156"/>
                  <a:pt x="536019" y="602834"/>
                  <a:pt x="564594" y="602834"/>
                </a:cubicBezTo>
                <a:lnTo>
                  <a:pt x="564594" y="602834"/>
                </a:lnTo>
                <a:cubicBezTo>
                  <a:pt x="594122" y="602834"/>
                  <a:pt x="616982" y="579212"/>
                  <a:pt x="616982" y="550865"/>
                </a:cubicBezTo>
                <a:lnTo>
                  <a:pt x="616982" y="492282"/>
                </a:lnTo>
                <a:lnTo>
                  <a:pt x="648414" y="492282"/>
                </a:lnTo>
                <a:lnTo>
                  <a:pt x="648414" y="550865"/>
                </a:lnTo>
                <a:cubicBezTo>
                  <a:pt x="648414" y="580156"/>
                  <a:pt x="672227" y="602834"/>
                  <a:pt x="700802" y="602834"/>
                </a:cubicBezTo>
                <a:lnTo>
                  <a:pt x="700802" y="602834"/>
                </a:lnTo>
                <a:cubicBezTo>
                  <a:pt x="730329" y="602834"/>
                  <a:pt x="753189" y="579212"/>
                  <a:pt x="753189" y="550865"/>
                </a:cubicBezTo>
                <a:lnTo>
                  <a:pt x="753189" y="492282"/>
                </a:lnTo>
                <a:lnTo>
                  <a:pt x="776049" y="492282"/>
                </a:lnTo>
                <a:cubicBezTo>
                  <a:pt x="791289" y="492282"/>
                  <a:pt x="803672" y="479999"/>
                  <a:pt x="803672" y="464881"/>
                </a:cubicBezTo>
                <a:cubicBezTo>
                  <a:pt x="803672" y="462046"/>
                  <a:pt x="802719" y="459212"/>
                  <a:pt x="802719" y="456377"/>
                </a:cubicBezTo>
                <a:lnTo>
                  <a:pt x="756999" y="321259"/>
                </a:lnTo>
                <a:lnTo>
                  <a:pt x="836057" y="242834"/>
                </a:lnTo>
                <a:cubicBezTo>
                  <a:pt x="858917" y="220157"/>
                  <a:pt x="858917" y="182362"/>
                  <a:pt x="836057" y="159685"/>
                </a:cubicBezTo>
                <a:lnTo>
                  <a:pt x="835104" y="158740"/>
                </a:lnTo>
                <a:cubicBezTo>
                  <a:pt x="812244" y="136063"/>
                  <a:pt x="775097" y="136063"/>
                  <a:pt x="752237" y="158740"/>
                </a:cubicBezTo>
                <a:lnTo>
                  <a:pt x="675084" y="235275"/>
                </a:lnTo>
                <a:lnTo>
                  <a:pt x="593169" y="235275"/>
                </a:lnTo>
                <a:lnTo>
                  <a:pt x="517922" y="159685"/>
                </a:lnTo>
                <a:cubicBezTo>
                  <a:pt x="495062" y="136063"/>
                  <a:pt x="456962" y="136063"/>
                  <a:pt x="433149" y="159685"/>
                </a:cubicBezTo>
                <a:lnTo>
                  <a:pt x="429339" y="163464"/>
                </a:lnTo>
                <a:lnTo>
                  <a:pt x="425529" y="159685"/>
                </a:lnTo>
                <a:cubicBezTo>
                  <a:pt x="401717" y="137008"/>
                  <a:pt x="364569" y="137008"/>
                  <a:pt x="340757" y="159685"/>
                </a:cubicBezTo>
                <a:lnTo>
                  <a:pt x="264557" y="235275"/>
                </a:lnTo>
                <a:lnTo>
                  <a:pt x="177879" y="235275"/>
                </a:lnTo>
                <a:lnTo>
                  <a:pt x="101679" y="159685"/>
                </a:lnTo>
                <a:cubicBezTo>
                  <a:pt x="78819" y="135118"/>
                  <a:pt x="41672" y="135118"/>
                  <a:pt x="17859" y="158740"/>
                </a:cubicBezTo>
                <a:close/>
              </a:path>
            </a:pathLst>
          </a:custGeom>
          <a:solidFill>
            <a:schemeClr val="accent1">
              <a:lumMod val="50000"/>
            </a:schemeClr>
          </a:solidFill>
          <a:ln w="9525" cap="flat">
            <a:noFill/>
            <a:prstDash val="solid"/>
            <a:miter/>
          </a:ln>
          <a:effectLst>
            <a:outerShdw blurRad="50800" dist="38100" dir="5400000" algn="t" rotWithShape="0">
              <a:schemeClr val="accent1">
                <a:lumMod val="50000"/>
                <a:alpha val="40000"/>
              </a:scheme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Arial" panose="020B0604020202020204" pitchFamily="34" charset="0"/>
              <a:ea typeface="+mn-ea"/>
              <a:cs typeface="+mn-cs"/>
            </a:endParaRPr>
          </a:p>
        </p:txBody>
      </p:sp>
      <p:sp>
        <p:nvSpPr>
          <p:cNvPr id="20" name="Freeform 20">
            <a:extLst>
              <a:ext uri="{FF2B5EF4-FFF2-40B4-BE49-F238E27FC236}">
                <a16:creationId xmlns:a16="http://schemas.microsoft.com/office/drawing/2014/main" id="{F36FD10A-A33E-40DE-810A-423BBB188298}"/>
              </a:ext>
            </a:extLst>
          </p:cNvPr>
          <p:cNvSpPr/>
          <p:nvPr/>
        </p:nvSpPr>
        <p:spPr>
          <a:xfrm>
            <a:off x="3790447" y="2978515"/>
            <a:ext cx="1370817" cy="710611"/>
          </a:xfrm>
          <a:custGeom>
            <a:avLst/>
            <a:gdLst>
              <a:gd name="connsiteX0" fmla="*/ 1064903 w 1071769"/>
              <a:gd name="connsiteY0" fmla="*/ 252283 h 555589"/>
              <a:gd name="connsiteX1" fmla="*/ 960127 w 1071769"/>
              <a:gd name="connsiteY1" fmla="*/ 209763 h 555589"/>
              <a:gd name="connsiteX2" fmla="*/ 929647 w 1071769"/>
              <a:gd name="connsiteY2" fmla="*/ 222047 h 555589"/>
              <a:gd name="connsiteX3" fmla="*/ 891547 w 1071769"/>
              <a:gd name="connsiteY3" fmla="*/ 108661 h 555589"/>
              <a:gd name="connsiteX4" fmla="*/ 785820 w 1071769"/>
              <a:gd name="connsiteY4" fmla="*/ 67086 h 555589"/>
              <a:gd name="connsiteX5" fmla="*/ 677235 w 1071769"/>
              <a:gd name="connsiteY5" fmla="*/ 111496 h 555589"/>
              <a:gd name="connsiteX6" fmla="*/ 642945 w 1071769"/>
              <a:gd name="connsiteY6" fmla="*/ 213543 h 555589"/>
              <a:gd name="connsiteX7" fmla="*/ 632468 w 1071769"/>
              <a:gd name="connsiteY7" fmla="*/ 210708 h 555589"/>
              <a:gd name="connsiteX8" fmla="*/ 617227 w 1071769"/>
              <a:gd name="connsiteY8" fmla="*/ 204094 h 555589"/>
              <a:gd name="connsiteX9" fmla="*/ 655327 w 1071769"/>
              <a:gd name="connsiteY9" fmla="*/ 95433 h 555589"/>
              <a:gd name="connsiteX10" fmla="*/ 702952 w 1071769"/>
              <a:gd name="connsiteY10" fmla="*/ 56693 h 555589"/>
              <a:gd name="connsiteX11" fmla="*/ 698190 w 1071769"/>
              <a:gd name="connsiteY11" fmla="*/ 50079 h 555589"/>
              <a:gd name="connsiteX12" fmla="*/ 571507 w 1071769"/>
              <a:gd name="connsiteY12" fmla="*/ 0 h 555589"/>
              <a:gd name="connsiteX13" fmla="*/ 441015 w 1071769"/>
              <a:gd name="connsiteY13" fmla="*/ 53858 h 555589"/>
              <a:gd name="connsiteX14" fmla="*/ 418155 w 1071769"/>
              <a:gd name="connsiteY14" fmla="*/ 102047 h 555589"/>
              <a:gd name="connsiteX15" fmla="*/ 382912 w 1071769"/>
              <a:gd name="connsiteY15" fmla="*/ 94488 h 555589"/>
              <a:gd name="connsiteX16" fmla="*/ 324810 w 1071769"/>
              <a:gd name="connsiteY16" fmla="*/ 99212 h 555589"/>
              <a:gd name="connsiteX17" fmla="*/ 8580 w 1071769"/>
              <a:gd name="connsiteY17" fmla="*/ 231496 h 555589"/>
              <a:gd name="connsiteX18" fmla="*/ 960 w 1071769"/>
              <a:gd name="connsiteY18" fmla="*/ 249448 h 555589"/>
              <a:gd name="connsiteX19" fmla="*/ 19057 w 1071769"/>
              <a:gd name="connsiteY19" fmla="*/ 257007 h 555589"/>
              <a:gd name="connsiteX20" fmla="*/ 335287 w 1071769"/>
              <a:gd name="connsiteY20" fmla="*/ 124724 h 555589"/>
              <a:gd name="connsiteX21" fmla="*/ 377197 w 1071769"/>
              <a:gd name="connsiteY21" fmla="*/ 120945 h 555589"/>
              <a:gd name="connsiteX22" fmla="*/ 484830 w 1071769"/>
              <a:gd name="connsiteY22" fmla="*/ 145512 h 555589"/>
              <a:gd name="connsiteX23" fmla="*/ 540075 w 1071769"/>
              <a:gd name="connsiteY23" fmla="*/ 173858 h 555589"/>
              <a:gd name="connsiteX24" fmla="*/ 587700 w 1071769"/>
              <a:gd name="connsiteY24" fmla="*/ 216378 h 555589"/>
              <a:gd name="connsiteX25" fmla="*/ 624847 w 1071769"/>
              <a:gd name="connsiteY25" fmla="*/ 237165 h 555589"/>
              <a:gd name="connsiteX26" fmla="*/ 708668 w 1071769"/>
              <a:gd name="connsiteY26" fmla="*/ 263622 h 555589"/>
              <a:gd name="connsiteX27" fmla="*/ 732480 w 1071769"/>
              <a:gd name="connsiteY27" fmla="*/ 306141 h 555589"/>
              <a:gd name="connsiteX28" fmla="*/ 715335 w 1071769"/>
              <a:gd name="connsiteY28" fmla="*/ 327873 h 555589"/>
              <a:gd name="connsiteX29" fmla="*/ 688665 w 1071769"/>
              <a:gd name="connsiteY29" fmla="*/ 331653 h 555589"/>
              <a:gd name="connsiteX30" fmla="*/ 437205 w 1071769"/>
              <a:gd name="connsiteY30" fmla="*/ 262677 h 555589"/>
              <a:gd name="connsiteX31" fmla="*/ 420060 w 1071769"/>
              <a:gd name="connsiteY31" fmla="*/ 272125 h 555589"/>
              <a:gd name="connsiteX32" fmla="*/ 429585 w 1071769"/>
              <a:gd name="connsiteY32" fmla="*/ 289133 h 555589"/>
              <a:gd name="connsiteX33" fmla="*/ 681045 w 1071769"/>
              <a:gd name="connsiteY33" fmla="*/ 358110 h 555589"/>
              <a:gd name="connsiteX34" fmla="*/ 698190 w 1071769"/>
              <a:gd name="connsiteY34" fmla="*/ 359999 h 555589"/>
              <a:gd name="connsiteX35" fmla="*/ 729622 w 1071769"/>
              <a:gd name="connsiteY35" fmla="*/ 351495 h 555589"/>
              <a:gd name="connsiteX36" fmla="*/ 757245 w 1071769"/>
              <a:gd name="connsiteY36" fmla="*/ 320314 h 555589"/>
              <a:gd name="connsiteX37" fmla="*/ 971557 w 1071769"/>
              <a:gd name="connsiteY37" fmla="*/ 236220 h 555589"/>
              <a:gd name="connsiteX38" fmla="*/ 1041090 w 1071769"/>
              <a:gd name="connsiteY38" fmla="*/ 264566 h 555589"/>
              <a:gd name="connsiteX39" fmla="*/ 1013468 w 1071769"/>
              <a:gd name="connsiteY39" fmla="*/ 335432 h 555589"/>
              <a:gd name="connsiteX40" fmla="*/ 708668 w 1071769"/>
              <a:gd name="connsiteY40" fmla="*/ 472440 h 555589"/>
              <a:gd name="connsiteX41" fmla="*/ 648660 w 1071769"/>
              <a:gd name="connsiteY41" fmla="*/ 480944 h 555589"/>
              <a:gd name="connsiteX42" fmla="*/ 381960 w 1071769"/>
              <a:gd name="connsiteY42" fmla="*/ 445983 h 555589"/>
              <a:gd name="connsiteX43" fmla="*/ 263850 w 1071769"/>
              <a:gd name="connsiteY43" fmla="*/ 462991 h 555589"/>
              <a:gd name="connsiteX44" fmla="*/ 111450 w 1071769"/>
              <a:gd name="connsiteY44" fmla="*/ 529133 h 555589"/>
              <a:gd name="connsiteX45" fmla="*/ 104782 w 1071769"/>
              <a:gd name="connsiteY45" fmla="*/ 547086 h 555589"/>
              <a:gd name="connsiteX46" fmla="*/ 117165 w 1071769"/>
              <a:gd name="connsiteY46" fmla="*/ 555589 h 555589"/>
              <a:gd name="connsiteX47" fmla="*/ 122880 w 1071769"/>
              <a:gd name="connsiteY47" fmla="*/ 554645 h 555589"/>
              <a:gd name="connsiteX48" fmla="*/ 275280 w 1071769"/>
              <a:gd name="connsiteY48" fmla="*/ 488503 h 555589"/>
              <a:gd name="connsiteX49" fmla="*/ 378150 w 1071769"/>
              <a:gd name="connsiteY49" fmla="*/ 474330 h 555589"/>
              <a:gd name="connsiteX50" fmla="*/ 644850 w 1071769"/>
              <a:gd name="connsiteY50" fmla="*/ 509290 h 555589"/>
              <a:gd name="connsiteX51" fmla="*/ 719145 w 1071769"/>
              <a:gd name="connsiteY51" fmla="*/ 497952 h 555589"/>
              <a:gd name="connsiteX52" fmla="*/ 1023945 w 1071769"/>
              <a:gd name="connsiteY52" fmla="*/ 360944 h 555589"/>
              <a:gd name="connsiteX53" fmla="*/ 1064903 w 1071769"/>
              <a:gd name="connsiteY53" fmla="*/ 252283 h 55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71769" h="555589">
                <a:moveTo>
                  <a:pt x="1064903" y="252283"/>
                </a:moveTo>
                <a:cubicBezTo>
                  <a:pt x="1046805" y="212598"/>
                  <a:pt x="1001085" y="193700"/>
                  <a:pt x="960127" y="209763"/>
                </a:cubicBezTo>
                <a:lnTo>
                  <a:pt x="929647" y="222047"/>
                </a:lnTo>
                <a:cubicBezTo>
                  <a:pt x="921075" y="180472"/>
                  <a:pt x="912502" y="133228"/>
                  <a:pt x="891547" y="108661"/>
                </a:cubicBezTo>
                <a:cubicBezTo>
                  <a:pt x="866782" y="79370"/>
                  <a:pt x="834397" y="67086"/>
                  <a:pt x="785820" y="67086"/>
                </a:cubicBezTo>
                <a:cubicBezTo>
                  <a:pt x="735337" y="67086"/>
                  <a:pt x="702000" y="80315"/>
                  <a:pt x="677235" y="111496"/>
                </a:cubicBezTo>
                <a:cubicBezTo>
                  <a:pt x="658185" y="136063"/>
                  <a:pt x="649612" y="177637"/>
                  <a:pt x="642945" y="213543"/>
                </a:cubicBezTo>
                <a:lnTo>
                  <a:pt x="632468" y="210708"/>
                </a:lnTo>
                <a:cubicBezTo>
                  <a:pt x="626752" y="208819"/>
                  <a:pt x="621990" y="206929"/>
                  <a:pt x="617227" y="204094"/>
                </a:cubicBezTo>
                <a:cubicBezTo>
                  <a:pt x="623895" y="167244"/>
                  <a:pt x="633420" y="123779"/>
                  <a:pt x="655327" y="95433"/>
                </a:cubicBezTo>
                <a:cubicBezTo>
                  <a:pt x="668662" y="78425"/>
                  <a:pt x="683902" y="65197"/>
                  <a:pt x="702952" y="56693"/>
                </a:cubicBezTo>
                <a:cubicBezTo>
                  <a:pt x="701047" y="54803"/>
                  <a:pt x="700095" y="51968"/>
                  <a:pt x="698190" y="50079"/>
                </a:cubicBezTo>
                <a:cubicBezTo>
                  <a:pt x="668662" y="15118"/>
                  <a:pt x="629610" y="0"/>
                  <a:pt x="571507" y="0"/>
                </a:cubicBezTo>
                <a:cubicBezTo>
                  <a:pt x="510547" y="0"/>
                  <a:pt x="470543" y="16063"/>
                  <a:pt x="441015" y="53858"/>
                </a:cubicBezTo>
                <a:cubicBezTo>
                  <a:pt x="431490" y="66142"/>
                  <a:pt x="423870" y="83149"/>
                  <a:pt x="418155" y="102047"/>
                </a:cubicBezTo>
                <a:lnTo>
                  <a:pt x="382912" y="94488"/>
                </a:lnTo>
                <a:cubicBezTo>
                  <a:pt x="362910" y="89764"/>
                  <a:pt x="342907" y="91653"/>
                  <a:pt x="324810" y="99212"/>
                </a:cubicBezTo>
                <a:lnTo>
                  <a:pt x="8580" y="231496"/>
                </a:lnTo>
                <a:cubicBezTo>
                  <a:pt x="1912" y="234330"/>
                  <a:pt x="-1898" y="241889"/>
                  <a:pt x="960" y="249448"/>
                </a:cubicBezTo>
                <a:cubicBezTo>
                  <a:pt x="3817" y="256063"/>
                  <a:pt x="11437" y="259842"/>
                  <a:pt x="19057" y="257007"/>
                </a:cubicBezTo>
                <a:lnTo>
                  <a:pt x="335287" y="124724"/>
                </a:lnTo>
                <a:cubicBezTo>
                  <a:pt x="348622" y="119055"/>
                  <a:pt x="362910" y="118110"/>
                  <a:pt x="377197" y="120945"/>
                </a:cubicBezTo>
                <a:lnTo>
                  <a:pt x="484830" y="145512"/>
                </a:lnTo>
                <a:cubicBezTo>
                  <a:pt x="504832" y="150236"/>
                  <a:pt x="523882" y="159685"/>
                  <a:pt x="540075" y="173858"/>
                </a:cubicBezTo>
                <a:lnTo>
                  <a:pt x="587700" y="216378"/>
                </a:lnTo>
                <a:cubicBezTo>
                  <a:pt x="598177" y="225826"/>
                  <a:pt x="611512" y="233385"/>
                  <a:pt x="624847" y="237165"/>
                </a:cubicBezTo>
                <a:lnTo>
                  <a:pt x="708668" y="263622"/>
                </a:lnTo>
                <a:cubicBezTo>
                  <a:pt x="726765" y="269291"/>
                  <a:pt x="737243" y="288188"/>
                  <a:pt x="732480" y="306141"/>
                </a:cubicBezTo>
                <a:cubicBezTo>
                  <a:pt x="729622" y="315590"/>
                  <a:pt x="723907" y="323149"/>
                  <a:pt x="715335" y="327873"/>
                </a:cubicBezTo>
                <a:cubicBezTo>
                  <a:pt x="706762" y="332598"/>
                  <a:pt x="697237" y="333543"/>
                  <a:pt x="688665" y="331653"/>
                </a:cubicBezTo>
                <a:lnTo>
                  <a:pt x="437205" y="262677"/>
                </a:lnTo>
                <a:cubicBezTo>
                  <a:pt x="429585" y="260787"/>
                  <a:pt x="421965" y="264566"/>
                  <a:pt x="420060" y="272125"/>
                </a:cubicBezTo>
                <a:cubicBezTo>
                  <a:pt x="418155" y="279685"/>
                  <a:pt x="421965" y="287244"/>
                  <a:pt x="429585" y="289133"/>
                </a:cubicBezTo>
                <a:lnTo>
                  <a:pt x="681045" y="358110"/>
                </a:lnTo>
                <a:cubicBezTo>
                  <a:pt x="686760" y="359999"/>
                  <a:pt x="692475" y="359999"/>
                  <a:pt x="698190" y="359999"/>
                </a:cubicBezTo>
                <a:cubicBezTo>
                  <a:pt x="708668" y="359999"/>
                  <a:pt x="719145" y="357165"/>
                  <a:pt x="729622" y="351495"/>
                </a:cubicBezTo>
                <a:cubicBezTo>
                  <a:pt x="742005" y="344881"/>
                  <a:pt x="751530" y="333543"/>
                  <a:pt x="757245" y="320314"/>
                </a:cubicBezTo>
                <a:lnTo>
                  <a:pt x="971557" y="236220"/>
                </a:lnTo>
                <a:cubicBezTo>
                  <a:pt x="999180" y="225826"/>
                  <a:pt x="1029660" y="238110"/>
                  <a:pt x="1041090" y="264566"/>
                </a:cubicBezTo>
                <a:cubicBezTo>
                  <a:pt x="1053472" y="291968"/>
                  <a:pt x="1041090" y="323149"/>
                  <a:pt x="1013468" y="335432"/>
                </a:cubicBezTo>
                <a:lnTo>
                  <a:pt x="708668" y="472440"/>
                </a:lnTo>
                <a:cubicBezTo>
                  <a:pt x="689618" y="480944"/>
                  <a:pt x="669615" y="483779"/>
                  <a:pt x="648660" y="480944"/>
                </a:cubicBezTo>
                <a:lnTo>
                  <a:pt x="381960" y="445983"/>
                </a:lnTo>
                <a:cubicBezTo>
                  <a:pt x="341955" y="440314"/>
                  <a:pt x="300997" y="445983"/>
                  <a:pt x="263850" y="462991"/>
                </a:cubicBezTo>
                <a:lnTo>
                  <a:pt x="111450" y="529133"/>
                </a:lnTo>
                <a:cubicBezTo>
                  <a:pt x="104782" y="531967"/>
                  <a:pt x="100972" y="540471"/>
                  <a:pt x="104782" y="547086"/>
                </a:cubicBezTo>
                <a:cubicBezTo>
                  <a:pt x="106687" y="551810"/>
                  <a:pt x="112402" y="555589"/>
                  <a:pt x="117165" y="555589"/>
                </a:cubicBezTo>
                <a:cubicBezTo>
                  <a:pt x="119070" y="555589"/>
                  <a:pt x="120975" y="555589"/>
                  <a:pt x="122880" y="554645"/>
                </a:cubicBezTo>
                <a:lnTo>
                  <a:pt x="275280" y="488503"/>
                </a:lnTo>
                <a:cubicBezTo>
                  <a:pt x="307665" y="474330"/>
                  <a:pt x="342907" y="469605"/>
                  <a:pt x="378150" y="474330"/>
                </a:cubicBezTo>
                <a:lnTo>
                  <a:pt x="644850" y="509290"/>
                </a:lnTo>
                <a:cubicBezTo>
                  <a:pt x="670568" y="513070"/>
                  <a:pt x="696285" y="509290"/>
                  <a:pt x="719145" y="497952"/>
                </a:cubicBezTo>
                <a:lnTo>
                  <a:pt x="1023945" y="360944"/>
                </a:lnTo>
                <a:cubicBezTo>
                  <a:pt x="1063950" y="341102"/>
                  <a:pt x="1083000" y="292913"/>
                  <a:pt x="1064903" y="252283"/>
                </a:cubicBezTo>
                <a:close/>
              </a:path>
            </a:pathLst>
          </a:custGeom>
          <a:solidFill>
            <a:schemeClr val="accent1">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398DA"/>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44914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20A22-4AA5-4F88-8049-20D6B2EEE5B7}"/>
              </a:ext>
            </a:extLst>
          </p:cNvPr>
          <p:cNvSpPr>
            <a:spLocks noGrp="1"/>
          </p:cNvSpPr>
          <p:nvPr>
            <p:ph type="title"/>
          </p:nvPr>
        </p:nvSpPr>
        <p:spPr>
          <a:xfrm>
            <a:off x="457200" y="285749"/>
            <a:ext cx="7921625" cy="1257301"/>
          </a:xfrm>
        </p:spPr>
        <p:txBody>
          <a:bodyPr>
            <a:normAutofit/>
          </a:bodyPr>
          <a:lstStyle/>
          <a:p>
            <a:r>
              <a:rPr lang="en-US" sz="4400" b="1">
                <a:latin typeface="Franklin Gothic Medium"/>
              </a:rPr>
              <a:t>Valuable Resources</a:t>
            </a:r>
          </a:p>
        </p:txBody>
      </p:sp>
      <p:sp>
        <p:nvSpPr>
          <p:cNvPr id="5" name="Content Placeholder 4">
            <a:extLst>
              <a:ext uri="{FF2B5EF4-FFF2-40B4-BE49-F238E27FC236}">
                <a16:creationId xmlns:a16="http://schemas.microsoft.com/office/drawing/2014/main" id="{45E24944-E211-164A-E3F1-5B23E3BCB187}"/>
              </a:ext>
            </a:extLst>
          </p:cNvPr>
          <p:cNvSpPr>
            <a:spLocks noGrp="1"/>
          </p:cNvSpPr>
          <p:nvPr>
            <p:ph sz="quarter" idx="10"/>
          </p:nvPr>
        </p:nvSpPr>
        <p:spPr>
          <a:xfrm>
            <a:off x="460375" y="1543050"/>
            <a:ext cx="11589057" cy="4400550"/>
          </a:xfrm>
        </p:spPr>
        <p:txBody>
          <a:bodyPr vert="horz" lIns="0" tIns="114300" rIns="0" bIns="0" rtlCol="0" anchor="t">
            <a:normAutofit fontScale="92500"/>
          </a:bodyPr>
          <a:lstStyle/>
          <a:p>
            <a:r>
              <a:rPr lang="en-US" b="1">
                <a:solidFill>
                  <a:srgbClr val="00B0F0"/>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BGCABoards.org</a:t>
            </a:r>
            <a:r>
              <a:rPr lang="en-US">
                <a:solidFill>
                  <a:srgbClr val="00B0F0"/>
                </a:solidFill>
                <a:latin typeface="Arial" panose="020B0604020202020204" pitchFamily="34" charset="0"/>
                <a:cs typeface="Arial" panose="020B0604020202020204" pitchFamily="34" charset="0"/>
              </a:rPr>
              <a:t> </a:t>
            </a:r>
            <a:r>
              <a:rPr lang="en-US">
                <a:latin typeface="Arial" panose="020B0604020202020204" pitchFamily="34" charset="0"/>
                <a:cs typeface="Arial" panose="020B0604020202020204" pitchFamily="34" charset="0"/>
              </a:rPr>
              <a:t>is your source for the tools and information boards need!</a:t>
            </a:r>
          </a:p>
          <a:p>
            <a:pPr lvl="1">
              <a:buFont typeface="Franklin Gothic Book" panose="020B0503020102020204" pitchFamily="34" charset="0"/>
              <a:buChar char="►"/>
            </a:pPr>
            <a:r>
              <a:rPr lang="en-US">
                <a:latin typeface="Arial" panose="020B0604020202020204" pitchFamily="34" charset="0"/>
                <a:cs typeface="Arial" panose="020B0604020202020204" pitchFamily="34" charset="0"/>
              </a:rPr>
              <a:t>Quarterly Area Council &amp; Board Member Slide Deck</a:t>
            </a:r>
          </a:p>
          <a:p>
            <a:pPr lvl="1">
              <a:buFont typeface="Franklin Gothic Book" panose="020B0503020102020204" pitchFamily="34" charset="0"/>
              <a:buChar char="►"/>
            </a:pPr>
            <a:r>
              <a:rPr lang="en-US">
                <a:latin typeface="Arial" panose="020B0604020202020204" pitchFamily="34" charset="0"/>
                <a:cs typeface="Arial" panose="020B0604020202020204" pitchFamily="34" charset="0"/>
              </a:rPr>
              <a:t>Resource Library including information for: Advocacy, Boards, DEI, Safety, and more!</a:t>
            </a:r>
          </a:p>
          <a:p>
            <a:pPr lvl="1">
              <a:buFont typeface="Franklin Gothic Book" panose="020B0503020102020204" pitchFamily="34" charset="0"/>
              <a:buChar char="►"/>
            </a:pPr>
            <a:r>
              <a:rPr lang="en-US">
                <a:latin typeface="Arial" panose="020B0604020202020204" pitchFamily="34" charset="0"/>
                <a:cs typeface="Arial" panose="020B0604020202020204" pitchFamily="34" charset="0"/>
              </a:rPr>
              <a:t>Events Calendar with trainings and events focused on you as a board member</a:t>
            </a:r>
          </a:p>
          <a:p>
            <a:pPr>
              <a:buFont typeface="Franklin Gothic Book" panose="020B0503020102020204" pitchFamily="34" charset="0"/>
              <a:buChar char="►"/>
            </a:pPr>
            <a:r>
              <a:rPr lang="en-US">
                <a:latin typeface="Arial" panose="020B0604020202020204" pitchFamily="34" charset="0"/>
                <a:cs typeface="Arial" panose="020B0604020202020204" pitchFamily="34" charset="0"/>
              </a:rPr>
              <a:t>Join the </a:t>
            </a:r>
            <a:r>
              <a:rPr lang="en-US" b="1">
                <a:solidFill>
                  <a:srgbClr val="00B0F0"/>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BGCA Board LinkedIn Group</a:t>
            </a:r>
            <a:endParaRPr lang="en-US" b="1">
              <a:solidFill>
                <a:srgbClr val="00B0F0"/>
              </a:solidFill>
              <a:latin typeface="Arial" panose="020B0604020202020204" pitchFamily="34" charset="0"/>
              <a:cs typeface="Arial" panose="020B0604020202020204" pitchFamily="34" charset="0"/>
            </a:endParaRPr>
          </a:p>
          <a:p>
            <a:pPr lvl="1" indent="455295">
              <a:buFont typeface="Franklin Gothic Book" panose="020B0503020102020204" pitchFamily="34" charset="0"/>
              <a:buChar char="►"/>
            </a:pPr>
            <a:r>
              <a:rPr lang="en-US" b="0" i="0">
                <a:effectLst/>
                <a:latin typeface="Arial" panose="020B0604020202020204" pitchFamily="34" charset="0"/>
                <a:cs typeface="Arial" panose="020B0604020202020204" pitchFamily="34" charset="0"/>
              </a:rPr>
              <a:t>Forum for Board members who serve in the Boys &amp; Girls Club movement intended to foster collaboration, share best practices and improve communication amongst Board members.   </a:t>
            </a:r>
          </a:p>
          <a:p>
            <a:pPr>
              <a:buFont typeface="Franklin Gothic Book" panose="020B0503020102020204" pitchFamily="34" charset="0"/>
              <a:buChar char="►"/>
            </a:pPr>
            <a:r>
              <a:rPr lang="en-US" b="1">
                <a:solidFill>
                  <a:srgbClr val="00B0F0"/>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BGCA.NET</a:t>
            </a:r>
            <a:endParaRPr lang="en-US" b="1">
              <a:solidFill>
                <a:srgbClr val="00B0F0"/>
              </a:solidFill>
              <a:latin typeface="Arial" panose="020B0604020202020204" pitchFamily="34" charset="0"/>
              <a:cs typeface="Arial" panose="020B0604020202020204" pitchFamily="34" charset="0"/>
            </a:endParaRPr>
          </a:p>
          <a:p>
            <a:pPr lvl="1" indent="455295">
              <a:buFont typeface="Franklin Gothic Book" panose="020B0503020102020204" pitchFamily="34" charset="0"/>
              <a:buChar char="►"/>
            </a:pPr>
            <a:r>
              <a:rPr lang="en-US" b="0" i="0">
                <a:effectLst/>
                <a:latin typeface="Arial" panose="020B0604020202020204" pitchFamily="34" charset="0"/>
                <a:cs typeface="Arial" panose="020B0604020202020204" pitchFamily="34" charset="0"/>
              </a:rPr>
              <a:t>BGCA’s intranet website containing information and resources on Programs, Funding, Safety, Marketing and Training. Requires creation of a profile and credentials</a:t>
            </a:r>
          </a:p>
        </p:txBody>
      </p:sp>
      <p:pic>
        <p:nvPicPr>
          <p:cNvPr id="9" name="Picture 8">
            <a:extLst>
              <a:ext uri="{FF2B5EF4-FFF2-40B4-BE49-F238E27FC236}">
                <a16:creationId xmlns:a16="http://schemas.microsoft.com/office/drawing/2014/main" id="{751A0C1C-E964-72DA-C57D-91E27A366E03}"/>
              </a:ext>
            </a:extLst>
          </p:cNvPr>
          <p:cNvPicPr>
            <a:picLocks noChangeAspect="1"/>
          </p:cNvPicPr>
          <p:nvPr/>
        </p:nvPicPr>
        <p:blipFill>
          <a:blip r:embed="rId6"/>
          <a:stretch>
            <a:fillRect/>
          </a:stretch>
        </p:blipFill>
        <p:spPr>
          <a:xfrm>
            <a:off x="6499362" y="123651"/>
            <a:ext cx="5372850" cy="1247949"/>
          </a:xfrm>
          <a:prstGeom prst="rect">
            <a:avLst/>
          </a:prstGeom>
        </p:spPr>
      </p:pic>
    </p:spTree>
    <p:extLst>
      <p:ext uri="{BB962C8B-B14F-4D97-AF65-F5344CB8AC3E}">
        <p14:creationId xmlns:p14="http://schemas.microsoft.com/office/powerpoint/2010/main" val="8780389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F0208E-00CE-CC8A-F853-5FD260D419BD}"/>
              </a:ext>
            </a:extLst>
          </p:cNvPr>
          <p:cNvSpPr>
            <a:spLocks noGrp="1"/>
          </p:cNvSpPr>
          <p:nvPr>
            <p:ph type="title"/>
          </p:nvPr>
        </p:nvSpPr>
        <p:spPr/>
        <p:txBody>
          <a:bodyPr/>
          <a:lstStyle/>
          <a:p>
            <a:r>
              <a:rPr lang="en-US"/>
              <a:t>Breakout Rooms</a:t>
            </a:r>
          </a:p>
        </p:txBody>
      </p:sp>
      <p:sp>
        <p:nvSpPr>
          <p:cNvPr id="3" name="Content Placeholder 2">
            <a:extLst>
              <a:ext uri="{FF2B5EF4-FFF2-40B4-BE49-F238E27FC236}">
                <a16:creationId xmlns:a16="http://schemas.microsoft.com/office/drawing/2014/main" id="{CF2765E8-78BE-739C-1F20-EDA9D56A64F7}"/>
              </a:ext>
            </a:extLst>
          </p:cNvPr>
          <p:cNvSpPr>
            <a:spLocks noGrp="1"/>
          </p:cNvSpPr>
          <p:nvPr>
            <p:ph sz="quarter" idx="10"/>
          </p:nvPr>
        </p:nvSpPr>
        <p:spPr/>
        <p:txBody>
          <a:bodyPr>
            <a:normAutofit fontScale="92500" lnSpcReduction="10000"/>
          </a:bodyPr>
          <a:lstStyle/>
          <a:p>
            <a:pPr marL="0" indent="0">
              <a:buNone/>
            </a:pPr>
            <a:r>
              <a:rPr lang="en-US"/>
              <a:t>Consider the following questions:</a:t>
            </a:r>
          </a:p>
          <a:p>
            <a:r>
              <a:rPr lang="en-US"/>
              <a:t>What did you find particularly interesting or surprising from today’s presentation?</a:t>
            </a:r>
          </a:p>
          <a:p>
            <a:r>
              <a:rPr lang="en-US"/>
              <a:t>What lingering questions do you still have that need an answer?</a:t>
            </a:r>
          </a:p>
          <a:p>
            <a:r>
              <a:rPr lang="en-US"/>
              <a:t>Is your ACL position well defined and understood at your local organization? What more do you need to do to have it better defined and understood?</a:t>
            </a:r>
          </a:p>
          <a:p>
            <a:r>
              <a:rPr lang="en-US"/>
              <a:t>How can you be most effective as an ACL at your Area Council meetings? Should you recommend changes to your Area Council Chair in how your Area Council meetings are organized to help you in your role?</a:t>
            </a:r>
          </a:p>
          <a:p>
            <a:r>
              <a:rPr lang="en-US"/>
              <a:t>What should we include or exclude from this presentation to help future ACLs?</a:t>
            </a:r>
          </a:p>
          <a:p>
            <a:endParaRPr lang="en-US"/>
          </a:p>
          <a:p>
            <a:endParaRPr lang="en-US"/>
          </a:p>
          <a:p>
            <a:endParaRPr lang="en-US"/>
          </a:p>
          <a:p>
            <a:endParaRPr lang="en-US"/>
          </a:p>
        </p:txBody>
      </p:sp>
    </p:spTree>
    <p:extLst>
      <p:ext uri="{BB962C8B-B14F-4D97-AF65-F5344CB8AC3E}">
        <p14:creationId xmlns:p14="http://schemas.microsoft.com/office/powerpoint/2010/main" val="1706528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6F4EF70-F247-4C58-F2A1-07E9C8788B07}"/>
              </a:ext>
            </a:extLst>
          </p:cNvPr>
          <p:cNvSpPr>
            <a:spLocks noGrp="1"/>
          </p:cNvSpPr>
          <p:nvPr>
            <p:ph idx="1"/>
          </p:nvPr>
        </p:nvSpPr>
        <p:spPr/>
        <p:txBody>
          <a:bodyPr>
            <a:normAutofit/>
          </a:bodyPr>
          <a:lstStyle/>
          <a:p>
            <a:r>
              <a:rPr lang="en-US" sz="2400"/>
              <a:t>Understand the Boys &amp; Girls Club Federated Model</a:t>
            </a:r>
          </a:p>
          <a:p>
            <a:r>
              <a:rPr lang="en-US" sz="2400"/>
              <a:t>The role of Area Councils </a:t>
            </a:r>
          </a:p>
          <a:p>
            <a:r>
              <a:rPr lang="en-US" sz="2400"/>
              <a:t>How Area Councils benefit the Movement, region, local Clubs and board members</a:t>
            </a:r>
          </a:p>
          <a:p>
            <a:r>
              <a:rPr lang="en-US" sz="2400"/>
              <a:t>Key attributes of high performing Area Councils</a:t>
            </a:r>
          </a:p>
          <a:p>
            <a:r>
              <a:rPr lang="en-US" sz="2400"/>
              <a:t>The role of the Area Council Chair</a:t>
            </a:r>
          </a:p>
          <a:p>
            <a:r>
              <a:rPr lang="en-US" sz="2400"/>
              <a:t>The role of the Area Council Liaison</a:t>
            </a:r>
          </a:p>
          <a:p>
            <a:r>
              <a:rPr lang="en-US" sz="2400"/>
              <a:t>Resources </a:t>
            </a:r>
          </a:p>
          <a:p>
            <a:endParaRPr lang="en-US" sz="2400"/>
          </a:p>
          <a:p>
            <a:endParaRPr lang="en-US" sz="2400"/>
          </a:p>
          <a:p>
            <a:endParaRPr lang="en-US" sz="2400"/>
          </a:p>
        </p:txBody>
      </p:sp>
      <p:sp>
        <p:nvSpPr>
          <p:cNvPr id="4" name="Title 3">
            <a:extLst>
              <a:ext uri="{FF2B5EF4-FFF2-40B4-BE49-F238E27FC236}">
                <a16:creationId xmlns:a16="http://schemas.microsoft.com/office/drawing/2014/main" id="{13DD02E3-B5AD-8DDA-06C0-E80BE73D13B0}"/>
              </a:ext>
            </a:extLst>
          </p:cNvPr>
          <p:cNvSpPr>
            <a:spLocks noGrp="1"/>
          </p:cNvSpPr>
          <p:nvPr>
            <p:ph type="title"/>
          </p:nvPr>
        </p:nvSpPr>
        <p:spPr/>
        <p:txBody>
          <a:bodyPr/>
          <a:lstStyle/>
          <a:p>
            <a:endParaRPr lang="en-US"/>
          </a:p>
        </p:txBody>
      </p:sp>
      <p:sp>
        <p:nvSpPr>
          <p:cNvPr id="6" name="Text Placeholder 5">
            <a:extLst>
              <a:ext uri="{FF2B5EF4-FFF2-40B4-BE49-F238E27FC236}">
                <a16:creationId xmlns:a16="http://schemas.microsoft.com/office/drawing/2014/main" id="{F45579C9-B06C-300B-A55C-72DD140A991B}"/>
              </a:ext>
            </a:extLst>
          </p:cNvPr>
          <p:cNvSpPr>
            <a:spLocks noGrp="1"/>
          </p:cNvSpPr>
          <p:nvPr>
            <p:ph type="body" sz="quarter" idx="10"/>
          </p:nvPr>
        </p:nvSpPr>
        <p:spPr>
          <a:xfrm>
            <a:off x="4267199" y="228602"/>
            <a:ext cx="7777655" cy="936625"/>
          </a:xfrm>
        </p:spPr>
        <p:txBody>
          <a:bodyPr anchor="b">
            <a:normAutofit fontScale="92500"/>
          </a:bodyPr>
          <a:lstStyle/>
          <a:p>
            <a:r>
              <a:rPr lang="en-US" sz="4000"/>
              <a:t>Outcomes from Today’s Session</a:t>
            </a:r>
          </a:p>
        </p:txBody>
      </p:sp>
    </p:spTree>
    <p:extLst>
      <p:ext uri="{BB962C8B-B14F-4D97-AF65-F5344CB8AC3E}">
        <p14:creationId xmlns:p14="http://schemas.microsoft.com/office/powerpoint/2010/main" val="368665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4C32DB8E-3EAC-4950-A64A-56982714BA2E}"/>
              </a:ext>
            </a:extLst>
          </p:cNvPr>
          <p:cNvSpPr/>
          <p:nvPr/>
        </p:nvSpPr>
        <p:spPr>
          <a:xfrm>
            <a:off x="1523999" y="4830647"/>
            <a:ext cx="9980141" cy="1222058"/>
          </a:xfrm>
          <a:custGeom>
            <a:avLst/>
            <a:gdLst/>
            <a:ahLst/>
            <a:cxnLst/>
            <a:rect l="l" t="t" r="r" b="b"/>
            <a:pathLst>
              <a:path w="10058400" h="7772400">
                <a:moveTo>
                  <a:pt x="0" y="7772400"/>
                </a:moveTo>
                <a:lnTo>
                  <a:pt x="10058400" y="7772400"/>
                </a:lnTo>
                <a:lnTo>
                  <a:pt x="10058400" y="0"/>
                </a:lnTo>
                <a:lnTo>
                  <a:pt x="0" y="0"/>
                </a:lnTo>
                <a:lnTo>
                  <a:pt x="0" y="7772400"/>
                </a:lnTo>
                <a:close/>
              </a:path>
            </a:pathLst>
          </a:custGeom>
          <a:solidFill>
            <a:srgbClr val="009DDC"/>
          </a:solidFill>
        </p:spPr>
        <p:txBody>
          <a:bodyPr wrap="square" lIns="0" tIns="0" rIns="0" bIns="0" rtlCol="0"/>
          <a:lstStyle/>
          <a:p>
            <a:pPr marL="0" marR="0" lvl="0" indent="0" algn="l" defTabSz="605150" rtl="0" eaLnBrk="1" fontAlgn="auto" latinLnBrk="0" hangingPunct="1">
              <a:lnSpc>
                <a:spcPct val="100000"/>
              </a:lnSpc>
              <a:spcBef>
                <a:spcPts val="0"/>
              </a:spcBef>
              <a:spcAft>
                <a:spcPts val="0"/>
              </a:spcAft>
              <a:buClrTx/>
              <a:buSzTx/>
              <a:buFontTx/>
              <a:buNone/>
              <a:tabLst/>
              <a:defRPr/>
            </a:pPr>
            <a:endParaRPr kumimoji="0" sz="1191"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3">
            <a:extLst>
              <a:ext uri="{FF2B5EF4-FFF2-40B4-BE49-F238E27FC236}">
                <a16:creationId xmlns:a16="http://schemas.microsoft.com/office/drawing/2014/main" id="{34B9B0B7-8D9B-44F4-B283-5C1D91F204B5}"/>
              </a:ext>
            </a:extLst>
          </p:cNvPr>
          <p:cNvSpPr txBox="1"/>
          <p:nvPr/>
        </p:nvSpPr>
        <p:spPr>
          <a:xfrm>
            <a:off x="1886237" y="5112593"/>
            <a:ext cx="8419525" cy="565879"/>
          </a:xfrm>
          <a:prstGeom prst="rect">
            <a:avLst/>
          </a:prstGeom>
        </p:spPr>
        <p:txBody>
          <a:bodyPr vert="horz" wrap="square" lIns="0" tIns="11766" rIns="0" bIns="0" rtlCol="0" anchor="t">
            <a:spAutoFit/>
          </a:bodyPr>
          <a:lstStyle/>
          <a:p>
            <a:pPr marL="8096" marR="0" lvl="0" indent="0" algn="ctr" defTabSz="6858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66" normalizeH="0" baseline="0" noProof="0">
                <a:ln>
                  <a:noFill/>
                </a:ln>
                <a:solidFill>
                  <a:srgbClr val="FFFFFF"/>
                </a:solidFill>
                <a:effectLst/>
                <a:uLnTx/>
                <a:uFillTx/>
                <a:latin typeface="Arial"/>
                <a:ea typeface="+mn-ea"/>
                <a:cs typeface="Arial"/>
              </a:rPr>
              <a:t>Questions</a:t>
            </a:r>
            <a:endParaRPr kumimoji="0" lang="en-US" sz="2400" b="0" i="0" u="none" strike="noStrike" kern="1200" cap="none" spc="66" normalizeH="0" baseline="0" noProof="0">
              <a:ln>
                <a:noFill/>
              </a:ln>
              <a:solidFill>
                <a:srgbClr val="FFFFFF"/>
              </a:solidFill>
              <a:effectLst/>
              <a:uLnTx/>
              <a:uFillTx/>
              <a:latin typeface="Arial"/>
              <a:ea typeface="+mn-ea"/>
              <a:cs typeface="Arial"/>
            </a:endParaRPr>
          </a:p>
        </p:txBody>
      </p:sp>
      <p:pic>
        <p:nvPicPr>
          <p:cNvPr id="6" name="Picture 5">
            <a:extLst>
              <a:ext uri="{FF2B5EF4-FFF2-40B4-BE49-F238E27FC236}">
                <a16:creationId xmlns:a16="http://schemas.microsoft.com/office/drawing/2014/main" id="{33DA4410-1022-4356-AF0D-B0EBAFD013A4}"/>
              </a:ext>
            </a:extLst>
          </p:cNvPr>
          <p:cNvPicPr>
            <a:picLocks noChangeAspect="1"/>
          </p:cNvPicPr>
          <p:nvPr/>
        </p:nvPicPr>
        <p:blipFill rotWithShape="1">
          <a:blip r:embed="rId3"/>
          <a:srcRect l="6718" r="8974"/>
          <a:stretch/>
        </p:blipFill>
        <p:spPr>
          <a:xfrm>
            <a:off x="9591565" y="4547928"/>
            <a:ext cx="2152869" cy="1787496"/>
          </a:xfrm>
          <a:prstGeom prst="rect">
            <a:avLst/>
          </a:prstGeom>
        </p:spPr>
      </p:pic>
    </p:spTree>
    <p:extLst>
      <p:ext uri="{BB962C8B-B14F-4D97-AF65-F5344CB8AC3E}">
        <p14:creationId xmlns:p14="http://schemas.microsoft.com/office/powerpoint/2010/main" val="27792372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2" name="Straight Connector 111">
            <a:extLst>
              <a:ext uri="{FF2B5EF4-FFF2-40B4-BE49-F238E27FC236}">
                <a16:creationId xmlns:a16="http://schemas.microsoft.com/office/drawing/2014/main" id="{38426E88-0CE2-F54D-8B15-C55DAA43C0F7}"/>
              </a:ext>
            </a:extLst>
          </p:cNvPr>
          <p:cNvCxnSpPr>
            <a:cxnSpLocks/>
          </p:cNvCxnSpPr>
          <p:nvPr/>
        </p:nvCxnSpPr>
        <p:spPr>
          <a:xfrm>
            <a:off x="1785287" y="3284415"/>
            <a:ext cx="0" cy="41179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4F8E966-84BE-9440-8475-7B7E6219B0C1}"/>
              </a:ext>
            </a:extLst>
          </p:cNvPr>
          <p:cNvCxnSpPr>
            <a:cxnSpLocks/>
          </p:cNvCxnSpPr>
          <p:nvPr/>
        </p:nvCxnSpPr>
        <p:spPr>
          <a:xfrm>
            <a:off x="5172738" y="3284415"/>
            <a:ext cx="0" cy="411792"/>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72050D7-6666-7545-8D01-92214C4355AC}"/>
              </a:ext>
            </a:extLst>
          </p:cNvPr>
          <p:cNvCxnSpPr>
            <a:cxnSpLocks/>
          </p:cNvCxnSpPr>
          <p:nvPr/>
        </p:nvCxnSpPr>
        <p:spPr>
          <a:xfrm>
            <a:off x="8783254" y="3201172"/>
            <a:ext cx="0" cy="495035"/>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D5EF24B-D4FE-8940-AB9E-9627418E2F36}"/>
              </a:ext>
            </a:extLst>
          </p:cNvPr>
          <p:cNvCxnSpPr>
            <a:cxnSpLocks/>
          </p:cNvCxnSpPr>
          <p:nvPr/>
        </p:nvCxnSpPr>
        <p:spPr>
          <a:xfrm>
            <a:off x="3404751" y="3706357"/>
            <a:ext cx="0" cy="860338"/>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EB364266-98BF-2246-8C3E-E43B819EA7A7}"/>
              </a:ext>
            </a:extLst>
          </p:cNvPr>
          <p:cNvCxnSpPr>
            <a:cxnSpLocks/>
          </p:cNvCxnSpPr>
          <p:nvPr/>
        </p:nvCxnSpPr>
        <p:spPr>
          <a:xfrm>
            <a:off x="6993232" y="3706357"/>
            <a:ext cx="0" cy="860338"/>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1985E23-9A7D-A24A-A4CD-A4C7772D0AFF}"/>
              </a:ext>
            </a:extLst>
          </p:cNvPr>
          <p:cNvCxnSpPr>
            <a:cxnSpLocks/>
          </p:cNvCxnSpPr>
          <p:nvPr/>
        </p:nvCxnSpPr>
        <p:spPr>
          <a:xfrm>
            <a:off x="10574543" y="3706357"/>
            <a:ext cx="0" cy="1044927"/>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0" name="Group 109">
            <a:extLst>
              <a:ext uri="{FF2B5EF4-FFF2-40B4-BE49-F238E27FC236}">
                <a16:creationId xmlns:a16="http://schemas.microsoft.com/office/drawing/2014/main" id="{35A19B2E-E5B5-874E-A338-7B4DA0807EC6}"/>
              </a:ext>
            </a:extLst>
          </p:cNvPr>
          <p:cNvGrpSpPr/>
          <p:nvPr/>
        </p:nvGrpSpPr>
        <p:grpSpPr>
          <a:xfrm>
            <a:off x="388037" y="-6628456"/>
            <a:ext cx="11420956" cy="5527715"/>
            <a:chOff x="388037" y="1090258"/>
            <a:chExt cx="11420956" cy="5527715"/>
          </a:xfrm>
        </p:grpSpPr>
        <p:sp>
          <p:nvSpPr>
            <p:cNvPr id="93" name="Freeform 92">
              <a:extLst>
                <a:ext uri="{FF2B5EF4-FFF2-40B4-BE49-F238E27FC236}">
                  <a16:creationId xmlns:a16="http://schemas.microsoft.com/office/drawing/2014/main" id="{D4155AA4-E4A9-C74D-A22F-7BC50A9CEF74}"/>
                </a:ext>
              </a:extLst>
            </p:cNvPr>
            <p:cNvSpPr/>
            <p:nvPr/>
          </p:nvSpPr>
          <p:spPr>
            <a:xfrm flipV="1">
              <a:off x="2343421" y="4175249"/>
              <a:ext cx="2103655" cy="2442724"/>
            </a:xfrm>
            <a:custGeom>
              <a:avLst/>
              <a:gdLst>
                <a:gd name="connsiteX0" fmla="*/ 0 w 2103655"/>
                <a:gd name="connsiteY0" fmla="*/ 2442724 h 2442724"/>
                <a:gd name="connsiteX1" fmla="*/ 548430 w 2103655"/>
                <a:gd name="connsiteY1" fmla="*/ 2442724 h 2442724"/>
                <a:gd name="connsiteX2" fmla="*/ 576137 w 2103655"/>
                <a:gd name="connsiteY2" fmla="*/ 2353467 h 2442724"/>
                <a:gd name="connsiteX3" fmla="*/ 1051828 w 2103655"/>
                <a:gd name="connsiteY3" fmla="*/ 2038158 h 2442724"/>
                <a:gd name="connsiteX4" fmla="*/ 1527520 w 2103655"/>
                <a:gd name="connsiteY4" fmla="*/ 2353467 h 2442724"/>
                <a:gd name="connsiteX5" fmla="*/ 1555227 w 2103655"/>
                <a:gd name="connsiteY5" fmla="*/ 2442724 h 2442724"/>
                <a:gd name="connsiteX6" fmla="*/ 2103655 w 2103655"/>
                <a:gd name="connsiteY6" fmla="*/ 2442724 h 2442724"/>
                <a:gd name="connsiteX7" fmla="*/ 2103655 w 2103655"/>
                <a:gd name="connsiteY7" fmla="*/ 151316 h 2442724"/>
                <a:gd name="connsiteX8" fmla="*/ 1952339 w 2103655"/>
                <a:gd name="connsiteY8" fmla="*/ 0 h 2442724"/>
                <a:gd name="connsiteX9" fmla="*/ 151316 w 2103655"/>
                <a:gd name="connsiteY9" fmla="*/ 0 h 2442724"/>
                <a:gd name="connsiteX10" fmla="*/ 0 w 2103655"/>
                <a:gd name="connsiteY10" fmla="*/ 151316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3655" h="2442724">
                  <a:moveTo>
                    <a:pt x="0" y="2442724"/>
                  </a:moveTo>
                  <a:lnTo>
                    <a:pt x="548430" y="2442724"/>
                  </a:lnTo>
                  <a:lnTo>
                    <a:pt x="576137" y="2353467"/>
                  </a:lnTo>
                  <a:cubicBezTo>
                    <a:pt x="654509" y="2168173"/>
                    <a:pt x="837985" y="2038158"/>
                    <a:pt x="1051828" y="2038158"/>
                  </a:cubicBezTo>
                  <a:cubicBezTo>
                    <a:pt x="1265671" y="2038158"/>
                    <a:pt x="1449147" y="2168173"/>
                    <a:pt x="1527520" y="2353467"/>
                  </a:cubicBezTo>
                  <a:lnTo>
                    <a:pt x="1555227" y="2442724"/>
                  </a:lnTo>
                  <a:lnTo>
                    <a:pt x="2103655" y="2442724"/>
                  </a:lnTo>
                  <a:lnTo>
                    <a:pt x="2103655" y="151316"/>
                  </a:lnTo>
                  <a:cubicBezTo>
                    <a:pt x="2103655" y="67746"/>
                    <a:pt x="2035909" y="0"/>
                    <a:pt x="1952339" y="0"/>
                  </a:cubicBezTo>
                  <a:lnTo>
                    <a:pt x="151316" y="0"/>
                  </a:lnTo>
                  <a:cubicBezTo>
                    <a:pt x="67746" y="0"/>
                    <a:pt x="0" y="67746"/>
                    <a:pt x="0" y="151316"/>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92" name="Freeform 91">
              <a:extLst>
                <a:ext uri="{FF2B5EF4-FFF2-40B4-BE49-F238E27FC236}">
                  <a16:creationId xmlns:a16="http://schemas.microsoft.com/office/drawing/2014/main" id="{CBB6F1F7-E209-8A49-B44D-1389428DF8FC}"/>
                </a:ext>
              </a:extLst>
            </p:cNvPr>
            <p:cNvSpPr/>
            <p:nvPr/>
          </p:nvSpPr>
          <p:spPr>
            <a:xfrm flipV="1">
              <a:off x="5945107" y="4175249"/>
              <a:ext cx="2103655" cy="2442724"/>
            </a:xfrm>
            <a:custGeom>
              <a:avLst/>
              <a:gdLst>
                <a:gd name="connsiteX0" fmla="*/ 0 w 2103655"/>
                <a:gd name="connsiteY0" fmla="*/ 2442724 h 2442724"/>
                <a:gd name="connsiteX1" fmla="*/ 548430 w 2103655"/>
                <a:gd name="connsiteY1" fmla="*/ 2442724 h 2442724"/>
                <a:gd name="connsiteX2" fmla="*/ 576137 w 2103655"/>
                <a:gd name="connsiteY2" fmla="*/ 2353467 h 2442724"/>
                <a:gd name="connsiteX3" fmla="*/ 1051828 w 2103655"/>
                <a:gd name="connsiteY3" fmla="*/ 2038158 h 2442724"/>
                <a:gd name="connsiteX4" fmla="*/ 1527520 w 2103655"/>
                <a:gd name="connsiteY4" fmla="*/ 2353467 h 2442724"/>
                <a:gd name="connsiteX5" fmla="*/ 1555227 w 2103655"/>
                <a:gd name="connsiteY5" fmla="*/ 2442724 h 2442724"/>
                <a:gd name="connsiteX6" fmla="*/ 2103655 w 2103655"/>
                <a:gd name="connsiteY6" fmla="*/ 2442724 h 2442724"/>
                <a:gd name="connsiteX7" fmla="*/ 2103655 w 2103655"/>
                <a:gd name="connsiteY7" fmla="*/ 151316 h 2442724"/>
                <a:gd name="connsiteX8" fmla="*/ 1952339 w 2103655"/>
                <a:gd name="connsiteY8" fmla="*/ 0 h 2442724"/>
                <a:gd name="connsiteX9" fmla="*/ 151316 w 2103655"/>
                <a:gd name="connsiteY9" fmla="*/ 0 h 2442724"/>
                <a:gd name="connsiteX10" fmla="*/ 0 w 2103655"/>
                <a:gd name="connsiteY10" fmla="*/ 151316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3655" h="2442724">
                  <a:moveTo>
                    <a:pt x="0" y="2442724"/>
                  </a:moveTo>
                  <a:lnTo>
                    <a:pt x="548430" y="2442724"/>
                  </a:lnTo>
                  <a:lnTo>
                    <a:pt x="576137" y="2353467"/>
                  </a:lnTo>
                  <a:cubicBezTo>
                    <a:pt x="654509" y="2168173"/>
                    <a:pt x="837985" y="2038158"/>
                    <a:pt x="1051828" y="2038158"/>
                  </a:cubicBezTo>
                  <a:cubicBezTo>
                    <a:pt x="1265671" y="2038158"/>
                    <a:pt x="1449147" y="2168173"/>
                    <a:pt x="1527520" y="2353467"/>
                  </a:cubicBezTo>
                  <a:lnTo>
                    <a:pt x="1555227" y="2442724"/>
                  </a:lnTo>
                  <a:lnTo>
                    <a:pt x="2103655" y="2442724"/>
                  </a:lnTo>
                  <a:lnTo>
                    <a:pt x="2103655" y="151316"/>
                  </a:lnTo>
                  <a:cubicBezTo>
                    <a:pt x="2103655" y="67746"/>
                    <a:pt x="2035909" y="0"/>
                    <a:pt x="1952339" y="0"/>
                  </a:cubicBezTo>
                  <a:lnTo>
                    <a:pt x="151316" y="0"/>
                  </a:lnTo>
                  <a:cubicBezTo>
                    <a:pt x="67746" y="0"/>
                    <a:pt x="0" y="67746"/>
                    <a:pt x="0" y="151316"/>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90" name="Freeform 89">
              <a:extLst>
                <a:ext uri="{FF2B5EF4-FFF2-40B4-BE49-F238E27FC236}">
                  <a16:creationId xmlns:a16="http://schemas.microsoft.com/office/drawing/2014/main" id="{96E1E75B-BD27-244F-8D57-458743708F03}"/>
                </a:ext>
              </a:extLst>
            </p:cNvPr>
            <p:cNvSpPr/>
            <p:nvPr/>
          </p:nvSpPr>
          <p:spPr>
            <a:xfrm>
              <a:off x="7709237" y="1090258"/>
              <a:ext cx="2103655" cy="2442724"/>
            </a:xfrm>
            <a:custGeom>
              <a:avLst/>
              <a:gdLst>
                <a:gd name="connsiteX0" fmla="*/ 151316 w 2103655"/>
                <a:gd name="connsiteY0" fmla="*/ 0 h 2442724"/>
                <a:gd name="connsiteX1" fmla="*/ 1952339 w 2103655"/>
                <a:gd name="connsiteY1" fmla="*/ 0 h 2442724"/>
                <a:gd name="connsiteX2" fmla="*/ 2103655 w 2103655"/>
                <a:gd name="connsiteY2" fmla="*/ 151316 h 2442724"/>
                <a:gd name="connsiteX3" fmla="*/ 2103655 w 2103655"/>
                <a:gd name="connsiteY3" fmla="*/ 2442724 h 2442724"/>
                <a:gd name="connsiteX4" fmla="*/ 1555226 w 2103655"/>
                <a:gd name="connsiteY4" fmla="*/ 2442724 h 2442724"/>
                <a:gd name="connsiteX5" fmla="*/ 1527520 w 2103655"/>
                <a:gd name="connsiteY5" fmla="*/ 2353467 h 2442724"/>
                <a:gd name="connsiteX6" fmla="*/ 1051828 w 2103655"/>
                <a:gd name="connsiteY6" fmla="*/ 2038158 h 2442724"/>
                <a:gd name="connsiteX7" fmla="*/ 576137 w 2103655"/>
                <a:gd name="connsiteY7" fmla="*/ 2353467 h 2442724"/>
                <a:gd name="connsiteX8" fmla="*/ 548430 w 2103655"/>
                <a:gd name="connsiteY8" fmla="*/ 2442724 h 2442724"/>
                <a:gd name="connsiteX9" fmla="*/ 0 w 2103655"/>
                <a:gd name="connsiteY9" fmla="*/ 2442724 h 2442724"/>
                <a:gd name="connsiteX10" fmla="*/ 0 w 2103655"/>
                <a:gd name="connsiteY10" fmla="*/ 151316 h 2442724"/>
                <a:gd name="connsiteX11" fmla="*/ 151316 w 2103655"/>
                <a:gd name="connsiteY11" fmla="*/ 0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3655" h="2442724">
                  <a:moveTo>
                    <a:pt x="151316" y="0"/>
                  </a:moveTo>
                  <a:lnTo>
                    <a:pt x="1952339" y="0"/>
                  </a:lnTo>
                  <a:cubicBezTo>
                    <a:pt x="2035909" y="0"/>
                    <a:pt x="2103655" y="67746"/>
                    <a:pt x="2103655" y="151316"/>
                  </a:cubicBezTo>
                  <a:lnTo>
                    <a:pt x="2103655" y="2442724"/>
                  </a:lnTo>
                  <a:lnTo>
                    <a:pt x="1555226" y="2442724"/>
                  </a:lnTo>
                  <a:lnTo>
                    <a:pt x="1527520" y="2353467"/>
                  </a:lnTo>
                  <a:cubicBezTo>
                    <a:pt x="1449147" y="2168173"/>
                    <a:pt x="1265671" y="2038158"/>
                    <a:pt x="1051828" y="2038158"/>
                  </a:cubicBezTo>
                  <a:cubicBezTo>
                    <a:pt x="837985" y="2038158"/>
                    <a:pt x="654509" y="2168173"/>
                    <a:pt x="576137" y="2353467"/>
                  </a:cubicBezTo>
                  <a:lnTo>
                    <a:pt x="548430" y="2442724"/>
                  </a:lnTo>
                  <a:lnTo>
                    <a:pt x="0" y="2442724"/>
                  </a:lnTo>
                  <a:lnTo>
                    <a:pt x="0" y="151316"/>
                  </a:lnTo>
                  <a:cubicBezTo>
                    <a:pt x="0" y="67746"/>
                    <a:pt x="67746" y="0"/>
                    <a:pt x="151316" y="0"/>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91" name="Freeform 90">
              <a:extLst>
                <a:ext uri="{FF2B5EF4-FFF2-40B4-BE49-F238E27FC236}">
                  <a16:creationId xmlns:a16="http://schemas.microsoft.com/office/drawing/2014/main" id="{D20C8DBB-CAFD-BA4F-8A1B-66B70151D0E7}"/>
                </a:ext>
              </a:extLst>
            </p:cNvPr>
            <p:cNvSpPr/>
            <p:nvPr/>
          </p:nvSpPr>
          <p:spPr>
            <a:xfrm flipV="1">
              <a:off x="9331183" y="4175249"/>
              <a:ext cx="2477810" cy="2442724"/>
            </a:xfrm>
            <a:custGeom>
              <a:avLst/>
              <a:gdLst>
                <a:gd name="connsiteX0" fmla="*/ 0 w 2477810"/>
                <a:gd name="connsiteY0" fmla="*/ 2442724 h 2442724"/>
                <a:gd name="connsiteX1" fmla="*/ 735507 w 2477810"/>
                <a:gd name="connsiteY1" fmla="*/ 2442724 h 2442724"/>
                <a:gd name="connsiteX2" fmla="*/ 763213 w 2477810"/>
                <a:gd name="connsiteY2" fmla="*/ 2353467 h 2442724"/>
                <a:gd name="connsiteX3" fmla="*/ 1238905 w 2477810"/>
                <a:gd name="connsiteY3" fmla="*/ 2038158 h 2442724"/>
                <a:gd name="connsiteX4" fmla="*/ 1714597 w 2477810"/>
                <a:gd name="connsiteY4" fmla="*/ 2353467 h 2442724"/>
                <a:gd name="connsiteX5" fmla="*/ 1742303 w 2477810"/>
                <a:gd name="connsiteY5" fmla="*/ 2442724 h 2442724"/>
                <a:gd name="connsiteX6" fmla="*/ 2477810 w 2477810"/>
                <a:gd name="connsiteY6" fmla="*/ 2442724 h 2442724"/>
                <a:gd name="connsiteX7" fmla="*/ 2477810 w 2477810"/>
                <a:gd name="connsiteY7" fmla="*/ 175705 h 2442724"/>
                <a:gd name="connsiteX8" fmla="*/ 2302105 w 2477810"/>
                <a:gd name="connsiteY8" fmla="*/ 0 h 2442724"/>
                <a:gd name="connsiteX9" fmla="*/ 175705 w 2477810"/>
                <a:gd name="connsiteY9" fmla="*/ 0 h 2442724"/>
                <a:gd name="connsiteX10" fmla="*/ 0 w 2477810"/>
                <a:gd name="connsiteY10" fmla="*/ 175705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7810" h="2442724">
                  <a:moveTo>
                    <a:pt x="0" y="2442724"/>
                  </a:moveTo>
                  <a:lnTo>
                    <a:pt x="735507" y="2442724"/>
                  </a:lnTo>
                  <a:lnTo>
                    <a:pt x="763213" y="2353467"/>
                  </a:lnTo>
                  <a:cubicBezTo>
                    <a:pt x="841586" y="2168173"/>
                    <a:pt x="1025062" y="2038158"/>
                    <a:pt x="1238905" y="2038158"/>
                  </a:cubicBezTo>
                  <a:cubicBezTo>
                    <a:pt x="1452748" y="2038158"/>
                    <a:pt x="1636224" y="2168173"/>
                    <a:pt x="1714597" y="2353467"/>
                  </a:cubicBezTo>
                  <a:lnTo>
                    <a:pt x="1742303" y="2442724"/>
                  </a:lnTo>
                  <a:lnTo>
                    <a:pt x="2477810" y="2442724"/>
                  </a:lnTo>
                  <a:lnTo>
                    <a:pt x="2477810" y="175705"/>
                  </a:lnTo>
                  <a:cubicBezTo>
                    <a:pt x="2477810" y="78666"/>
                    <a:pt x="2399144" y="0"/>
                    <a:pt x="2302105" y="0"/>
                  </a:cubicBezTo>
                  <a:lnTo>
                    <a:pt x="175705" y="0"/>
                  </a:lnTo>
                  <a:cubicBezTo>
                    <a:pt x="78666" y="0"/>
                    <a:pt x="0" y="78666"/>
                    <a:pt x="0" y="175705"/>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8" name="Freeform 87">
              <a:extLst>
                <a:ext uri="{FF2B5EF4-FFF2-40B4-BE49-F238E27FC236}">
                  <a16:creationId xmlns:a16="http://schemas.microsoft.com/office/drawing/2014/main" id="{DE430B08-D5F6-584A-AEC7-4D996671124D}"/>
                </a:ext>
              </a:extLst>
            </p:cNvPr>
            <p:cNvSpPr/>
            <p:nvPr/>
          </p:nvSpPr>
          <p:spPr>
            <a:xfrm>
              <a:off x="388037" y="1090258"/>
              <a:ext cx="2794500" cy="2442724"/>
            </a:xfrm>
            <a:custGeom>
              <a:avLst/>
              <a:gdLst>
                <a:gd name="connsiteX0" fmla="*/ 175705 w 2794500"/>
                <a:gd name="connsiteY0" fmla="*/ 0 h 2442724"/>
                <a:gd name="connsiteX1" fmla="*/ 2618795 w 2794500"/>
                <a:gd name="connsiteY1" fmla="*/ 0 h 2442724"/>
                <a:gd name="connsiteX2" fmla="*/ 2794500 w 2794500"/>
                <a:gd name="connsiteY2" fmla="*/ 175705 h 2442724"/>
                <a:gd name="connsiteX3" fmla="*/ 2794500 w 2794500"/>
                <a:gd name="connsiteY3" fmla="*/ 2442724 h 2442724"/>
                <a:gd name="connsiteX4" fmla="*/ 1900648 w 2794500"/>
                <a:gd name="connsiteY4" fmla="*/ 2442724 h 2442724"/>
                <a:gd name="connsiteX5" fmla="*/ 1872942 w 2794500"/>
                <a:gd name="connsiteY5" fmla="*/ 2353467 h 2442724"/>
                <a:gd name="connsiteX6" fmla="*/ 1397250 w 2794500"/>
                <a:gd name="connsiteY6" fmla="*/ 2038158 h 2442724"/>
                <a:gd name="connsiteX7" fmla="*/ 921558 w 2794500"/>
                <a:gd name="connsiteY7" fmla="*/ 2353467 h 2442724"/>
                <a:gd name="connsiteX8" fmla="*/ 893852 w 2794500"/>
                <a:gd name="connsiteY8" fmla="*/ 2442724 h 2442724"/>
                <a:gd name="connsiteX9" fmla="*/ 0 w 2794500"/>
                <a:gd name="connsiteY9" fmla="*/ 2442724 h 2442724"/>
                <a:gd name="connsiteX10" fmla="*/ 0 w 2794500"/>
                <a:gd name="connsiteY10" fmla="*/ 175705 h 2442724"/>
                <a:gd name="connsiteX11" fmla="*/ 175705 w 2794500"/>
                <a:gd name="connsiteY11" fmla="*/ 0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4500" h="2442724">
                  <a:moveTo>
                    <a:pt x="175705" y="0"/>
                  </a:moveTo>
                  <a:lnTo>
                    <a:pt x="2618795" y="0"/>
                  </a:lnTo>
                  <a:cubicBezTo>
                    <a:pt x="2715834" y="0"/>
                    <a:pt x="2794500" y="78666"/>
                    <a:pt x="2794500" y="175705"/>
                  </a:cubicBezTo>
                  <a:lnTo>
                    <a:pt x="2794500" y="2442724"/>
                  </a:lnTo>
                  <a:lnTo>
                    <a:pt x="1900648" y="2442724"/>
                  </a:lnTo>
                  <a:lnTo>
                    <a:pt x="1872942" y="2353467"/>
                  </a:lnTo>
                  <a:cubicBezTo>
                    <a:pt x="1794569" y="2168173"/>
                    <a:pt x="1611093" y="2038158"/>
                    <a:pt x="1397250" y="2038158"/>
                  </a:cubicBezTo>
                  <a:cubicBezTo>
                    <a:pt x="1183407" y="2038158"/>
                    <a:pt x="999931" y="2168173"/>
                    <a:pt x="921558" y="2353467"/>
                  </a:cubicBezTo>
                  <a:lnTo>
                    <a:pt x="893852" y="2442724"/>
                  </a:lnTo>
                  <a:lnTo>
                    <a:pt x="0" y="2442724"/>
                  </a:lnTo>
                  <a:lnTo>
                    <a:pt x="0" y="175705"/>
                  </a:lnTo>
                  <a:cubicBezTo>
                    <a:pt x="0" y="78666"/>
                    <a:pt x="78666" y="0"/>
                    <a:pt x="175705" y="0"/>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89" name="Freeform 88">
              <a:extLst>
                <a:ext uri="{FF2B5EF4-FFF2-40B4-BE49-F238E27FC236}">
                  <a16:creationId xmlns:a16="http://schemas.microsoft.com/office/drawing/2014/main" id="{574CF010-F463-6944-9387-2CC99A0B6BB8}"/>
                </a:ext>
              </a:extLst>
            </p:cNvPr>
            <p:cNvSpPr/>
            <p:nvPr/>
          </p:nvSpPr>
          <p:spPr>
            <a:xfrm>
              <a:off x="4122893" y="1090258"/>
              <a:ext cx="2103655" cy="2442724"/>
            </a:xfrm>
            <a:custGeom>
              <a:avLst/>
              <a:gdLst>
                <a:gd name="connsiteX0" fmla="*/ 151316 w 2103655"/>
                <a:gd name="connsiteY0" fmla="*/ 0 h 2442724"/>
                <a:gd name="connsiteX1" fmla="*/ 1952339 w 2103655"/>
                <a:gd name="connsiteY1" fmla="*/ 0 h 2442724"/>
                <a:gd name="connsiteX2" fmla="*/ 2103655 w 2103655"/>
                <a:gd name="connsiteY2" fmla="*/ 151316 h 2442724"/>
                <a:gd name="connsiteX3" fmla="*/ 2103655 w 2103655"/>
                <a:gd name="connsiteY3" fmla="*/ 2442724 h 2442724"/>
                <a:gd name="connsiteX4" fmla="*/ 1555227 w 2103655"/>
                <a:gd name="connsiteY4" fmla="*/ 2442724 h 2442724"/>
                <a:gd name="connsiteX5" fmla="*/ 1527520 w 2103655"/>
                <a:gd name="connsiteY5" fmla="*/ 2353467 h 2442724"/>
                <a:gd name="connsiteX6" fmla="*/ 1051828 w 2103655"/>
                <a:gd name="connsiteY6" fmla="*/ 2038158 h 2442724"/>
                <a:gd name="connsiteX7" fmla="*/ 576137 w 2103655"/>
                <a:gd name="connsiteY7" fmla="*/ 2353467 h 2442724"/>
                <a:gd name="connsiteX8" fmla="*/ 548430 w 2103655"/>
                <a:gd name="connsiteY8" fmla="*/ 2442724 h 2442724"/>
                <a:gd name="connsiteX9" fmla="*/ 0 w 2103655"/>
                <a:gd name="connsiteY9" fmla="*/ 2442724 h 2442724"/>
                <a:gd name="connsiteX10" fmla="*/ 0 w 2103655"/>
                <a:gd name="connsiteY10" fmla="*/ 151316 h 2442724"/>
                <a:gd name="connsiteX11" fmla="*/ 151316 w 2103655"/>
                <a:gd name="connsiteY11" fmla="*/ 0 h 244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03655" h="2442724">
                  <a:moveTo>
                    <a:pt x="151316" y="0"/>
                  </a:moveTo>
                  <a:lnTo>
                    <a:pt x="1952339" y="0"/>
                  </a:lnTo>
                  <a:cubicBezTo>
                    <a:pt x="2035909" y="0"/>
                    <a:pt x="2103655" y="67746"/>
                    <a:pt x="2103655" y="151316"/>
                  </a:cubicBezTo>
                  <a:lnTo>
                    <a:pt x="2103655" y="2442724"/>
                  </a:lnTo>
                  <a:lnTo>
                    <a:pt x="1555227" y="2442724"/>
                  </a:lnTo>
                  <a:lnTo>
                    <a:pt x="1527520" y="2353467"/>
                  </a:lnTo>
                  <a:cubicBezTo>
                    <a:pt x="1449147" y="2168173"/>
                    <a:pt x="1265671" y="2038158"/>
                    <a:pt x="1051828" y="2038158"/>
                  </a:cubicBezTo>
                  <a:cubicBezTo>
                    <a:pt x="837985" y="2038158"/>
                    <a:pt x="654509" y="2168173"/>
                    <a:pt x="576137" y="2353467"/>
                  </a:cubicBezTo>
                  <a:lnTo>
                    <a:pt x="548430" y="2442724"/>
                  </a:lnTo>
                  <a:lnTo>
                    <a:pt x="0" y="2442724"/>
                  </a:lnTo>
                  <a:lnTo>
                    <a:pt x="0" y="151316"/>
                  </a:lnTo>
                  <a:cubicBezTo>
                    <a:pt x="0" y="67746"/>
                    <a:pt x="67746" y="0"/>
                    <a:pt x="151316" y="0"/>
                  </a:cubicBezTo>
                  <a:close/>
                </a:path>
              </a:pathLst>
            </a:custGeom>
            <a:gradFill flip="none" rotWithShape="1">
              <a:gsLst>
                <a:gs pos="0">
                  <a:schemeClr val="tx2">
                    <a:lumMod val="20000"/>
                    <a:lumOff val="80000"/>
                    <a:alpha val="72000"/>
                  </a:schemeClr>
                </a:gs>
                <a:gs pos="50000">
                  <a:schemeClr val="tx2">
                    <a:lumMod val="40000"/>
                    <a:lumOff val="60000"/>
                  </a:schemeClr>
                </a:gs>
              </a:gsLst>
              <a:lin ang="16200000" scaled="0"/>
              <a:tileRect/>
            </a:gradFill>
            <a:ln>
              <a:noFill/>
            </a:ln>
            <a:effectLst>
              <a:outerShdw blurRad="63500" sx="102000" sy="102000" algn="ctr"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pSp>
      <p:cxnSp>
        <p:nvCxnSpPr>
          <p:cNvPr id="10" name="Straight Connector 9">
            <a:extLst>
              <a:ext uri="{FF2B5EF4-FFF2-40B4-BE49-F238E27FC236}">
                <a16:creationId xmlns:a16="http://schemas.microsoft.com/office/drawing/2014/main" id="{2C7FA1A1-8170-294E-9B9C-E73FCEC131FA}"/>
              </a:ext>
            </a:extLst>
          </p:cNvPr>
          <p:cNvCxnSpPr>
            <a:cxnSpLocks/>
          </p:cNvCxnSpPr>
          <p:nvPr/>
        </p:nvCxnSpPr>
        <p:spPr>
          <a:xfrm>
            <a:off x="0" y="3703619"/>
            <a:ext cx="121920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E50627D1-984F-BD41-9222-5D74CE9F2D13}"/>
              </a:ext>
            </a:extLst>
          </p:cNvPr>
          <p:cNvSpPr>
            <a:spLocks noChangeAspect="1"/>
          </p:cNvSpPr>
          <p:nvPr/>
        </p:nvSpPr>
        <p:spPr>
          <a:xfrm>
            <a:off x="3293311"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4" name="Oval 53">
            <a:extLst>
              <a:ext uri="{FF2B5EF4-FFF2-40B4-BE49-F238E27FC236}">
                <a16:creationId xmlns:a16="http://schemas.microsoft.com/office/drawing/2014/main" id="{1D66DB8D-5A9F-3F44-92B6-4B113C60EDAB}"/>
              </a:ext>
            </a:extLst>
          </p:cNvPr>
          <p:cNvSpPr>
            <a:spLocks noChangeAspect="1"/>
          </p:cNvSpPr>
          <p:nvPr/>
        </p:nvSpPr>
        <p:spPr>
          <a:xfrm>
            <a:off x="5061298"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5" name="Oval 54">
            <a:extLst>
              <a:ext uri="{FF2B5EF4-FFF2-40B4-BE49-F238E27FC236}">
                <a16:creationId xmlns:a16="http://schemas.microsoft.com/office/drawing/2014/main" id="{57578406-E8B3-604E-8D6A-DC3DB746DC0F}"/>
              </a:ext>
            </a:extLst>
          </p:cNvPr>
          <p:cNvSpPr>
            <a:spLocks noChangeAspect="1"/>
          </p:cNvSpPr>
          <p:nvPr/>
        </p:nvSpPr>
        <p:spPr>
          <a:xfrm>
            <a:off x="6881792"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56" name="Oval 55">
            <a:extLst>
              <a:ext uri="{FF2B5EF4-FFF2-40B4-BE49-F238E27FC236}">
                <a16:creationId xmlns:a16="http://schemas.microsoft.com/office/drawing/2014/main" id="{4AD290A3-9B61-BC46-9CE4-D856AF24CB32}"/>
              </a:ext>
            </a:extLst>
          </p:cNvPr>
          <p:cNvSpPr>
            <a:spLocks noChangeAspect="1"/>
          </p:cNvSpPr>
          <p:nvPr/>
        </p:nvSpPr>
        <p:spPr>
          <a:xfrm>
            <a:off x="8671814"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30" name="Oval 29">
            <a:extLst>
              <a:ext uri="{FF2B5EF4-FFF2-40B4-BE49-F238E27FC236}">
                <a16:creationId xmlns:a16="http://schemas.microsoft.com/office/drawing/2014/main" id="{7050B246-CDFD-DD47-B60B-347BC690B455}"/>
              </a:ext>
            </a:extLst>
          </p:cNvPr>
          <p:cNvSpPr>
            <a:spLocks noChangeAspect="1"/>
          </p:cNvSpPr>
          <p:nvPr/>
        </p:nvSpPr>
        <p:spPr>
          <a:xfrm>
            <a:off x="10463103"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17" name="Oval 16">
            <a:extLst>
              <a:ext uri="{FF2B5EF4-FFF2-40B4-BE49-F238E27FC236}">
                <a16:creationId xmlns:a16="http://schemas.microsoft.com/office/drawing/2014/main" id="{103DF75B-0997-FA4B-9DC6-39C6792E1AD5}"/>
              </a:ext>
            </a:extLst>
          </p:cNvPr>
          <p:cNvSpPr>
            <a:spLocks noChangeAspect="1"/>
          </p:cNvSpPr>
          <p:nvPr/>
        </p:nvSpPr>
        <p:spPr>
          <a:xfrm>
            <a:off x="1676181" y="3592506"/>
            <a:ext cx="222880" cy="222880"/>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Subtitle 2">
            <a:extLst>
              <a:ext uri="{FF2B5EF4-FFF2-40B4-BE49-F238E27FC236}">
                <a16:creationId xmlns:a16="http://schemas.microsoft.com/office/drawing/2014/main" id="{5750F33F-3ED7-428A-B76F-BB599C5E8F98}"/>
              </a:ext>
            </a:extLst>
          </p:cNvPr>
          <p:cNvSpPr txBox="1">
            <a:spLocks/>
          </p:cNvSpPr>
          <p:nvPr/>
        </p:nvSpPr>
        <p:spPr>
          <a:xfrm>
            <a:off x="3007866" y="3284415"/>
            <a:ext cx="778780" cy="27699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15</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pic>
        <p:nvPicPr>
          <p:cNvPr id="39" name="Picture 38">
            <a:extLst>
              <a:ext uri="{FF2B5EF4-FFF2-40B4-BE49-F238E27FC236}">
                <a16:creationId xmlns:a16="http://schemas.microsoft.com/office/drawing/2014/main" id="{212AE138-34B6-BB4F-9589-D620240E8B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8459" y="4656526"/>
            <a:ext cx="1517595" cy="1554480"/>
          </a:xfrm>
          <a:prstGeom prst="rect">
            <a:avLst/>
          </a:prstGeom>
        </p:spPr>
      </p:pic>
      <p:sp>
        <p:nvSpPr>
          <p:cNvPr id="18" name="Subtitle 2">
            <a:extLst>
              <a:ext uri="{FF2B5EF4-FFF2-40B4-BE49-F238E27FC236}">
                <a16:creationId xmlns:a16="http://schemas.microsoft.com/office/drawing/2014/main" id="{8A0770A0-C00C-C944-BC01-0CB5AD0D53C2}"/>
              </a:ext>
            </a:extLst>
          </p:cNvPr>
          <p:cNvSpPr txBox="1">
            <a:spLocks/>
          </p:cNvSpPr>
          <p:nvPr/>
        </p:nvSpPr>
        <p:spPr>
          <a:xfrm>
            <a:off x="4454072" y="3895660"/>
            <a:ext cx="1436679" cy="276999"/>
          </a:xfrm>
          <a:prstGeom prst="rect">
            <a:avLst/>
          </a:prstGeom>
        </p:spPr>
        <p:txBody>
          <a:bodyPr vert="horz"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29</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pic>
        <p:nvPicPr>
          <p:cNvPr id="41" name="Picture 40">
            <a:extLst>
              <a:ext uri="{FF2B5EF4-FFF2-40B4-BE49-F238E27FC236}">
                <a16:creationId xmlns:a16="http://schemas.microsoft.com/office/drawing/2014/main" id="{C3592F8E-5FFB-C645-8FDA-624FBCC204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59529" y="1646692"/>
            <a:ext cx="1425765" cy="1554480"/>
          </a:xfrm>
          <a:prstGeom prst="rect">
            <a:avLst/>
          </a:prstGeom>
        </p:spPr>
      </p:pic>
      <p:sp>
        <p:nvSpPr>
          <p:cNvPr id="16" name="Subtitle 2">
            <a:extLst>
              <a:ext uri="{FF2B5EF4-FFF2-40B4-BE49-F238E27FC236}">
                <a16:creationId xmlns:a16="http://schemas.microsoft.com/office/drawing/2014/main" id="{2E426CD7-91DA-8A4D-BE9D-4D1935809B89}"/>
              </a:ext>
            </a:extLst>
          </p:cNvPr>
          <p:cNvSpPr txBox="1">
            <a:spLocks/>
          </p:cNvSpPr>
          <p:nvPr/>
        </p:nvSpPr>
        <p:spPr>
          <a:xfrm>
            <a:off x="6274566" y="3284415"/>
            <a:ext cx="1436679" cy="276999"/>
          </a:xfrm>
          <a:prstGeom prst="rect">
            <a:avLst/>
          </a:prstGeom>
        </p:spPr>
        <p:txBody>
          <a:bodyPr vert="horz"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41</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pic>
        <p:nvPicPr>
          <p:cNvPr id="43" name="Picture 42">
            <a:extLst>
              <a:ext uri="{FF2B5EF4-FFF2-40B4-BE49-F238E27FC236}">
                <a16:creationId xmlns:a16="http://schemas.microsoft.com/office/drawing/2014/main" id="{8CF682B3-9A62-BB49-B3BA-F9115DD815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1747" y="4656526"/>
            <a:ext cx="1502316" cy="1554480"/>
          </a:xfrm>
          <a:prstGeom prst="rect">
            <a:avLst/>
          </a:prstGeom>
        </p:spPr>
      </p:pic>
      <p:sp>
        <p:nvSpPr>
          <p:cNvPr id="14" name="Subtitle 2">
            <a:extLst>
              <a:ext uri="{FF2B5EF4-FFF2-40B4-BE49-F238E27FC236}">
                <a16:creationId xmlns:a16="http://schemas.microsoft.com/office/drawing/2014/main" id="{141FA249-C793-4909-BEA3-772DFFAE6F90}"/>
              </a:ext>
            </a:extLst>
          </p:cNvPr>
          <p:cNvSpPr txBox="1">
            <a:spLocks/>
          </p:cNvSpPr>
          <p:nvPr/>
        </p:nvSpPr>
        <p:spPr>
          <a:xfrm>
            <a:off x="8064588" y="3895660"/>
            <a:ext cx="1436679" cy="276999"/>
          </a:xfrm>
          <a:prstGeom prst="rect">
            <a:avLst/>
          </a:prstGeom>
        </p:spPr>
        <p:txBody>
          <a:bodyPr vert="horz"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80</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pic>
        <p:nvPicPr>
          <p:cNvPr id="45" name="Picture 44">
            <a:extLst>
              <a:ext uri="{FF2B5EF4-FFF2-40B4-BE49-F238E27FC236}">
                <a16:creationId xmlns:a16="http://schemas.microsoft.com/office/drawing/2014/main" id="{B81B1447-8027-FB4C-B805-FB7F83ECB82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64854" y="1758219"/>
            <a:ext cx="1436146" cy="1331427"/>
          </a:xfrm>
          <a:prstGeom prst="rect">
            <a:avLst/>
          </a:prstGeom>
        </p:spPr>
      </p:pic>
      <p:pic>
        <p:nvPicPr>
          <p:cNvPr id="15" name="Picture 15" descr="A picture containing drawing&#10;&#10;Description automatically generated">
            <a:extLst>
              <a:ext uri="{FF2B5EF4-FFF2-40B4-BE49-F238E27FC236}">
                <a16:creationId xmlns:a16="http://schemas.microsoft.com/office/drawing/2014/main" id="{C0C768BA-9FA4-4698-BE05-E245BBFC9865}"/>
              </a:ext>
            </a:extLst>
          </p:cNvPr>
          <p:cNvPicPr>
            <a:picLocks noChangeAspect="1"/>
          </p:cNvPicPr>
          <p:nvPr/>
        </p:nvPicPr>
        <p:blipFill>
          <a:blip r:embed="rId7"/>
          <a:stretch>
            <a:fillRect/>
          </a:stretch>
        </p:blipFill>
        <p:spPr>
          <a:xfrm>
            <a:off x="9548207" y="4865900"/>
            <a:ext cx="2047777" cy="1135732"/>
          </a:xfrm>
          <a:prstGeom prst="rect">
            <a:avLst/>
          </a:prstGeom>
        </p:spPr>
      </p:pic>
      <p:sp>
        <p:nvSpPr>
          <p:cNvPr id="12" name="Subtitle 2">
            <a:extLst>
              <a:ext uri="{FF2B5EF4-FFF2-40B4-BE49-F238E27FC236}">
                <a16:creationId xmlns:a16="http://schemas.microsoft.com/office/drawing/2014/main" id="{36579FCE-CCB9-9C48-B1E5-F83E62B19483}"/>
              </a:ext>
            </a:extLst>
          </p:cNvPr>
          <p:cNvSpPr txBox="1">
            <a:spLocks/>
          </p:cNvSpPr>
          <p:nvPr/>
        </p:nvSpPr>
        <p:spPr>
          <a:xfrm>
            <a:off x="9853756" y="3284415"/>
            <a:ext cx="1436679" cy="276999"/>
          </a:xfrm>
          <a:prstGeom prst="rect">
            <a:avLst/>
          </a:prstGeom>
        </p:spPr>
        <p:txBody>
          <a:bodyPr vert="horz"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90</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pic>
        <p:nvPicPr>
          <p:cNvPr id="4" name="Picture 1026" descr="federated bc">
            <a:extLst>
              <a:ext uri="{FF2B5EF4-FFF2-40B4-BE49-F238E27FC236}">
                <a16:creationId xmlns:a16="http://schemas.microsoft.com/office/drawing/2014/main" id="{B9D04C7E-39B7-4259-AFB0-DBC1E0E4F059}"/>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3141" y="1614761"/>
            <a:ext cx="2268306" cy="1606467"/>
          </a:xfrm>
          <a:prstGeom prst="rect">
            <a:avLst/>
          </a:prstGeom>
          <a:ln w="50800">
            <a:noFill/>
          </a:ln>
          <a:effectLst/>
          <a:extLst>
            <a:ext uri="{909E8E84-426E-40DD-AFC4-6F175D3DCCD1}">
              <a14:hiddenFill xmlns:a14="http://schemas.microsoft.com/office/drawing/2010/main">
                <a:solidFill>
                  <a:srgbClr val="FFFFFF"/>
                </a:solidFill>
              </a14:hiddenFill>
            </a:ext>
          </a:extLst>
        </p:spPr>
      </p:pic>
      <p:sp>
        <p:nvSpPr>
          <p:cNvPr id="6" name="Subtitle 2">
            <a:extLst>
              <a:ext uri="{FF2B5EF4-FFF2-40B4-BE49-F238E27FC236}">
                <a16:creationId xmlns:a16="http://schemas.microsoft.com/office/drawing/2014/main" id="{277608EF-1497-46A3-8B1D-BBE79E487D1C}"/>
              </a:ext>
            </a:extLst>
          </p:cNvPr>
          <p:cNvSpPr txBox="1">
            <a:spLocks/>
          </p:cNvSpPr>
          <p:nvPr/>
        </p:nvSpPr>
        <p:spPr>
          <a:xfrm>
            <a:off x="1068955" y="3895660"/>
            <a:ext cx="1436679" cy="276999"/>
          </a:xfrm>
          <a:prstGeom prst="rect">
            <a:avLst/>
          </a:prstGeom>
        </p:spPr>
        <p:txBody>
          <a:bodyPr vert="horz" lIns="0" tIns="0" rIns="0" bIns="0" rtlCol="0" anchor="t">
            <a:spAutoFit/>
          </a:bodyPr>
          <a:lstStyle>
            <a:lvl1pPr marL="0" indent="0" algn="l" defTabSz="914400" rtl="0" eaLnBrk="1" latinLnBrk="0" hangingPunct="1">
              <a:lnSpc>
                <a:spcPct val="90000"/>
              </a:lnSpc>
              <a:spcBef>
                <a:spcPts val="1200"/>
              </a:spcBef>
              <a:buClr>
                <a:schemeClr val="accent1"/>
              </a:buClr>
              <a:buFont typeface="Wingdings 2" pitchFamily="18" charset="2"/>
              <a:buNone/>
              <a:defRPr sz="2200" b="1" i="0" kern="1200" cap="none" spc="0" baseline="0">
                <a:solidFill>
                  <a:schemeClr val="accent1">
                    <a:lumMod val="20000"/>
                    <a:lumOff val="80000"/>
                  </a:schemeClr>
                </a:solidFill>
                <a:latin typeface="Arial Black" panose="020B0604020202020204" pitchFamily="34" charset="0"/>
                <a:ea typeface="+mn-ea"/>
                <a:cs typeface="Arial Black" panose="020B0604020202020204" pitchFamily="34" charset="0"/>
              </a:defRPr>
            </a:lvl1pPr>
            <a:lvl2pPr marL="4572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2pPr>
            <a:lvl3pPr marL="914400" indent="0" algn="ctr" defTabSz="914400" rtl="0" eaLnBrk="1" latinLnBrk="0" hangingPunct="1">
              <a:lnSpc>
                <a:spcPct val="90000"/>
              </a:lnSpc>
              <a:spcBef>
                <a:spcPts val="250"/>
              </a:spcBef>
              <a:spcAft>
                <a:spcPts val="250"/>
              </a:spcAft>
              <a:buClr>
                <a:schemeClr val="accent1"/>
              </a:buClr>
              <a:buFont typeface="Wingdings 2" pitchFamily="18" charset="2"/>
              <a:buNone/>
              <a:defRPr sz="2200" b="1" i="0" kern="1200">
                <a:solidFill>
                  <a:schemeClr val="accent2"/>
                </a:solidFill>
                <a:latin typeface="Arial Black" panose="020B0604020202020204" pitchFamily="34" charset="0"/>
                <a:ea typeface="+mn-ea"/>
                <a:cs typeface="Arial Black" panose="020B0604020202020204" pitchFamily="34" charset="0"/>
              </a:defRPr>
            </a:lvl3pPr>
            <a:lvl4pPr marL="13716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4pPr>
            <a:lvl5pPr marL="1828800" indent="0" algn="ctr" defTabSz="914400" rtl="0" eaLnBrk="1" latinLnBrk="0" hangingPunct="1">
              <a:lnSpc>
                <a:spcPct val="90000"/>
              </a:lnSpc>
              <a:spcBef>
                <a:spcPts val="250"/>
              </a:spcBef>
              <a:spcAft>
                <a:spcPts val="250"/>
              </a:spcAft>
              <a:buClr>
                <a:schemeClr val="accent1"/>
              </a:buClr>
              <a:buFont typeface="Wingdings 2" pitchFamily="18" charset="2"/>
              <a:buNone/>
              <a:defRPr sz="2000" b="1" i="0" kern="1200">
                <a:solidFill>
                  <a:schemeClr val="accent2"/>
                </a:solidFill>
                <a:latin typeface="Arial Black" panose="020B0604020202020204" pitchFamily="34" charset="0"/>
                <a:ea typeface="+mn-ea"/>
                <a:cs typeface="Arial Black" panose="020B0604020202020204" pitchFamily="34" charset="0"/>
              </a:defRPr>
            </a:lvl5pPr>
            <a:lvl6pPr marL="22860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6pPr>
            <a:lvl7pPr marL="27432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7pPr>
            <a:lvl8pPr marL="32004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8pPr>
            <a:lvl9pPr marL="3657600" indent="0" algn="ctr" defTabSz="914400" rtl="0" eaLnBrk="1" latinLnBrk="0" hangingPunct="1">
              <a:lnSpc>
                <a:spcPct val="90000"/>
              </a:lnSpc>
              <a:spcBef>
                <a:spcPts val="250"/>
              </a:spcBef>
              <a:spcAft>
                <a:spcPts val="250"/>
              </a:spcAft>
              <a:buClr>
                <a:schemeClr val="accent1"/>
              </a:buClr>
              <a:buFont typeface="Wingdings 2" pitchFamily="18" charset="2"/>
              <a:buNone/>
              <a:defRPr sz="2000" kern="1200">
                <a:solidFill>
                  <a:schemeClr val="tx1">
                    <a:lumMod val="65000"/>
                    <a:lumOff val="35000"/>
                  </a:schemeClr>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015998"/>
              </a:buClr>
              <a:buSzTx/>
              <a:buFont typeface="Wingdings 2" pitchFamily="18" charset="2"/>
              <a:buNone/>
              <a:tabLst/>
              <a:defRPr/>
            </a:pPr>
            <a:r>
              <a:rPr kumimoji="0" lang="en-US" sz="2000" b="1" i="0" u="none" strike="noStrike" kern="1200" cap="none" spc="0" normalizeH="0" baseline="0" noProof="0">
                <a:ln>
                  <a:noFill/>
                </a:ln>
                <a:solidFill>
                  <a:srgbClr val="005B98"/>
                </a:solidFill>
                <a:effectLst/>
                <a:uLnTx/>
                <a:uFillTx/>
                <a:latin typeface="Arial Black"/>
                <a:ea typeface="+mn-ea"/>
                <a:cs typeface="Arial Black" panose="020B0604020202020204" pitchFamily="34" charset="0"/>
              </a:rPr>
              <a:t>1906</a:t>
            </a:r>
            <a:endParaRPr kumimoji="0" lang="en-US" sz="2200" b="1" i="0" u="none" strike="noStrike" kern="1200" cap="none" spc="0" normalizeH="0" baseline="0" noProof="0">
              <a:ln>
                <a:noFill/>
              </a:ln>
              <a:solidFill>
                <a:srgbClr val="005B98"/>
              </a:solidFill>
              <a:effectLst/>
              <a:uLnTx/>
              <a:uFillTx/>
              <a:latin typeface="Arial Black" panose="020B0604020202020204" pitchFamily="34" charset="0"/>
              <a:ea typeface="+mn-ea"/>
              <a:cs typeface="Arial Black" panose="020B0604020202020204" pitchFamily="34" charset="0"/>
            </a:endParaRPr>
          </a:p>
        </p:txBody>
      </p:sp>
      <p:sp>
        <p:nvSpPr>
          <p:cNvPr id="125" name="Title 124">
            <a:extLst>
              <a:ext uri="{FF2B5EF4-FFF2-40B4-BE49-F238E27FC236}">
                <a16:creationId xmlns:a16="http://schemas.microsoft.com/office/drawing/2014/main" id="{6448FD6B-8612-D540-8BD7-982DD8983E55}"/>
              </a:ext>
            </a:extLst>
          </p:cNvPr>
          <p:cNvSpPr>
            <a:spLocks noGrp="1"/>
          </p:cNvSpPr>
          <p:nvPr>
            <p:ph type="title"/>
          </p:nvPr>
        </p:nvSpPr>
        <p:spPr/>
        <p:txBody>
          <a:bodyPr>
            <a:normAutofit/>
          </a:bodyPr>
          <a:lstStyle/>
          <a:p>
            <a:r>
              <a:rPr lang="en-US"/>
              <a:t>Our Evolution</a:t>
            </a:r>
          </a:p>
        </p:txBody>
      </p:sp>
    </p:spTree>
    <p:extLst>
      <p:ext uri="{BB962C8B-B14F-4D97-AF65-F5344CB8AC3E}">
        <p14:creationId xmlns:p14="http://schemas.microsoft.com/office/powerpoint/2010/main" val="12751275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0.70"/>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0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fade">
                                      <p:cBhvr>
                                        <p:cTn id="15" dur="2000"/>
                                        <p:tgtEl>
                                          <p:spTgt spid="41"/>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20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2000"/>
                                        <p:tgtEl>
                                          <p:spTgt spid="15"/>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2000"/>
                                        <p:tgtEl>
                                          <p:spTgt spid="43"/>
                                        </p:tgtEl>
                                      </p:cBhvr>
                                    </p:animEffect>
                                  </p:childTnLst>
                                </p:cTn>
                              </p:par>
                              <p:par>
                                <p:cTn id="25" presetID="10"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2000"/>
                                        <p:tgtEl>
                                          <p:spTgt spid="39"/>
                                        </p:tgtEl>
                                      </p:cBhvr>
                                    </p:animEffect>
                                  </p:childTnLst>
                                </p:cTn>
                              </p:par>
                              <p:par>
                                <p:cTn id="28" presetID="22" presetClass="entr" presetSubtype="4" fill="hold" nodeType="withEffect">
                                  <p:stCondLst>
                                    <p:cond delay="0"/>
                                  </p:stCondLst>
                                  <p:childTnLst>
                                    <p:set>
                                      <p:cBhvr>
                                        <p:cTn id="29" dur="1" fill="hold">
                                          <p:stCondLst>
                                            <p:cond delay="0"/>
                                          </p:stCondLst>
                                        </p:cTn>
                                        <p:tgtEl>
                                          <p:spTgt spid="112"/>
                                        </p:tgtEl>
                                        <p:attrNameLst>
                                          <p:attrName>style.visibility</p:attrName>
                                        </p:attrNameLst>
                                      </p:cBhvr>
                                      <p:to>
                                        <p:strVal val="visible"/>
                                      </p:to>
                                    </p:set>
                                    <p:animEffect transition="in" filter="wipe(down)">
                                      <p:cBhvr>
                                        <p:cTn id="30" dur="500"/>
                                        <p:tgtEl>
                                          <p:spTgt spid="112"/>
                                        </p:tgtEl>
                                      </p:cBhvr>
                                    </p:animEffect>
                                  </p:childTnLst>
                                </p:cTn>
                              </p:par>
                              <p:par>
                                <p:cTn id="31" presetID="22" presetClass="entr" presetSubtype="4" fill="hold" nodeType="withEffect">
                                  <p:stCondLst>
                                    <p:cond delay="0"/>
                                  </p:stCondLst>
                                  <p:childTnLst>
                                    <p:set>
                                      <p:cBhvr>
                                        <p:cTn id="32" dur="1" fill="hold">
                                          <p:stCondLst>
                                            <p:cond delay="0"/>
                                          </p:stCondLst>
                                        </p:cTn>
                                        <p:tgtEl>
                                          <p:spTgt spid="113"/>
                                        </p:tgtEl>
                                        <p:attrNameLst>
                                          <p:attrName>style.visibility</p:attrName>
                                        </p:attrNameLst>
                                      </p:cBhvr>
                                      <p:to>
                                        <p:strVal val="visible"/>
                                      </p:to>
                                    </p:set>
                                    <p:animEffect transition="in" filter="wipe(down)">
                                      <p:cBhvr>
                                        <p:cTn id="33" dur="500"/>
                                        <p:tgtEl>
                                          <p:spTgt spid="113"/>
                                        </p:tgtEl>
                                      </p:cBhvr>
                                    </p:animEffect>
                                  </p:childTnLst>
                                </p:cTn>
                              </p:par>
                              <p:par>
                                <p:cTn id="34" presetID="22" presetClass="entr" presetSubtype="4" fill="hold" nodeType="withEffect">
                                  <p:stCondLst>
                                    <p:cond delay="0"/>
                                  </p:stCondLst>
                                  <p:childTnLst>
                                    <p:set>
                                      <p:cBhvr>
                                        <p:cTn id="35" dur="1" fill="hold">
                                          <p:stCondLst>
                                            <p:cond delay="0"/>
                                          </p:stCondLst>
                                        </p:cTn>
                                        <p:tgtEl>
                                          <p:spTgt spid="114"/>
                                        </p:tgtEl>
                                        <p:attrNameLst>
                                          <p:attrName>style.visibility</p:attrName>
                                        </p:attrNameLst>
                                      </p:cBhvr>
                                      <p:to>
                                        <p:strVal val="visible"/>
                                      </p:to>
                                    </p:set>
                                    <p:animEffect transition="in" filter="wipe(down)">
                                      <p:cBhvr>
                                        <p:cTn id="36" dur="500"/>
                                        <p:tgtEl>
                                          <p:spTgt spid="114"/>
                                        </p:tgtEl>
                                      </p:cBhvr>
                                    </p:animEffect>
                                  </p:childTnLst>
                                </p:cTn>
                              </p:par>
                              <p:par>
                                <p:cTn id="37" presetID="22" presetClass="entr" presetSubtype="1" fill="hold" nodeType="withEffect">
                                  <p:stCondLst>
                                    <p:cond delay="0"/>
                                  </p:stCondLst>
                                  <p:childTnLst>
                                    <p:set>
                                      <p:cBhvr>
                                        <p:cTn id="38" dur="1" fill="hold">
                                          <p:stCondLst>
                                            <p:cond delay="0"/>
                                          </p:stCondLst>
                                        </p:cTn>
                                        <p:tgtEl>
                                          <p:spTgt spid="115"/>
                                        </p:tgtEl>
                                        <p:attrNameLst>
                                          <p:attrName>style.visibility</p:attrName>
                                        </p:attrNameLst>
                                      </p:cBhvr>
                                      <p:to>
                                        <p:strVal val="visible"/>
                                      </p:to>
                                    </p:set>
                                    <p:animEffect transition="in" filter="wipe(up)">
                                      <p:cBhvr>
                                        <p:cTn id="39" dur="500"/>
                                        <p:tgtEl>
                                          <p:spTgt spid="115"/>
                                        </p:tgtEl>
                                      </p:cBhvr>
                                    </p:animEffect>
                                  </p:childTnLst>
                                </p:cTn>
                              </p:par>
                              <p:par>
                                <p:cTn id="40" presetID="22" presetClass="entr" presetSubtype="1" fill="hold" nodeType="withEffect">
                                  <p:stCondLst>
                                    <p:cond delay="0"/>
                                  </p:stCondLst>
                                  <p:childTnLst>
                                    <p:set>
                                      <p:cBhvr>
                                        <p:cTn id="41" dur="1" fill="hold">
                                          <p:stCondLst>
                                            <p:cond delay="0"/>
                                          </p:stCondLst>
                                        </p:cTn>
                                        <p:tgtEl>
                                          <p:spTgt spid="116"/>
                                        </p:tgtEl>
                                        <p:attrNameLst>
                                          <p:attrName>style.visibility</p:attrName>
                                        </p:attrNameLst>
                                      </p:cBhvr>
                                      <p:to>
                                        <p:strVal val="visible"/>
                                      </p:to>
                                    </p:set>
                                    <p:animEffect transition="in" filter="wipe(up)">
                                      <p:cBhvr>
                                        <p:cTn id="42" dur="500"/>
                                        <p:tgtEl>
                                          <p:spTgt spid="116"/>
                                        </p:tgtEl>
                                      </p:cBhvr>
                                    </p:animEffect>
                                  </p:childTnLst>
                                </p:cTn>
                              </p:par>
                              <p:par>
                                <p:cTn id="43" presetID="22" presetClass="entr" presetSubtype="1" fill="hold" nodeType="withEffect">
                                  <p:stCondLst>
                                    <p:cond delay="0"/>
                                  </p:stCondLst>
                                  <p:childTnLst>
                                    <p:set>
                                      <p:cBhvr>
                                        <p:cTn id="44" dur="1" fill="hold">
                                          <p:stCondLst>
                                            <p:cond delay="0"/>
                                          </p:stCondLst>
                                        </p:cTn>
                                        <p:tgtEl>
                                          <p:spTgt spid="117"/>
                                        </p:tgtEl>
                                        <p:attrNameLst>
                                          <p:attrName>style.visibility</p:attrName>
                                        </p:attrNameLst>
                                      </p:cBhvr>
                                      <p:to>
                                        <p:strVal val="visible"/>
                                      </p:to>
                                    </p:set>
                                    <p:animEffect transition="in" filter="wipe(up)">
                                      <p:cBhvr>
                                        <p:cTn id="45"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550F4-95A9-4C8C-B23D-7F7C139300DA}"/>
              </a:ext>
            </a:extLst>
          </p:cNvPr>
          <p:cNvSpPr>
            <a:spLocks noGrp="1"/>
          </p:cNvSpPr>
          <p:nvPr>
            <p:ph type="title"/>
          </p:nvPr>
        </p:nvSpPr>
        <p:spPr>
          <a:xfrm>
            <a:off x="121748" y="961770"/>
            <a:ext cx="3202220" cy="5257800"/>
          </a:xfrm>
        </p:spPr>
        <p:txBody>
          <a:bodyPr/>
          <a:lstStyle/>
          <a:p>
            <a:pPr algn="ctr"/>
            <a:r>
              <a:rPr lang="en-US"/>
              <a:t>What Are Area Councils?</a:t>
            </a:r>
          </a:p>
        </p:txBody>
      </p:sp>
      <p:sp>
        <p:nvSpPr>
          <p:cNvPr id="7" name="Subtitle 1">
            <a:extLst>
              <a:ext uri="{FF2B5EF4-FFF2-40B4-BE49-F238E27FC236}">
                <a16:creationId xmlns:a16="http://schemas.microsoft.com/office/drawing/2014/main" id="{454AF986-AC4C-471F-BA20-50635800E895}"/>
              </a:ext>
            </a:extLst>
          </p:cNvPr>
          <p:cNvSpPr txBox="1">
            <a:spLocks/>
          </p:cNvSpPr>
          <p:nvPr/>
        </p:nvSpPr>
        <p:spPr>
          <a:xfrm>
            <a:off x="3758958" y="197708"/>
            <a:ext cx="7971714" cy="6499653"/>
          </a:xfrm>
          <a:prstGeom prst="rect">
            <a:avLst/>
          </a:prstGeom>
        </p:spPr>
        <p:txBody>
          <a:bodyPr vert="horz" lIns="0" tIns="0" rIns="0" bIns="0" rtlCol="0" anchor="ctr">
            <a:normAutofit lnSpcReduction="10000"/>
          </a:bodyPr>
          <a:lstStyle>
            <a:lvl1pPr marL="182880" indent="-182880" algn="l" defTabSz="914400" rtl="0" eaLnBrk="1" latinLnBrk="0" hangingPunct="1">
              <a:lnSpc>
                <a:spcPct val="90000"/>
              </a:lnSpc>
              <a:spcBef>
                <a:spcPts val="1200"/>
              </a:spcBef>
              <a:buClr>
                <a:schemeClr val="accent1"/>
              </a:buClr>
              <a:buSzPct val="100000"/>
              <a:buFont typeface="Arial" panose="020B0604020202020204" pitchFamily="34" charset="0"/>
              <a:buChar char="•"/>
              <a:defRPr sz="2000" b="1" i="0" kern="1200">
                <a:solidFill>
                  <a:schemeClr val="accent1">
                    <a:lumMod val="50000"/>
                  </a:schemeClr>
                </a:solidFill>
                <a:latin typeface="Arial" panose="020B0604020202020204" pitchFamily="34" charset="0"/>
                <a:ea typeface="+mn-ea"/>
                <a:cs typeface="Arial" panose="020B0604020202020204" pitchFamily="34" charset="0"/>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b="1" i="0" kern="1200">
                <a:solidFill>
                  <a:schemeClr val="accent1">
                    <a:lumMod val="50000"/>
                  </a:schemeClr>
                </a:solidFill>
                <a:latin typeface="Arial" panose="020B0604020202020204" pitchFamily="34" charset="0"/>
                <a:ea typeface="+mn-ea"/>
                <a:cs typeface="Arial" panose="020B0604020202020204" pitchFamily="34" charset="0"/>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b="1" i="0" kern="1200">
                <a:solidFill>
                  <a:schemeClr val="accent1">
                    <a:lumMod val="50000"/>
                  </a:schemeClr>
                </a:solidFill>
                <a:latin typeface="Arial" panose="020B0604020202020204" pitchFamily="34" charset="0"/>
                <a:ea typeface="+mn-ea"/>
                <a:cs typeface="Arial" panose="020B0604020202020204" pitchFamily="34" charset="0"/>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b="1" i="0" kern="1200">
                <a:solidFill>
                  <a:schemeClr val="accent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428625" indent="-428625"/>
            <a:endParaRPr lang="en-US"/>
          </a:p>
          <a:p>
            <a:pPr marL="428625" indent="-428625"/>
            <a:r>
              <a:rPr lang="en-US" sz="2400">
                <a:solidFill>
                  <a:schemeClr val="bg2"/>
                </a:solidFill>
              </a:rPr>
              <a:t>Organized in 1944 through BGC Constitution</a:t>
            </a:r>
          </a:p>
          <a:p>
            <a:pPr marL="428625" indent="-428625"/>
            <a:endParaRPr lang="en-US" sz="2400">
              <a:solidFill>
                <a:schemeClr val="bg2"/>
              </a:solidFill>
            </a:endParaRPr>
          </a:p>
          <a:p>
            <a:pPr marL="428625" indent="-428625"/>
            <a:r>
              <a:rPr lang="en-US" sz="2400">
                <a:solidFill>
                  <a:schemeClr val="bg2"/>
                </a:solidFill>
              </a:rPr>
              <a:t>Supply a clear decision-making process (governance) in our federated model</a:t>
            </a:r>
          </a:p>
          <a:p>
            <a:pPr marL="428625" indent="-428625"/>
            <a:endParaRPr lang="en-US" sz="2400">
              <a:solidFill>
                <a:schemeClr val="bg2"/>
              </a:solidFill>
            </a:endParaRPr>
          </a:p>
          <a:p>
            <a:pPr marL="428625" indent="-428625"/>
            <a:r>
              <a:rPr lang="en-US" sz="2400">
                <a:solidFill>
                  <a:schemeClr val="bg2"/>
                </a:solidFill>
              </a:rPr>
              <a:t>Ensure engagement and feedback to/from BGCA on important strategic initiatives and changes to membership through robust communications (national to local, local to national, local to local)</a:t>
            </a:r>
          </a:p>
          <a:p>
            <a:pPr marL="0" indent="0">
              <a:buNone/>
            </a:pPr>
            <a:endParaRPr lang="en-US" sz="2400">
              <a:solidFill>
                <a:schemeClr val="bg2"/>
              </a:solidFill>
            </a:endParaRPr>
          </a:p>
          <a:p>
            <a:pPr marL="428625" indent="-428625"/>
            <a:r>
              <a:rPr lang="en-US" sz="2400">
                <a:solidFill>
                  <a:schemeClr val="bg2"/>
                </a:solidFill>
              </a:rPr>
              <a:t>Promote the growth, development and effectiveness of the Boys &amp; Girls Club Movement</a:t>
            </a:r>
          </a:p>
          <a:p>
            <a:pPr marL="428625" indent="-428625"/>
            <a:endParaRPr lang="en-US" sz="2400">
              <a:solidFill>
                <a:schemeClr val="bg2"/>
              </a:solidFill>
            </a:endParaRPr>
          </a:p>
          <a:p>
            <a:pPr marL="428625" indent="-428625"/>
            <a:r>
              <a:rPr lang="en-US" sz="2400">
                <a:solidFill>
                  <a:schemeClr val="bg2"/>
                </a:solidFill>
              </a:rPr>
              <a:t>Educate and motivate board volunteers in a designated geographical area </a:t>
            </a:r>
          </a:p>
          <a:p>
            <a:pPr marL="428625" indent="-428625"/>
            <a:endParaRPr lang="en-US" sz="2400">
              <a:solidFill>
                <a:schemeClr val="bg2"/>
              </a:solidFill>
            </a:endParaRPr>
          </a:p>
          <a:p>
            <a:pPr marL="428625" indent="-428625"/>
            <a:endParaRPr lang="en-US"/>
          </a:p>
        </p:txBody>
      </p:sp>
      <p:pic>
        <p:nvPicPr>
          <p:cNvPr id="8" name="Picture 7">
            <a:extLst>
              <a:ext uri="{FF2B5EF4-FFF2-40B4-BE49-F238E27FC236}">
                <a16:creationId xmlns:a16="http://schemas.microsoft.com/office/drawing/2014/main" id="{9C765A57-D492-448B-B563-D291E04B3BF7}"/>
              </a:ext>
            </a:extLst>
          </p:cNvPr>
          <p:cNvPicPr>
            <a:picLocks noChangeAspect="1"/>
          </p:cNvPicPr>
          <p:nvPr/>
        </p:nvPicPr>
        <p:blipFill>
          <a:blip r:embed="rId3"/>
          <a:stretch>
            <a:fillRect/>
          </a:stretch>
        </p:blipFill>
        <p:spPr>
          <a:xfrm>
            <a:off x="606014" y="496956"/>
            <a:ext cx="2256626" cy="1578980"/>
          </a:xfrm>
          <a:prstGeom prst="rect">
            <a:avLst/>
          </a:prstGeom>
        </p:spPr>
      </p:pic>
    </p:spTree>
    <p:extLst>
      <p:ext uri="{BB962C8B-B14F-4D97-AF65-F5344CB8AC3E}">
        <p14:creationId xmlns:p14="http://schemas.microsoft.com/office/powerpoint/2010/main" val="3648574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550F4-95A9-4C8C-B23D-7F7C139300DA}"/>
              </a:ext>
            </a:extLst>
          </p:cNvPr>
          <p:cNvSpPr>
            <a:spLocks noGrp="1"/>
          </p:cNvSpPr>
          <p:nvPr>
            <p:ph type="title"/>
          </p:nvPr>
        </p:nvSpPr>
        <p:spPr>
          <a:xfrm>
            <a:off x="121748" y="961770"/>
            <a:ext cx="3202220" cy="5257800"/>
          </a:xfrm>
        </p:spPr>
        <p:txBody>
          <a:bodyPr/>
          <a:lstStyle/>
          <a:p>
            <a:pPr algn="ctr"/>
            <a:r>
              <a:rPr lang="en-US"/>
              <a:t>Area Council</a:t>
            </a:r>
            <a:br>
              <a:rPr lang="en-US"/>
            </a:br>
            <a:br>
              <a:rPr lang="en-US"/>
            </a:br>
            <a:r>
              <a:rPr lang="en-US"/>
              <a:t>Mission Statement</a:t>
            </a:r>
          </a:p>
        </p:txBody>
      </p:sp>
      <p:pic>
        <p:nvPicPr>
          <p:cNvPr id="8" name="Picture 7">
            <a:extLst>
              <a:ext uri="{FF2B5EF4-FFF2-40B4-BE49-F238E27FC236}">
                <a16:creationId xmlns:a16="http://schemas.microsoft.com/office/drawing/2014/main" id="{9C765A57-D492-448B-B563-D291E04B3BF7}"/>
              </a:ext>
            </a:extLst>
          </p:cNvPr>
          <p:cNvPicPr>
            <a:picLocks noChangeAspect="1"/>
          </p:cNvPicPr>
          <p:nvPr/>
        </p:nvPicPr>
        <p:blipFill>
          <a:blip r:embed="rId3"/>
          <a:stretch>
            <a:fillRect/>
          </a:stretch>
        </p:blipFill>
        <p:spPr>
          <a:xfrm>
            <a:off x="606014" y="496956"/>
            <a:ext cx="2256626" cy="1578980"/>
          </a:xfrm>
          <a:prstGeom prst="rect">
            <a:avLst/>
          </a:prstGeom>
        </p:spPr>
      </p:pic>
      <p:sp>
        <p:nvSpPr>
          <p:cNvPr id="9" name="TextBox 8">
            <a:extLst>
              <a:ext uri="{FF2B5EF4-FFF2-40B4-BE49-F238E27FC236}">
                <a16:creationId xmlns:a16="http://schemas.microsoft.com/office/drawing/2014/main" id="{15D3477A-9C22-44A2-98F6-0FA05DDCF837}"/>
              </a:ext>
            </a:extLst>
          </p:cNvPr>
          <p:cNvSpPr txBox="1"/>
          <p:nvPr/>
        </p:nvSpPr>
        <p:spPr>
          <a:xfrm>
            <a:off x="3484606" y="735464"/>
            <a:ext cx="7982464" cy="5016758"/>
          </a:xfrm>
          <a:prstGeom prst="rect">
            <a:avLst/>
          </a:prstGeom>
          <a:noFill/>
        </p:spPr>
        <p:txBody>
          <a:bodyPr wrap="square" rtlCol="0">
            <a:spAutoFit/>
          </a:bodyPr>
          <a:lstStyle/>
          <a:p>
            <a:r>
              <a:rPr lang="en-US" sz="3200">
                <a:solidFill>
                  <a:prstClr val="black"/>
                </a:solidFill>
                <a:latin typeface="Arial" panose="020B0604020202020204" pitchFamily="34" charset="0"/>
                <a:cs typeface="Arial" panose="020B0604020202020204" pitchFamily="34" charset="0"/>
              </a:rPr>
              <a:t>An effective Area Council becomes the platform for board members and all local organizations to collaborate, educate and share best practices </a:t>
            </a:r>
          </a:p>
          <a:p>
            <a:endParaRPr lang="en-US" sz="3200">
              <a:solidFill>
                <a:prstClr val="black"/>
              </a:solidFill>
              <a:latin typeface="Arial" panose="020B0604020202020204" pitchFamily="34" charset="0"/>
              <a:cs typeface="Arial" panose="020B0604020202020204" pitchFamily="34" charset="0"/>
            </a:endParaRPr>
          </a:p>
          <a:p>
            <a:r>
              <a:rPr lang="en-US" sz="3200">
                <a:solidFill>
                  <a:prstClr val="black"/>
                </a:solidFill>
                <a:latin typeface="Arial" panose="020B0604020202020204" pitchFamily="34" charset="0"/>
                <a:cs typeface="Arial" panose="020B0604020202020204" pitchFamily="34" charset="0"/>
              </a:rPr>
              <a:t>Collectively the Area Council provides feedback to the NACC member and the National Council on critical National issues as well as to communicate from the NACC to the Area Council</a:t>
            </a:r>
          </a:p>
        </p:txBody>
      </p:sp>
    </p:spTree>
    <p:extLst>
      <p:ext uri="{BB962C8B-B14F-4D97-AF65-F5344CB8AC3E}">
        <p14:creationId xmlns:p14="http://schemas.microsoft.com/office/powerpoint/2010/main" val="1118970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DC580-5B44-4141-9601-66EEE7C7A6E0}"/>
              </a:ext>
            </a:extLst>
          </p:cNvPr>
          <p:cNvSpPr>
            <a:spLocks noGrp="1"/>
          </p:cNvSpPr>
          <p:nvPr>
            <p:ph type="title"/>
          </p:nvPr>
        </p:nvSpPr>
        <p:spPr>
          <a:xfrm>
            <a:off x="363880" y="685800"/>
            <a:ext cx="3050072" cy="5257800"/>
          </a:xfrm>
        </p:spPr>
        <p:txBody>
          <a:bodyPr>
            <a:noAutofit/>
          </a:bodyPr>
          <a:lstStyle/>
          <a:p>
            <a:pPr lvl="0"/>
            <a:r>
              <a:rPr lang="en-US"/>
              <a:t>Federated Model of the Boys &amp; Girls Club Movement</a:t>
            </a:r>
          </a:p>
        </p:txBody>
      </p:sp>
      <p:sp>
        <p:nvSpPr>
          <p:cNvPr id="24" name="Freeform 23">
            <a:extLst>
              <a:ext uri="{FF2B5EF4-FFF2-40B4-BE49-F238E27FC236}">
                <a16:creationId xmlns:a16="http://schemas.microsoft.com/office/drawing/2014/main" id="{EE5A2435-D3C2-0341-A560-1CC583B406F1}"/>
              </a:ext>
            </a:extLst>
          </p:cNvPr>
          <p:cNvSpPr/>
          <p:nvPr/>
        </p:nvSpPr>
        <p:spPr>
          <a:xfrm>
            <a:off x="6059323" y="3948855"/>
            <a:ext cx="3056175" cy="302349"/>
          </a:xfrm>
          <a:custGeom>
            <a:avLst/>
            <a:gdLst>
              <a:gd name="connsiteX0" fmla="*/ 2206657 w 2298191"/>
              <a:gd name="connsiteY0" fmla="*/ 227362 h 227361"/>
              <a:gd name="connsiteX1" fmla="*/ 91535 w 2298191"/>
              <a:gd name="connsiteY1" fmla="*/ 227362 h 227361"/>
              <a:gd name="connsiteX2" fmla="*/ 0 w 2298191"/>
              <a:gd name="connsiteY2" fmla="*/ 0 h 227361"/>
              <a:gd name="connsiteX3" fmla="*/ 2298192 w 2298191"/>
              <a:gd name="connsiteY3" fmla="*/ 0 h 227361"/>
            </a:gdLst>
            <a:ahLst/>
            <a:cxnLst>
              <a:cxn ang="0">
                <a:pos x="connsiteX0" y="connsiteY0"/>
              </a:cxn>
              <a:cxn ang="0">
                <a:pos x="connsiteX1" y="connsiteY1"/>
              </a:cxn>
              <a:cxn ang="0">
                <a:pos x="connsiteX2" y="connsiteY2"/>
              </a:cxn>
              <a:cxn ang="0">
                <a:pos x="connsiteX3" y="connsiteY3"/>
              </a:cxn>
            </a:cxnLst>
            <a:rect l="l" t="t" r="r" b="b"/>
            <a:pathLst>
              <a:path w="2298191" h="227361">
                <a:moveTo>
                  <a:pt x="2206657" y="227362"/>
                </a:moveTo>
                <a:lnTo>
                  <a:pt x="91535" y="227362"/>
                </a:lnTo>
                <a:lnTo>
                  <a:pt x="0" y="0"/>
                </a:lnTo>
                <a:lnTo>
                  <a:pt x="2298192" y="0"/>
                </a:lnTo>
                <a:close/>
              </a:path>
            </a:pathLst>
          </a:custGeom>
          <a:gradFill>
            <a:gsLst>
              <a:gs pos="0">
                <a:srgbClr val="E7E6E6">
                  <a:lumMod val="75000"/>
                </a:srgbClr>
              </a:gs>
              <a:gs pos="50000">
                <a:srgbClr val="E7E6E6">
                  <a:lumMod val="90000"/>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4">
            <a:extLst>
              <a:ext uri="{FF2B5EF4-FFF2-40B4-BE49-F238E27FC236}">
                <a16:creationId xmlns:a16="http://schemas.microsoft.com/office/drawing/2014/main" id="{DB269903-A465-8B46-8387-61B583105769}"/>
              </a:ext>
            </a:extLst>
          </p:cNvPr>
          <p:cNvSpPr/>
          <p:nvPr/>
        </p:nvSpPr>
        <p:spPr>
          <a:xfrm>
            <a:off x="5657034" y="5188401"/>
            <a:ext cx="3832885" cy="302349"/>
          </a:xfrm>
          <a:custGeom>
            <a:avLst/>
            <a:gdLst>
              <a:gd name="connsiteX0" fmla="*/ 2790730 w 2882264"/>
              <a:gd name="connsiteY0" fmla="*/ 227362 h 227361"/>
              <a:gd name="connsiteX1" fmla="*/ 91535 w 2882264"/>
              <a:gd name="connsiteY1" fmla="*/ 227362 h 227361"/>
              <a:gd name="connsiteX2" fmla="*/ 0 w 2882264"/>
              <a:gd name="connsiteY2" fmla="*/ 0 h 227361"/>
              <a:gd name="connsiteX3" fmla="*/ 2882265 w 2882264"/>
              <a:gd name="connsiteY3" fmla="*/ 0 h 227361"/>
            </a:gdLst>
            <a:ahLst/>
            <a:cxnLst>
              <a:cxn ang="0">
                <a:pos x="connsiteX0" y="connsiteY0"/>
              </a:cxn>
              <a:cxn ang="0">
                <a:pos x="connsiteX1" y="connsiteY1"/>
              </a:cxn>
              <a:cxn ang="0">
                <a:pos x="connsiteX2" y="connsiteY2"/>
              </a:cxn>
              <a:cxn ang="0">
                <a:pos x="connsiteX3" y="connsiteY3"/>
              </a:cxn>
            </a:cxnLst>
            <a:rect l="l" t="t" r="r" b="b"/>
            <a:pathLst>
              <a:path w="2882264" h="227361">
                <a:moveTo>
                  <a:pt x="2790730" y="227362"/>
                </a:moveTo>
                <a:lnTo>
                  <a:pt x="91535" y="227362"/>
                </a:lnTo>
                <a:lnTo>
                  <a:pt x="0" y="0"/>
                </a:lnTo>
                <a:lnTo>
                  <a:pt x="2882265" y="0"/>
                </a:lnTo>
                <a:close/>
              </a:path>
            </a:pathLst>
          </a:custGeom>
          <a:gradFill>
            <a:gsLst>
              <a:gs pos="0">
                <a:srgbClr val="E7E6E6">
                  <a:lumMod val="75000"/>
                </a:srgbClr>
              </a:gs>
              <a:gs pos="50000">
                <a:srgbClr val="E7E6E6">
                  <a:lumMod val="90000"/>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Freeform 25">
            <a:extLst>
              <a:ext uri="{FF2B5EF4-FFF2-40B4-BE49-F238E27FC236}">
                <a16:creationId xmlns:a16="http://schemas.microsoft.com/office/drawing/2014/main" id="{4D10619B-9DD2-7741-B904-82E4FE0CC2A9}"/>
              </a:ext>
            </a:extLst>
          </p:cNvPr>
          <p:cNvSpPr/>
          <p:nvPr/>
        </p:nvSpPr>
        <p:spPr>
          <a:xfrm>
            <a:off x="6692142" y="1469765"/>
            <a:ext cx="1838037" cy="302349"/>
          </a:xfrm>
          <a:custGeom>
            <a:avLst/>
            <a:gdLst>
              <a:gd name="connsiteX0" fmla="*/ 1290733 w 1382172"/>
              <a:gd name="connsiteY0" fmla="*/ 227362 h 227361"/>
              <a:gd name="connsiteX1" fmla="*/ 91535 w 1382172"/>
              <a:gd name="connsiteY1" fmla="*/ 227362 h 227361"/>
              <a:gd name="connsiteX2" fmla="*/ 0 w 1382172"/>
              <a:gd name="connsiteY2" fmla="*/ 0 h 227361"/>
              <a:gd name="connsiteX3" fmla="*/ 1382173 w 1382172"/>
              <a:gd name="connsiteY3" fmla="*/ 0 h 227361"/>
            </a:gdLst>
            <a:ahLst/>
            <a:cxnLst>
              <a:cxn ang="0">
                <a:pos x="connsiteX0" y="connsiteY0"/>
              </a:cxn>
              <a:cxn ang="0">
                <a:pos x="connsiteX1" y="connsiteY1"/>
              </a:cxn>
              <a:cxn ang="0">
                <a:pos x="connsiteX2" y="connsiteY2"/>
              </a:cxn>
              <a:cxn ang="0">
                <a:pos x="connsiteX3" y="connsiteY3"/>
              </a:cxn>
            </a:cxnLst>
            <a:rect l="l" t="t" r="r" b="b"/>
            <a:pathLst>
              <a:path w="1382172" h="227361">
                <a:moveTo>
                  <a:pt x="1290733" y="227362"/>
                </a:moveTo>
                <a:lnTo>
                  <a:pt x="91535" y="227362"/>
                </a:lnTo>
                <a:lnTo>
                  <a:pt x="0" y="0"/>
                </a:lnTo>
                <a:lnTo>
                  <a:pt x="1382173" y="0"/>
                </a:lnTo>
                <a:close/>
              </a:path>
            </a:pathLst>
          </a:custGeom>
          <a:gradFill>
            <a:gsLst>
              <a:gs pos="0">
                <a:srgbClr val="E7E6E6">
                  <a:lumMod val="75000"/>
                </a:srgbClr>
              </a:gs>
              <a:gs pos="50000">
                <a:srgbClr val="E7E6E6">
                  <a:lumMod val="90000"/>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26">
            <a:extLst>
              <a:ext uri="{FF2B5EF4-FFF2-40B4-BE49-F238E27FC236}">
                <a16:creationId xmlns:a16="http://schemas.microsoft.com/office/drawing/2014/main" id="{E100B309-3D18-094F-A28A-D555C5499782}"/>
              </a:ext>
            </a:extLst>
          </p:cNvPr>
          <p:cNvSpPr/>
          <p:nvPr/>
        </p:nvSpPr>
        <p:spPr>
          <a:xfrm>
            <a:off x="6401699" y="2709311"/>
            <a:ext cx="2396377" cy="302349"/>
          </a:xfrm>
          <a:custGeom>
            <a:avLst/>
            <a:gdLst>
              <a:gd name="connsiteX0" fmla="*/ 1710595 w 1802034"/>
              <a:gd name="connsiteY0" fmla="*/ 227362 h 227361"/>
              <a:gd name="connsiteX1" fmla="*/ 91535 w 1802034"/>
              <a:gd name="connsiteY1" fmla="*/ 227362 h 227361"/>
              <a:gd name="connsiteX2" fmla="*/ 0 w 1802034"/>
              <a:gd name="connsiteY2" fmla="*/ 0 h 227361"/>
              <a:gd name="connsiteX3" fmla="*/ 1802035 w 1802034"/>
              <a:gd name="connsiteY3" fmla="*/ 0 h 227361"/>
            </a:gdLst>
            <a:ahLst/>
            <a:cxnLst>
              <a:cxn ang="0">
                <a:pos x="connsiteX0" y="connsiteY0"/>
              </a:cxn>
              <a:cxn ang="0">
                <a:pos x="connsiteX1" y="connsiteY1"/>
              </a:cxn>
              <a:cxn ang="0">
                <a:pos x="connsiteX2" y="connsiteY2"/>
              </a:cxn>
              <a:cxn ang="0">
                <a:pos x="connsiteX3" y="connsiteY3"/>
              </a:cxn>
            </a:cxnLst>
            <a:rect l="l" t="t" r="r" b="b"/>
            <a:pathLst>
              <a:path w="1802034" h="227361">
                <a:moveTo>
                  <a:pt x="1710595" y="227362"/>
                </a:moveTo>
                <a:lnTo>
                  <a:pt x="91535" y="227362"/>
                </a:lnTo>
                <a:lnTo>
                  <a:pt x="0" y="0"/>
                </a:lnTo>
                <a:lnTo>
                  <a:pt x="1802035" y="0"/>
                </a:lnTo>
                <a:close/>
              </a:path>
            </a:pathLst>
          </a:custGeom>
          <a:gradFill>
            <a:gsLst>
              <a:gs pos="0">
                <a:srgbClr val="E7E6E6">
                  <a:lumMod val="75000"/>
                </a:srgbClr>
              </a:gs>
              <a:gs pos="50000">
                <a:srgbClr val="E7E6E6">
                  <a:lumMod val="90000"/>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27">
            <a:extLst>
              <a:ext uri="{FF2B5EF4-FFF2-40B4-BE49-F238E27FC236}">
                <a16:creationId xmlns:a16="http://schemas.microsoft.com/office/drawing/2014/main" id="{9187FF33-3CDC-CC43-AE0B-C63EBB84349C}"/>
              </a:ext>
            </a:extLst>
          </p:cNvPr>
          <p:cNvSpPr/>
          <p:nvPr/>
        </p:nvSpPr>
        <p:spPr>
          <a:xfrm>
            <a:off x="6692142" y="532571"/>
            <a:ext cx="1838037" cy="937194"/>
          </a:xfrm>
          <a:custGeom>
            <a:avLst/>
            <a:gdLst>
              <a:gd name="connsiteX0" fmla="*/ 1382173 w 1382172"/>
              <a:gd name="connsiteY0" fmla="*/ 704755 h 704754"/>
              <a:gd name="connsiteX1" fmla="*/ 0 w 1382172"/>
              <a:gd name="connsiteY1" fmla="*/ 704755 h 704754"/>
              <a:gd name="connsiteX2" fmla="*/ 90583 w 1382172"/>
              <a:gd name="connsiteY2" fmla="*/ 0 h 704754"/>
              <a:gd name="connsiteX3" fmla="*/ 1291590 w 1382172"/>
              <a:gd name="connsiteY3" fmla="*/ 0 h 704754"/>
            </a:gdLst>
            <a:ahLst/>
            <a:cxnLst>
              <a:cxn ang="0">
                <a:pos x="connsiteX0" y="connsiteY0"/>
              </a:cxn>
              <a:cxn ang="0">
                <a:pos x="connsiteX1" y="connsiteY1"/>
              </a:cxn>
              <a:cxn ang="0">
                <a:pos x="connsiteX2" y="connsiteY2"/>
              </a:cxn>
              <a:cxn ang="0">
                <a:pos x="connsiteX3" y="connsiteY3"/>
              </a:cxn>
            </a:cxnLst>
            <a:rect l="l" t="t" r="r" b="b"/>
            <a:pathLst>
              <a:path w="1382172" h="704754">
                <a:moveTo>
                  <a:pt x="1382173" y="704755"/>
                </a:moveTo>
                <a:lnTo>
                  <a:pt x="0" y="704755"/>
                </a:lnTo>
                <a:lnTo>
                  <a:pt x="90583" y="0"/>
                </a:lnTo>
                <a:lnTo>
                  <a:pt x="1291590" y="0"/>
                </a:lnTo>
                <a:close/>
              </a:path>
            </a:pathLst>
          </a:custGeom>
          <a:gradFill>
            <a:gsLst>
              <a:gs pos="0">
                <a:srgbClr val="0081C6">
                  <a:lumMod val="20000"/>
                  <a:lumOff val="80000"/>
                </a:srgbClr>
              </a:gs>
              <a:gs pos="100000">
                <a:srgbClr val="C1E9FF">
                  <a:alpha val="89804"/>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28">
            <a:extLst>
              <a:ext uri="{FF2B5EF4-FFF2-40B4-BE49-F238E27FC236}">
                <a16:creationId xmlns:a16="http://schemas.microsoft.com/office/drawing/2014/main" id="{081D6D14-F436-CB49-9604-C760757E4842}"/>
              </a:ext>
            </a:extLst>
          </p:cNvPr>
          <p:cNvSpPr/>
          <p:nvPr/>
        </p:nvSpPr>
        <p:spPr>
          <a:xfrm>
            <a:off x="6401699" y="1772115"/>
            <a:ext cx="2396377" cy="937194"/>
          </a:xfrm>
          <a:custGeom>
            <a:avLst/>
            <a:gdLst>
              <a:gd name="connsiteX0" fmla="*/ 1802035 w 1802034"/>
              <a:gd name="connsiteY0" fmla="*/ 704755 h 704754"/>
              <a:gd name="connsiteX1" fmla="*/ 0 w 1802034"/>
              <a:gd name="connsiteY1" fmla="*/ 704755 h 704754"/>
              <a:gd name="connsiteX2" fmla="*/ 100679 w 1802034"/>
              <a:gd name="connsiteY2" fmla="*/ 0 h 704754"/>
              <a:gd name="connsiteX3" fmla="*/ 1701355 w 1802034"/>
              <a:gd name="connsiteY3" fmla="*/ 0 h 704754"/>
            </a:gdLst>
            <a:ahLst/>
            <a:cxnLst>
              <a:cxn ang="0">
                <a:pos x="connsiteX0" y="connsiteY0"/>
              </a:cxn>
              <a:cxn ang="0">
                <a:pos x="connsiteX1" y="connsiteY1"/>
              </a:cxn>
              <a:cxn ang="0">
                <a:pos x="connsiteX2" y="connsiteY2"/>
              </a:cxn>
              <a:cxn ang="0">
                <a:pos x="connsiteX3" y="connsiteY3"/>
              </a:cxn>
            </a:cxnLst>
            <a:rect l="l" t="t" r="r" b="b"/>
            <a:pathLst>
              <a:path w="1802034" h="704754">
                <a:moveTo>
                  <a:pt x="1802035" y="704755"/>
                </a:moveTo>
                <a:lnTo>
                  <a:pt x="0" y="704755"/>
                </a:lnTo>
                <a:lnTo>
                  <a:pt x="100679" y="0"/>
                </a:lnTo>
                <a:lnTo>
                  <a:pt x="1701355" y="0"/>
                </a:lnTo>
                <a:close/>
              </a:path>
            </a:pathLst>
          </a:custGeom>
          <a:gradFill>
            <a:gsLst>
              <a:gs pos="0">
                <a:srgbClr val="0081C6">
                  <a:lumMod val="40000"/>
                  <a:lumOff val="60000"/>
                </a:srgbClr>
              </a:gs>
              <a:gs pos="100000">
                <a:srgbClr val="82D4FF">
                  <a:alpha val="89804"/>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29">
            <a:extLst>
              <a:ext uri="{FF2B5EF4-FFF2-40B4-BE49-F238E27FC236}">
                <a16:creationId xmlns:a16="http://schemas.microsoft.com/office/drawing/2014/main" id="{D3DB7552-406B-724F-8F84-1CB048944926}"/>
              </a:ext>
            </a:extLst>
          </p:cNvPr>
          <p:cNvSpPr/>
          <p:nvPr/>
        </p:nvSpPr>
        <p:spPr>
          <a:xfrm>
            <a:off x="6059323" y="3011661"/>
            <a:ext cx="3056175" cy="937194"/>
          </a:xfrm>
          <a:custGeom>
            <a:avLst/>
            <a:gdLst>
              <a:gd name="connsiteX0" fmla="*/ 2298192 w 2298191"/>
              <a:gd name="connsiteY0" fmla="*/ 704755 h 704754"/>
              <a:gd name="connsiteX1" fmla="*/ 0 w 2298191"/>
              <a:gd name="connsiteY1" fmla="*/ 704755 h 704754"/>
              <a:gd name="connsiteX2" fmla="*/ 111823 w 2298191"/>
              <a:gd name="connsiteY2" fmla="*/ 0 h 704754"/>
              <a:gd name="connsiteX3" fmla="*/ 2186273 w 2298191"/>
              <a:gd name="connsiteY3" fmla="*/ 0 h 704754"/>
            </a:gdLst>
            <a:ahLst/>
            <a:cxnLst>
              <a:cxn ang="0">
                <a:pos x="connsiteX0" y="connsiteY0"/>
              </a:cxn>
              <a:cxn ang="0">
                <a:pos x="connsiteX1" y="connsiteY1"/>
              </a:cxn>
              <a:cxn ang="0">
                <a:pos x="connsiteX2" y="connsiteY2"/>
              </a:cxn>
              <a:cxn ang="0">
                <a:pos x="connsiteX3" y="connsiteY3"/>
              </a:cxn>
            </a:cxnLst>
            <a:rect l="l" t="t" r="r" b="b"/>
            <a:pathLst>
              <a:path w="2298191" h="704754">
                <a:moveTo>
                  <a:pt x="2298192" y="704755"/>
                </a:moveTo>
                <a:lnTo>
                  <a:pt x="0" y="704755"/>
                </a:lnTo>
                <a:lnTo>
                  <a:pt x="111823" y="0"/>
                </a:lnTo>
                <a:lnTo>
                  <a:pt x="2186273" y="0"/>
                </a:lnTo>
                <a:close/>
              </a:path>
            </a:pathLst>
          </a:custGeom>
          <a:gradFill>
            <a:gsLst>
              <a:gs pos="0">
                <a:srgbClr val="0081C6"/>
              </a:gs>
              <a:gs pos="100000">
                <a:srgbClr val="0081C6">
                  <a:alpha val="89804"/>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30">
            <a:extLst>
              <a:ext uri="{FF2B5EF4-FFF2-40B4-BE49-F238E27FC236}">
                <a16:creationId xmlns:a16="http://schemas.microsoft.com/office/drawing/2014/main" id="{3E4D186E-9E98-7744-8E38-3AED1A96AA36}"/>
              </a:ext>
            </a:extLst>
          </p:cNvPr>
          <p:cNvSpPr/>
          <p:nvPr/>
        </p:nvSpPr>
        <p:spPr>
          <a:xfrm>
            <a:off x="5657034" y="4251205"/>
            <a:ext cx="3832885" cy="937194"/>
          </a:xfrm>
          <a:custGeom>
            <a:avLst/>
            <a:gdLst>
              <a:gd name="connsiteX0" fmla="*/ 2882265 w 2882264"/>
              <a:gd name="connsiteY0" fmla="*/ 704755 h 704754"/>
              <a:gd name="connsiteX1" fmla="*/ 0 w 2882264"/>
              <a:gd name="connsiteY1" fmla="*/ 704755 h 704754"/>
              <a:gd name="connsiteX2" fmla="*/ 124301 w 2882264"/>
              <a:gd name="connsiteY2" fmla="*/ 0 h 704754"/>
              <a:gd name="connsiteX3" fmla="*/ 2757964 w 2882264"/>
              <a:gd name="connsiteY3" fmla="*/ 0 h 704754"/>
            </a:gdLst>
            <a:ahLst/>
            <a:cxnLst>
              <a:cxn ang="0">
                <a:pos x="connsiteX0" y="connsiteY0"/>
              </a:cxn>
              <a:cxn ang="0">
                <a:pos x="connsiteX1" y="connsiteY1"/>
              </a:cxn>
              <a:cxn ang="0">
                <a:pos x="connsiteX2" y="connsiteY2"/>
              </a:cxn>
              <a:cxn ang="0">
                <a:pos x="connsiteX3" y="connsiteY3"/>
              </a:cxn>
            </a:cxnLst>
            <a:rect l="l" t="t" r="r" b="b"/>
            <a:pathLst>
              <a:path w="2882264" h="704754">
                <a:moveTo>
                  <a:pt x="2882265" y="704755"/>
                </a:moveTo>
                <a:lnTo>
                  <a:pt x="0" y="704755"/>
                </a:lnTo>
                <a:lnTo>
                  <a:pt x="124301" y="0"/>
                </a:lnTo>
                <a:lnTo>
                  <a:pt x="2757964" y="0"/>
                </a:lnTo>
                <a:close/>
              </a:path>
            </a:pathLst>
          </a:custGeom>
          <a:gradFill>
            <a:gsLst>
              <a:gs pos="0">
                <a:srgbClr val="0081C6">
                  <a:lumMod val="75000"/>
                </a:srgbClr>
              </a:gs>
              <a:gs pos="100000">
                <a:srgbClr val="006195">
                  <a:alpha val="89804"/>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31">
            <a:extLst>
              <a:ext uri="{FF2B5EF4-FFF2-40B4-BE49-F238E27FC236}">
                <a16:creationId xmlns:a16="http://schemas.microsoft.com/office/drawing/2014/main" id="{80275ECE-E2CC-5E45-B34B-A816DF012322}"/>
              </a:ext>
            </a:extLst>
          </p:cNvPr>
          <p:cNvSpPr/>
          <p:nvPr/>
        </p:nvSpPr>
        <p:spPr>
          <a:xfrm>
            <a:off x="5185714" y="5490751"/>
            <a:ext cx="4744495" cy="937194"/>
          </a:xfrm>
          <a:custGeom>
            <a:avLst/>
            <a:gdLst>
              <a:gd name="connsiteX0" fmla="*/ 3567779 w 3567779"/>
              <a:gd name="connsiteY0" fmla="*/ 704755 h 704754"/>
              <a:gd name="connsiteX1" fmla="*/ 1783842 w 3567779"/>
              <a:gd name="connsiteY1" fmla="*/ 704755 h 704754"/>
              <a:gd name="connsiteX2" fmla="*/ 0 w 3567779"/>
              <a:gd name="connsiteY2" fmla="*/ 704755 h 704754"/>
              <a:gd name="connsiteX3" fmla="*/ 138113 w 3567779"/>
              <a:gd name="connsiteY3" fmla="*/ 0 h 704754"/>
              <a:gd name="connsiteX4" fmla="*/ 3429667 w 3567779"/>
              <a:gd name="connsiteY4" fmla="*/ 0 h 704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7779" h="704754">
                <a:moveTo>
                  <a:pt x="3567779" y="704755"/>
                </a:moveTo>
                <a:lnTo>
                  <a:pt x="1783842" y="704755"/>
                </a:lnTo>
                <a:lnTo>
                  <a:pt x="0" y="704755"/>
                </a:lnTo>
                <a:lnTo>
                  <a:pt x="138113" y="0"/>
                </a:lnTo>
                <a:lnTo>
                  <a:pt x="3429667" y="0"/>
                </a:lnTo>
                <a:close/>
              </a:path>
            </a:pathLst>
          </a:custGeom>
          <a:gradFill>
            <a:gsLst>
              <a:gs pos="0">
                <a:srgbClr val="0081C6">
                  <a:lumMod val="50000"/>
                </a:srgbClr>
              </a:gs>
              <a:gs pos="100000">
                <a:srgbClr val="004069">
                  <a:alpha val="90196"/>
                </a:srgbClr>
              </a:gs>
            </a:gsLst>
            <a:lin ang="162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TextBox 32">
            <a:extLst>
              <a:ext uri="{FF2B5EF4-FFF2-40B4-BE49-F238E27FC236}">
                <a16:creationId xmlns:a16="http://schemas.microsoft.com/office/drawing/2014/main" id="{4031500A-64CD-D844-AE4E-D5730A58FE81}"/>
              </a:ext>
            </a:extLst>
          </p:cNvPr>
          <p:cNvSpPr txBox="1"/>
          <p:nvPr/>
        </p:nvSpPr>
        <p:spPr>
          <a:xfrm>
            <a:off x="6902228" y="2037654"/>
            <a:ext cx="131146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tional Board of Governors</a:t>
            </a:r>
          </a:p>
        </p:txBody>
      </p:sp>
      <p:sp>
        <p:nvSpPr>
          <p:cNvPr id="34" name="TextBox 33">
            <a:extLst>
              <a:ext uri="{FF2B5EF4-FFF2-40B4-BE49-F238E27FC236}">
                <a16:creationId xmlns:a16="http://schemas.microsoft.com/office/drawing/2014/main" id="{9E439071-F3CD-7747-9D01-C5AF83F0B89B}"/>
              </a:ext>
            </a:extLst>
          </p:cNvPr>
          <p:cNvSpPr txBox="1"/>
          <p:nvPr/>
        </p:nvSpPr>
        <p:spPr>
          <a:xfrm>
            <a:off x="6664815" y="3282561"/>
            <a:ext cx="1786293"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ational Area Council Committee (NACC)</a:t>
            </a:r>
          </a:p>
        </p:txBody>
      </p:sp>
      <p:sp>
        <p:nvSpPr>
          <p:cNvPr id="35" name="TextBox 34">
            <a:extLst>
              <a:ext uri="{FF2B5EF4-FFF2-40B4-BE49-F238E27FC236}">
                <a16:creationId xmlns:a16="http://schemas.microsoft.com/office/drawing/2014/main" id="{12E1F29D-C369-254C-9254-DBA0D3C9D90F}"/>
              </a:ext>
            </a:extLst>
          </p:cNvPr>
          <p:cNvSpPr txBox="1"/>
          <p:nvPr/>
        </p:nvSpPr>
        <p:spPr>
          <a:xfrm>
            <a:off x="5801685" y="5872504"/>
            <a:ext cx="351255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cal Boys &amp; Girls Club Organizations</a:t>
            </a:r>
          </a:p>
        </p:txBody>
      </p:sp>
      <p:sp>
        <p:nvSpPr>
          <p:cNvPr id="36" name="TextBox 35">
            <a:extLst>
              <a:ext uri="{FF2B5EF4-FFF2-40B4-BE49-F238E27FC236}">
                <a16:creationId xmlns:a16="http://schemas.microsoft.com/office/drawing/2014/main" id="{8873E356-418F-1B4A-B225-FF0F425398E0}"/>
              </a:ext>
            </a:extLst>
          </p:cNvPr>
          <p:cNvSpPr txBox="1"/>
          <p:nvPr/>
        </p:nvSpPr>
        <p:spPr>
          <a:xfrm>
            <a:off x="7039475" y="782876"/>
            <a:ext cx="103697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tional Council</a:t>
            </a:r>
          </a:p>
        </p:txBody>
      </p:sp>
      <p:sp>
        <p:nvSpPr>
          <p:cNvPr id="37" name="TextBox 36">
            <a:extLst>
              <a:ext uri="{FF2B5EF4-FFF2-40B4-BE49-F238E27FC236}">
                <a16:creationId xmlns:a16="http://schemas.microsoft.com/office/drawing/2014/main" id="{5AFD9985-69D7-D04E-8B08-C2492DBCE527}"/>
              </a:ext>
            </a:extLst>
          </p:cNvPr>
          <p:cNvSpPr txBox="1"/>
          <p:nvPr/>
        </p:nvSpPr>
        <p:spPr>
          <a:xfrm>
            <a:off x="6180491" y="5242949"/>
            <a:ext cx="275494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EA COUNCIL LIAISON (ACL)</a:t>
            </a:r>
          </a:p>
        </p:txBody>
      </p:sp>
      <p:sp>
        <p:nvSpPr>
          <p:cNvPr id="38" name="TextBox 37">
            <a:extLst>
              <a:ext uri="{FF2B5EF4-FFF2-40B4-BE49-F238E27FC236}">
                <a16:creationId xmlns:a16="http://schemas.microsoft.com/office/drawing/2014/main" id="{16C82A54-AFF8-0E43-8CE4-15932DE17722}"/>
              </a:ext>
            </a:extLst>
          </p:cNvPr>
          <p:cNvSpPr txBox="1"/>
          <p:nvPr/>
        </p:nvSpPr>
        <p:spPr>
          <a:xfrm>
            <a:off x="6180491" y="4015798"/>
            <a:ext cx="275494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CC REPRESENTATIVE</a:t>
            </a:r>
          </a:p>
        </p:txBody>
      </p:sp>
      <p:sp>
        <p:nvSpPr>
          <p:cNvPr id="39" name="TextBox 38">
            <a:extLst>
              <a:ext uri="{FF2B5EF4-FFF2-40B4-BE49-F238E27FC236}">
                <a16:creationId xmlns:a16="http://schemas.microsoft.com/office/drawing/2014/main" id="{87AEDC22-EDFC-6147-8BFB-03EC67A89782}"/>
              </a:ext>
            </a:extLst>
          </p:cNvPr>
          <p:cNvSpPr txBox="1"/>
          <p:nvPr/>
        </p:nvSpPr>
        <p:spPr>
          <a:xfrm>
            <a:off x="6804997" y="2781183"/>
            <a:ext cx="150592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CC CHAIR</a:t>
            </a:r>
          </a:p>
        </p:txBody>
      </p:sp>
      <p:sp>
        <p:nvSpPr>
          <p:cNvPr id="40" name="TextBox 39">
            <a:extLst>
              <a:ext uri="{FF2B5EF4-FFF2-40B4-BE49-F238E27FC236}">
                <a16:creationId xmlns:a16="http://schemas.microsoft.com/office/drawing/2014/main" id="{C0FF6026-CA24-2B4E-83DA-CDB402C439C3}"/>
              </a:ext>
            </a:extLst>
          </p:cNvPr>
          <p:cNvSpPr txBox="1"/>
          <p:nvPr/>
        </p:nvSpPr>
        <p:spPr>
          <a:xfrm>
            <a:off x="7064968" y="1529482"/>
            <a:ext cx="9859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OG CHAIR</a:t>
            </a:r>
          </a:p>
        </p:txBody>
      </p:sp>
      <p:sp>
        <p:nvSpPr>
          <p:cNvPr id="41" name="TextBox 40">
            <a:extLst>
              <a:ext uri="{FF2B5EF4-FFF2-40B4-BE49-F238E27FC236}">
                <a16:creationId xmlns:a16="http://schemas.microsoft.com/office/drawing/2014/main" id="{7044B6E6-5908-3B42-8AFD-6A0C1C2B8F7E}"/>
              </a:ext>
            </a:extLst>
          </p:cNvPr>
          <p:cNvSpPr txBox="1"/>
          <p:nvPr/>
        </p:nvSpPr>
        <p:spPr>
          <a:xfrm>
            <a:off x="6318974" y="4639355"/>
            <a:ext cx="247797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ocal Area Councils (AC)</a:t>
            </a:r>
          </a:p>
        </p:txBody>
      </p:sp>
      <p:grpSp>
        <p:nvGrpSpPr>
          <p:cNvPr id="70" name="Group 69">
            <a:extLst>
              <a:ext uri="{FF2B5EF4-FFF2-40B4-BE49-F238E27FC236}">
                <a16:creationId xmlns:a16="http://schemas.microsoft.com/office/drawing/2014/main" id="{0B589CB3-2C26-0342-B6E9-D90FD415D826}"/>
              </a:ext>
            </a:extLst>
          </p:cNvPr>
          <p:cNvGrpSpPr/>
          <p:nvPr/>
        </p:nvGrpSpPr>
        <p:grpSpPr>
          <a:xfrm>
            <a:off x="4121636" y="660460"/>
            <a:ext cx="3070796" cy="579120"/>
            <a:chOff x="3594018" y="711272"/>
            <a:chExt cx="3070796" cy="579120"/>
          </a:xfrm>
        </p:grpSpPr>
        <p:sp>
          <p:nvSpPr>
            <p:cNvPr id="55" name="Rectangle 54">
              <a:extLst>
                <a:ext uri="{FF2B5EF4-FFF2-40B4-BE49-F238E27FC236}">
                  <a16:creationId xmlns:a16="http://schemas.microsoft.com/office/drawing/2014/main" id="{D9035949-D1E9-0A43-82E0-A2C1FA7DA490}"/>
                </a:ext>
              </a:extLst>
            </p:cNvPr>
            <p:cNvSpPr/>
            <p:nvPr/>
          </p:nvSpPr>
          <p:spPr>
            <a:xfrm>
              <a:off x="3594018" y="733647"/>
              <a:ext cx="2404390" cy="5539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Establishes membership requirements and operating standards; local Clubs are voting members (one vote per org)</a:t>
              </a:r>
            </a:p>
          </p:txBody>
        </p:sp>
        <p:sp>
          <p:nvSpPr>
            <p:cNvPr id="56" name="Right Arrow 55">
              <a:extLst>
                <a:ext uri="{FF2B5EF4-FFF2-40B4-BE49-F238E27FC236}">
                  <a16:creationId xmlns:a16="http://schemas.microsoft.com/office/drawing/2014/main" id="{9D54AB9D-C831-E349-8030-37D1E4E7F301}"/>
                </a:ext>
              </a:extLst>
            </p:cNvPr>
            <p:cNvSpPr/>
            <p:nvPr/>
          </p:nvSpPr>
          <p:spPr>
            <a:xfrm>
              <a:off x="5834755" y="711272"/>
              <a:ext cx="830059" cy="57912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endParaRPr>
            </a:p>
          </p:txBody>
        </p:sp>
      </p:grpSp>
      <p:grpSp>
        <p:nvGrpSpPr>
          <p:cNvPr id="69" name="Group 68">
            <a:extLst>
              <a:ext uri="{FF2B5EF4-FFF2-40B4-BE49-F238E27FC236}">
                <a16:creationId xmlns:a16="http://schemas.microsoft.com/office/drawing/2014/main" id="{47379327-274B-784A-83BF-5D5C656120DA}"/>
              </a:ext>
            </a:extLst>
          </p:cNvPr>
          <p:cNvGrpSpPr/>
          <p:nvPr/>
        </p:nvGrpSpPr>
        <p:grpSpPr>
          <a:xfrm>
            <a:off x="3455647" y="3153725"/>
            <a:ext cx="3213224" cy="579120"/>
            <a:chOff x="2849530" y="3144506"/>
            <a:chExt cx="3213224" cy="579120"/>
          </a:xfrm>
        </p:grpSpPr>
        <p:sp>
          <p:nvSpPr>
            <p:cNvPr id="57" name="Rectangle 56">
              <a:extLst>
                <a:ext uri="{FF2B5EF4-FFF2-40B4-BE49-F238E27FC236}">
                  <a16:creationId xmlns:a16="http://schemas.microsoft.com/office/drawing/2014/main" id="{8CB159A4-2D99-6340-845B-2A7DC505086C}"/>
                </a:ext>
              </a:extLst>
            </p:cNvPr>
            <p:cNvSpPr/>
            <p:nvPr/>
          </p:nvSpPr>
          <p:spPr>
            <a:xfrm>
              <a:off x="2849530" y="3243825"/>
              <a:ext cx="2771111" cy="40011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Establishes agenda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National Council meetings</a:t>
              </a:r>
            </a:p>
          </p:txBody>
        </p:sp>
        <p:sp>
          <p:nvSpPr>
            <p:cNvPr id="58" name="Right Arrow 57">
              <a:extLst>
                <a:ext uri="{FF2B5EF4-FFF2-40B4-BE49-F238E27FC236}">
                  <a16:creationId xmlns:a16="http://schemas.microsoft.com/office/drawing/2014/main" id="{47CDE655-349B-7048-820E-B43C84C2121C}"/>
                </a:ext>
              </a:extLst>
            </p:cNvPr>
            <p:cNvSpPr/>
            <p:nvPr/>
          </p:nvSpPr>
          <p:spPr>
            <a:xfrm>
              <a:off x="5432216" y="3144506"/>
              <a:ext cx="630538" cy="57912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endParaRPr>
            </a:p>
          </p:txBody>
        </p:sp>
      </p:grpSp>
      <p:grpSp>
        <p:nvGrpSpPr>
          <p:cNvPr id="68" name="Group 67">
            <a:extLst>
              <a:ext uri="{FF2B5EF4-FFF2-40B4-BE49-F238E27FC236}">
                <a16:creationId xmlns:a16="http://schemas.microsoft.com/office/drawing/2014/main" id="{D2F4CA8B-598C-BE49-8E47-9D4A93B43714}"/>
              </a:ext>
            </a:extLst>
          </p:cNvPr>
          <p:cNvGrpSpPr/>
          <p:nvPr/>
        </p:nvGrpSpPr>
        <p:grpSpPr>
          <a:xfrm>
            <a:off x="3594018" y="5701726"/>
            <a:ext cx="2241867" cy="579120"/>
            <a:chOff x="3594018" y="5701726"/>
            <a:chExt cx="2241867" cy="579120"/>
          </a:xfrm>
        </p:grpSpPr>
        <p:sp>
          <p:nvSpPr>
            <p:cNvPr id="60" name="Right Arrow 59">
              <a:extLst>
                <a:ext uri="{FF2B5EF4-FFF2-40B4-BE49-F238E27FC236}">
                  <a16:creationId xmlns:a16="http://schemas.microsoft.com/office/drawing/2014/main" id="{EB21692E-B046-8241-AB9B-7CC16DF33198}"/>
                </a:ext>
              </a:extLst>
            </p:cNvPr>
            <p:cNvSpPr/>
            <p:nvPr/>
          </p:nvSpPr>
          <p:spPr>
            <a:xfrm>
              <a:off x="5205347" y="5701726"/>
              <a:ext cx="630538" cy="57912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BB102830-C2F4-2147-AC72-53326AF0B84E}"/>
                </a:ext>
              </a:extLst>
            </p:cNvPr>
            <p:cNvSpPr/>
            <p:nvPr/>
          </p:nvSpPr>
          <p:spPr>
            <a:xfrm>
              <a:off x="3594018" y="5724101"/>
              <a:ext cx="1838197" cy="5539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Independent entities; must meet eligibility requirements and operating standards</a:t>
              </a:r>
            </a:p>
          </p:txBody>
        </p:sp>
      </p:grpSp>
      <p:grpSp>
        <p:nvGrpSpPr>
          <p:cNvPr id="71" name="Group 70">
            <a:extLst>
              <a:ext uri="{FF2B5EF4-FFF2-40B4-BE49-F238E27FC236}">
                <a16:creationId xmlns:a16="http://schemas.microsoft.com/office/drawing/2014/main" id="{ABE92266-EC88-554E-A8A9-034A6BDB5FEF}"/>
              </a:ext>
            </a:extLst>
          </p:cNvPr>
          <p:cNvGrpSpPr/>
          <p:nvPr/>
        </p:nvGrpSpPr>
        <p:grpSpPr>
          <a:xfrm>
            <a:off x="8273222" y="1944106"/>
            <a:ext cx="3554897" cy="579120"/>
            <a:chOff x="8822992" y="1944432"/>
            <a:chExt cx="3554897" cy="579120"/>
          </a:xfrm>
        </p:grpSpPr>
        <p:sp>
          <p:nvSpPr>
            <p:cNvPr id="62" name="Right Arrow 61">
              <a:extLst>
                <a:ext uri="{FF2B5EF4-FFF2-40B4-BE49-F238E27FC236}">
                  <a16:creationId xmlns:a16="http://schemas.microsoft.com/office/drawing/2014/main" id="{2BDB6E26-EB48-6748-99C2-E2A3EC8AA968}"/>
                </a:ext>
              </a:extLst>
            </p:cNvPr>
            <p:cNvSpPr/>
            <p:nvPr/>
          </p:nvSpPr>
          <p:spPr>
            <a:xfrm flipH="1">
              <a:off x="8822992" y="1944432"/>
              <a:ext cx="630538" cy="57912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D88AFA20-5CAF-5F4B-8139-2AD9CF56EB2C}"/>
                </a:ext>
              </a:extLst>
            </p:cNvPr>
            <p:cNvSpPr/>
            <p:nvPr/>
          </p:nvSpPr>
          <p:spPr>
            <a:xfrm>
              <a:off x="9244187" y="2043751"/>
              <a:ext cx="3133702" cy="40011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Grants and revokes charters; carries ou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programs of service to Clubs</a:t>
              </a:r>
            </a:p>
          </p:txBody>
        </p:sp>
      </p:grpSp>
      <p:sp>
        <p:nvSpPr>
          <p:cNvPr id="42" name="Right Arrow 41">
            <a:extLst>
              <a:ext uri="{FF2B5EF4-FFF2-40B4-BE49-F238E27FC236}">
                <a16:creationId xmlns:a16="http://schemas.microsoft.com/office/drawing/2014/main" id="{39B87DD6-91DC-DA43-B35F-8D2579938F6F}"/>
              </a:ext>
            </a:extLst>
          </p:cNvPr>
          <p:cNvSpPr/>
          <p:nvPr/>
        </p:nvSpPr>
        <p:spPr>
          <a:xfrm rot="-4320000">
            <a:off x="4057185" y="3243070"/>
            <a:ext cx="3489418" cy="701812"/>
          </a:xfrm>
          <a:prstGeom prst="rightArrow">
            <a:avLst/>
          </a:prstGeom>
          <a:gradFill>
            <a:gsLst>
              <a:gs pos="0">
                <a:sysClr val="window" lastClr="FFFFFF"/>
              </a:gs>
              <a:gs pos="50000">
                <a:srgbClr val="E7E6E6"/>
              </a:gs>
            </a:gsLst>
            <a:lin ang="4320000" scaled="0"/>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deas, Recommendations, Feedback</a:t>
            </a:r>
          </a:p>
        </p:txBody>
      </p:sp>
      <p:sp>
        <p:nvSpPr>
          <p:cNvPr id="43" name="TextBox 42">
            <a:extLst>
              <a:ext uri="{FF2B5EF4-FFF2-40B4-BE49-F238E27FC236}">
                <a16:creationId xmlns:a16="http://schemas.microsoft.com/office/drawing/2014/main" id="{5AFD9985-69D7-D04E-8B08-C2492DBCE527}"/>
              </a:ext>
            </a:extLst>
          </p:cNvPr>
          <p:cNvSpPr txBox="1"/>
          <p:nvPr/>
        </p:nvSpPr>
        <p:spPr>
          <a:xfrm>
            <a:off x="5792893" y="4252638"/>
            <a:ext cx="3512553" cy="188153"/>
          </a:xfrm>
          <a:prstGeom prst="rect">
            <a:avLst/>
          </a:prstGeom>
          <a:solidFill>
            <a:schemeClr val="bg1">
              <a:lumMod val="75000"/>
            </a:schemeClr>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EA COUNCIL CHAIR</a:t>
            </a:r>
          </a:p>
        </p:txBody>
      </p:sp>
      <p:grpSp>
        <p:nvGrpSpPr>
          <p:cNvPr id="72" name="Group 71">
            <a:extLst>
              <a:ext uri="{FF2B5EF4-FFF2-40B4-BE49-F238E27FC236}">
                <a16:creationId xmlns:a16="http://schemas.microsoft.com/office/drawing/2014/main" id="{B4AFB4FB-F277-A249-9489-73BF55801C9C}"/>
              </a:ext>
            </a:extLst>
          </p:cNvPr>
          <p:cNvGrpSpPr/>
          <p:nvPr/>
        </p:nvGrpSpPr>
        <p:grpSpPr>
          <a:xfrm>
            <a:off x="8746304" y="4253196"/>
            <a:ext cx="3331629" cy="861774"/>
            <a:chOff x="8746305" y="4297156"/>
            <a:chExt cx="3081814" cy="861774"/>
          </a:xfrm>
        </p:grpSpPr>
        <p:sp>
          <p:nvSpPr>
            <p:cNvPr id="63" name="Right Arrow 62">
              <a:extLst>
                <a:ext uri="{FF2B5EF4-FFF2-40B4-BE49-F238E27FC236}">
                  <a16:creationId xmlns:a16="http://schemas.microsoft.com/office/drawing/2014/main" id="{10CB07F6-A28D-914A-A4C6-7A7C93581F2E}"/>
                </a:ext>
              </a:extLst>
            </p:cNvPr>
            <p:cNvSpPr/>
            <p:nvPr/>
          </p:nvSpPr>
          <p:spPr>
            <a:xfrm flipH="1">
              <a:off x="8746305" y="4428669"/>
              <a:ext cx="630538" cy="579120"/>
            </a:xfrm>
            <a:prstGeom prst="right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7395406B-D9E2-BB49-B948-130E9E536692}"/>
                </a:ext>
              </a:extLst>
            </p:cNvPr>
            <p:cNvSpPr/>
            <p:nvPr/>
          </p:nvSpPr>
          <p:spPr>
            <a:xfrm>
              <a:off x="9203839" y="4297156"/>
              <a:ext cx="2624280" cy="8617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Vet proposals for National Council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agenda; consists of one boar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member and Club CE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 from every Club in a defined are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398DA">
                      <a:lumMod val="50000"/>
                    </a:srgbClr>
                  </a:solidFill>
                  <a:effectLst/>
                  <a:uLnTx/>
                  <a:uFillTx/>
                  <a:latin typeface="Arial" panose="020B0604020202020204" pitchFamily="34" charset="0"/>
                  <a:ea typeface="+mn-ea"/>
                  <a:cs typeface="Arial" panose="020B0604020202020204" pitchFamily="34" charset="0"/>
                </a:rPr>
                <a:t> (generally a state)</a:t>
              </a:r>
            </a:p>
          </p:txBody>
        </p:sp>
      </p:grpSp>
      <p:sp>
        <p:nvSpPr>
          <p:cNvPr id="23" name="Right Arrow 22">
            <a:extLst>
              <a:ext uri="{FF2B5EF4-FFF2-40B4-BE49-F238E27FC236}">
                <a16:creationId xmlns:a16="http://schemas.microsoft.com/office/drawing/2014/main" id="{D0B11E90-9B72-DB46-B5B3-936E815FA27C}"/>
              </a:ext>
            </a:extLst>
          </p:cNvPr>
          <p:cNvSpPr/>
          <p:nvPr/>
        </p:nvSpPr>
        <p:spPr>
          <a:xfrm rot="4320000">
            <a:off x="7545068" y="3239874"/>
            <a:ext cx="3493008" cy="704088"/>
          </a:xfrm>
          <a:prstGeom prst="rightArrow">
            <a:avLst/>
          </a:prstGeom>
          <a:gradFill>
            <a:gsLst>
              <a:gs pos="0">
                <a:sysClr val="window" lastClr="FFFFFF"/>
              </a:gs>
              <a:gs pos="50000">
                <a:srgbClr val="E7E6E6"/>
              </a:gs>
            </a:gsLst>
            <a:lin ang="18120000" scaled="0"/>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deas, National Initiatives, Dialogue</a:t>
            </a:r>
          </a:p>
        </p:txBody>
      </p:sp>
      <p:sp>
        <p:nvSpPr>
          <p:cNvPr id="3" name="Isosceles Triangle 2"/>
          <p:cNvSpPr/>
          <p:nvPr/>
        </p:nvSpPr>
        <p:spPr>
          <a:xfrm rot="5714845">
            <a:off x="5683631" y="4341902"/>
            <a:ext cx="231108" cy="45719"/>
          </a:xfrm>
          <a:prstGeom prst="triangle">
            <a:avLst>
              <a:gd name="adj"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719911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1000" fill="hold"/>
                                        <p:tgtEl>
                                          <p:spTgt spid="32"/>
                                        </p:tgtEl>
                                        <p:attrNameLst>
                                          <p:attrName>ppt_w</p:attrName>
                                        </p:attrNameLst>
                                      </p:cBhvr>
                                      <p:tavLst>
                                        <p:tav tm="0">
                                          <p:val>
                                            <p:strVal val="#ppt_w*0.70"/>
                                          </p:val>
                                        </p:tav>
                                        <p:tav tm="100000">
                                          <p:val>
                                            <p:strVal val="#ppt_w"/>
                                          </p:val>
                                        </p:tav>
                                      </p:tavLst>
                                    </p:anim>
                                    <p:anim calcmode="lin" valueType="num">
                                      <p:cBhvr>
                                        <p:cTn id="8" dur="1000" fill="hold"/>
                                        <p:tgtEl>
                                          <p:spTgt spid="32"/>
                                        </p:tgtEl>
                                        <p:attrNameLst>
                                          <p:attrName>ppt_h</p:attrName>
                                        </p:attrNameLst>
                                      </p:cBhvr>
                                      <p:tavLst>
                                        <p:tav tm="0">
                                          <p:val>
                                            <p:strVal val="#ppt_h"/>
                                          </p:val>
                                        </p:tav>
                                        <p:tav tm="100000">
                                          <p:val>
                                            <p:strVal val="#ppt_h"/>
                                          </p:val>
                                        </p:tav>
                                      </p:tavLst>
                                    </p:anim>
                                    <p:animEffect transition="in" filter="fade">
                                      <p:cBhvr>
                                        <p:cTn id="9" dur="1000"/>
                                        <p:tgtEl>
                                          <p:spTgt spid="32"/>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1000"/>
                                        <p:tgtEl>
                                          <p:spTgt spid="35"/>
                                        </p:tgtEl>
                                      </p:cBhvr>
                                    </p:animEffect>
                                  </p:childTnLst>
                                </p:cTn>
                              </p:par>
                            </p:childTnLst>
                          </p:cTn>
                        </p:par>
                        <p:par>
                          <p:cTn id="13" fill="hold">
                            <p:stCondLst>
                              <p:cond delay="1500"/>
                            </p:stCondLst>
                            <p:childTnLst>
                              <p:par>
                                <p:cTn id="14" presetID="22" presetClass="entr" presetSubtype="8" fill="hold" nodeType="after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wipe(left)">
                                      <p:cBhvr>
                                        <p:cTn id="16" dur="500"/>
                                        <p:tgtEl>
                                          <p:spTgt spid="6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wipe(up)">
                                      <p:cBhvr>
                                        <p:cTn id="21" dur="500"/>
                                        <p:tgtEl>
                                          <p:spTgt spid="25"/>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childTnLst>
                          </p:cTn>
                        </p:par>
                        <p:par>
                          <p:cTn id="26" fill="hold">
                            <p:stCondLst>
                              <p:cond delay="1000"/>
                            </p:stCondLst>
                            <p:childTnLst>
                              <p:par>
                                <p:cTn id="27" presetID="55" presetClass="entr" presetSubtype="0" fill="hold" grpId="0" nodeType="afterEffect">
                                  <p:stCondLst>
                                    <p:cond delay="0"/>
                                  </p:stCondLst>
                                  <p:childTnLst>
                                    <p:set>
                                      <p:cBhvr>
                                        <p:cTn id="28" dur="1" fill="hold">
                                          <p:stCondLst>
                                            <p:cond delay="0"/>
                                          </p:stCondLst>
                                        </p:cTn>
                                        <p:tgtEl>
                                          <p:spTgt spid="31"/>
                                        </p:tgtEl>
                                        <p:attrNameLst>
                                          <p:attrName>style.visibility</p:attrName>
                                        </p:attrNameLst>
                                      </p:cBhvr>
                                      <p:to>
                                        <p:strVal val="visible"/>
                                      </p:to>
                                    </p:set>
                                    <p:anim calcmode="lin" valueType="num">
                                      <p:cBhvr>
                                        <p:cTn id="29" dur="1000" fill="hold"/>
                                        <p:tgtEl>
                                          <p:spTgt spid="31"/>
                                        </p:tgtEl>
                                        <p:attrNameLst>
                                          <p:attrName>ppt_w</p:attrName>
                                        </p:attrNameLst>
                                      </p:cBhvr>
                                      <p:tavLst>
                                        <p:tav tm="0">
                                          <p:val>
                                            <p:strVal val="#ppt_w*0.70"/>
                                          </p:val>
                                        </p:tav>
                                        <p:tav tm="100000">
                                          <p:val>
                                            <p:strVal val="#ppt_w"/>
                                          </p:val>
                                        </p:tav>
                                      </p:tavLst>
                                    </p:anim>
                                    <p:anim calcmode="lin" valueType="num">
                                      <p:cBhvr>
                                        <p:cTn id="30" dur="1000" fill="hold"/>
                                        <p:tgtEl>
                                          <p:spTgt spid="31"/>
                                        </p:tgtEl>
                                        <p:attrNameLst>
                                          <p:attrName>ppt_h</p:attrName>
                                        </p:attrNameLst>
                                      </p:cBhvr>
                                      <p:tavLst>
                                        <p:tav tm="0">
                                          <p:val>
                                            <p:strVal val="#ppt_h"/>
                                          </p:val>
                                        </p:tav>
                                        <p:tav tm="100000">
                                          <p:val>
                                            <p:strVal val="#ppt_h"/>
                                          </p:val>
                                        </p:tav>
                                      </p:tavLst>
                                    </p:anim>
                                    <p:animEffect transition="in" filter="fade">
                                      <p:cBhvr>
                                        <p:cTn id="31" dur="1000"/>
                                        <p:tgtEl>
                                          <p:spTgt spid="31"/>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1000"/>
                                        <p:tgtEl>
                                          <p:spTgt spid="41"/>
                                        </p:tgtEl>
                                      </p:cBhvr>
                                    </p:animEffect>
                                  </p:childTnLst>
                                </p:cTn>
                              </p:par>
                            </p:childTnLst>
                          </p:cTn>
                        </p:par>
                        <p:par>
                          <p:cTn id="35" fill="hold">
                            <p:stCondLst>
                              <p:cond delay="2500"/>
                            </p:stCondLst>
                            <p:childTnLst>
                              <p:par>
                                <p:cTn id="36" presetID="22" presetClass="entr" presetSubtype="2" fill="hold" nodeType="afterEffect">
                                  <p:stCondLst>
                                    <p:cond delay="0"/>
                                  </p:stCondLst>
                                  <p:childTnLst>
                                    <p:set>
                                      <p:cBhvr>
                                        <p:cTn id="37" dur="1" fill="hold">
                                          <p:stCondLst>
                                            <p:cond delay="0"/>
                                          </p:stCondLst>
                                        </p:cTn>
                                        <p:tgtEl>
                                          <p:spTgt spid="72"/>
                                        </p:tgtEl>
                                        <p:attrNameLst>
                                          <p:attrName>style.visibility</p:attrName>
                                        </p:attrNameLst>
                                      </p:cBhvr>
                                      <p:to>
                                        <p:strVal val="visible"/>
                                      </p:to>
                                    </p:set>
                                    <p:animEffect transition="in" filter="wipe(right)">
                                      <p:cBhvr>
                                        <p:cTn id="38" dur="500"/>
                                        <p:tgtEl>
                                          <p:spTgt spid="72"/>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up)">
                                      <p:cBhvr>
                                        <p:cTn id="43" dur="500"/>
                                        <p:tgtEl>
                                          <p:spTgt spid="24"/>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500"/>
                                        <p:tgtEl>
                                          <p:spTgt spid="38"/>
                                        </p:tgtEl>
                                      </p:cBhvr>
                                    </p:animEffect>
                                  </p:childTnLst>
                                </p:cTn>
                              </p:par>
                            </p:childTnLst>
                          </p:cTn>
                        </p:par>
                        <p:par>
                          <p:cTn id="48" fill="hold">
                            <p:stCondLst>
                              <p:cond delay="1000"/>
                            </p:stCondLst>
                            <p:childTnLst>
                              <p:par>
                                <p:cTn id="49" presetID="55" presetClass="entr" presetSubtype="0" fill="hold" grpId="0" nodeType="afterEffect">
                                  <p:stCondLst>
                                    <p:cond delay="0"/>
                                  </p:stCondLst>
                                  <p:childTnLst>
                                    <p:set>
                                      <p:cBhvr>
                                        <p:cTn id="50" dur="1" fill="hold">
                                          <p:stCondLst>
                                            <p:cond delay="0"/>
                                          </p:stCondLst>
                                        </p:cTn>
                                        <p:tgtEl>
                                          <p:spTgt spid="30"/>
                                        </p:tgtEl>
                                        <p:attrNameLst>
                                          <p:attrName>style.visibility</p:attrName>
                                        </p:attrNameLst>
                                      </p:cBhvr>
                                      <p:to>
                                        <p:strVal val="visible"/>
                                      </p:to>
                                    </p:set>
                                    <p:anim calcmode="lin" valueType="num">
                                      <p:cBhvr>
                                        <p:cTn id="51" dur="1000" fill="hold"/>
                                        <p:tgtEl>
                                          <p:spTgt spid="30"/>
                                        </p:tgtEl>
                                        <p:attrNameLst>
                                          <p:attrName>ppt_w</p:attrName>
                                        </p:attrNameLst>
                                      </p:cBhvr>
                                      <p:tavLst>
                                        <p:tav tm="0">
                                          <p:val>
                                            <p:strVal val="#ppt_w*0.70"/>
                                          </p:val>
                                        </p:tav>
                                        <p:tav tm="100000">
                                          <p:val>
                                            <p:strVal val="#ppt_w"/>
                                          </p:val>
                                        </p:tav>
                                      </p:tavLst>
                                    </p:anim>
                                    <p:anim calcmode="lin" valueType="num">
                                      <p:cBhvr>
                                        <p:cTn id="52" dur="1000" fill="hold"/>
                                        <p:tgtEl>
                                          <p:spTgt spid="30"/>
                                        </p:tgtEl>
                                        <p:attrNameLst>
                                          <p:attrName>ppt_h</p:attrName>
                                        </p:attrNameLst>
                                      </p:cBhvr>
                                      <p:tavLst>
                                        <p:tav tm="0">
                                          <p:val>
                                            <p:strVal val="#ppt_h"/>
                                          </p:val>
                                        </p:tav>
                                        <p:tav tm="100000">
                                          <p:val>
                                            <p:strVal val="#ppt_h"/>
                                          </p:val>
                                        </p:tav>
                                      </p:tavLst>
                                    </p:anim>
                                    <p:animEffect transition="in" filter="fade">
                                      <p:cBhvr>
                                        <p:cTn id="53" dur="1000"/>
                                        <p:tgtEl>
                                          <p:spTgt spid="30"/>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1000"/>
                                        <p:tgtEl>
                                          <p:spTgt spid="34"/>
                                        </p:tgtEl>
                                      </p:cBhvr>
                                    </p:animEffect>
                                  </p:childTnLst>
                                </p:cTn>
                              </p:par>
                            </p:childTnLst>
                          </p:cTn>
                        </p:par>
                        <p:par>
                          <p:cTn id="57" fill="hold">
                            <p:stCondLst>
                              <p:cond delay="2500"/>
                            </p:stCondLst>
                            <p:childTnLst>
                              <p:par>
                                <p:cTn id="58" presetID="22" presetClass="entr" presetSubtype="8" fill="hold" nodeType="afterEffect">
                                  <p:stCondLst>
                                    <p:cond delay="0"/>
                                  </p:stCondLst>
                                  <p:childTnLst>
                                    <p:set>
                                      <p:cBhvr>
                                        <p:cTn id="59" dur="1" fill="hold">
                                          <p:stCondLst>
                                            <p:cond delay="0"/>
                                          </p:stCondLst>
                                        </p:cTn>
                                        <p:tgtEl>
                                          <p:spTgt spid="69"/>
                                        </p:tgtEl>
                                        <p:attrNameLst>
                                          <p:attrName>style.visibility</p:attrName>
                                        </p:attrNameLst>
                                      </p:cBhvr>
                                      <p:to>
                                        <p:strVal val="visible"/>
                                      </p:to>
                                    </p:set>
                                    <p:animEffect transition="in" filter="wipe(left)">
                                      <p:cBhvr>
                                        <p:cTn id="60" dur="500"/>
                                        <p:tgtEl>
                                          <p:spTgt spid="69"/>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grpId="0" nodeType="click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wipe(up)">
                                      <p:cBhvr>
                                        <p:cTn id="65" dur="500"/>
                                        <p:tgtEl>
                                          <p:spTgt spid="27"/>
                                        </p:tgtEl>
                                      </p:cBhvr>
                                    </p:animEffect>
                                  </p:childTnLst>
                                </p:cTn>
                              </p:par>
                            </p:childTnLst>
                          </p:cTn>
                        </p:par>
                        <p:par>
                          <p:cTn id="66" fill="hold">
                            <p:stCondLst>
                              <p:cond delay="500"/>
                            </p:stCondLst>
                            <p:childTnLst>
                              <p:par>
                                <p:cTn id="67" presetID="10" presetClass="entr" presetSubtype="0" fill="hold" grpId="0" nodeType="afterEffect">
                                  <p:stCondLst>
                                    <p:cond delay="0"/>
                                  </p:stCondLst>
                                  <p:childTnLst>
                                    <p:set>
                                      <p:cBhvr>
                                        <p:cTn id="68" dur="1" fill="hold">
                                          <p:stCondLst>
                                            <p:cond delay="0"/>
                                          </p:stCondLst>
                                        </p:cTn>
                                        <p:tgtEl>
                                          <p:spTgt spid="39"/>
                                        </p:tgtEl>
                                        <p:attrNameLst>
                                          <p:attrName>style.visibility</p:attrName>
                                        </p:attrNameLst>
                                      </p:cBhvr>
                                      <p:to>
                                        <p:strVal val="visible"/>
                                      </p:to>
                                    </p:set>
                                    <p:animEffect transition="in" filter="fade">
                                      <p:cBhvr>
                                        <p:cTn id="69" dur="500"/>
                                        <p:tgtEl>
                                          <p:spTgt spid="39"/>
                                        </p:tgtEl>
                                      </p:cBhvr>
                                    </p:animEffect>
                                  </p:childTnLst>
                                </p:cTn>
                              </p:par>
                            </p:childTnLst>
                          </p:cTn>
                        </p:par>
                        <p:par>
                          <p:cTn id="70" fill="hold">
                            <p:stCondLst>
                              <p:cond delay="1000"/>
                            </p:stCondLst>
                            <p:childTnLst>
                              <p:par>
                                <p:cTn id="71" presetID="55" presetClass="entr" presetSubtype="0" fill="hold" grpId="0" nodeType="afterEffect">
                                  <p:stCondLst>
                                    <p:cond delay="0"/>
                                  </p:stCondLst>
                                  <p:childTnLst>
                                    <p:set>
                                      <p:cBhvr>
                                        <p:cTn id="72" dur="1" fill="hold">
                                          <p:stCondLst>
                                            <p:cond delay="0"/>
                                          </p:stCondLst>
                                        </p:cTn>
                                        <p:tgtEl>
                                          <p:spTgt spid="29"/>
                                        </p:tgtEl>
                                        <p:attrNameLst>
                                          <p:attrName>style.visibility</p:attrName>
                                        </p:attrNameLst>
                                      </p:cBhvr>
                                      <p:to>
                                        <p:strVal val="visible"/>
                                      </p:to>
                                    </p:set>
                                    <p:anim calcmode="lin" valueType="num">
                                      <p:cBhvr>
                                        <p:cTn id="73" dur="1000" fill="hold"/>
                                        <p:tgtEl>
                                          <p:spTgt spid="29"/>
                                        </p:tgtEl>
                                        <p:attrNameLst>
                                          <p:attrName>ppt_w</p:attrName>
                                        </p:attrNameLst>
                                      </p:cBhvr>
                                      <p:tavLst>
                                        <p:tav tm="0">
                                          <p:val>
                                            <p:strVal val="#ppt_w*0.70"/>
                                          </p:val>
                                        </p:tav>
                                        <p:tav tm="100000">
                                          <p:val>
                                            <p:strVal val="#ppt_w"/>
                                          </p:val>
                                        </p:tav>
                                      </p:tavLst>
                                    </p:anim>
                                    <p:anim calcmode="lin" valueType="num">
                                      <p:cBhvr>
                                        <p:cTn id="74" dur="1000" fill="hold"/>
                                        <p:tgtEl>
                                          <p:spTgt spid="29"/>
                                        </p:tgtEl>
                                        <p:attrNameLst>
                                          <p:attrName>ppt_h</p:attrName>
                                        </p:attrNameLst>
                                      </p:cBhvr>
                                      <p:tavLst>
                                        <p:tav tm="0">
                                          <p:val>
                                            <p:strVal val="#ppt_h"/>
                                          </p:val>
                                        </p:tav>
                                        <p:tav tm="100000">
                                          <p:val>
                                            <p:strVal val="#ppt_h"/>
                                          </p:val>
                                        </p:tav>
                                      </p:tavLst>
                                    </p:anim>
                                    <p:animEffect transition="in" filter="fade">
                                      <p:cBhvr>
                                        <p:cTn id="75" dur="1000"/>
                                        <p:tgtEl>
                                          <p:spTgt spid="29"/>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33"/>
                                        </p:tgtEl>
                                        <p:attrNameLst>
                                          <p:attrName>style.visibility</p:attrName>
                                        </p:attrNameLst>
                                      </p:cBhvr>
                                      <p:to>
                                        <p:strVal val="visible"/>
                                      </p:to>
                                    </p:set>
                                    <p:animEffect transition="in" filter="fade">
                                      <p:cBhvr>
                                        <p:cTn id="78" dur="1000"/>
                                        <p:tgtEl>
                                          <p:spTgt spid="33"/>
                                        </p:tgtEl>
                                      </p:cBhvr>
                                    </p:animEffect>
                                  </p:childTnLst>
                                </p:cTn>
                              </p:par>
                            </p:childTnLst>
                          </p:cTn>
                        </p:par>
                        <p:par>
                          <p:cTn id="79" fill="hold">
                            <p:stCondLst>
                              <p:cond delay="2500"/>
                            </p:stCondLst>
                            <p:childTnLst>
                              <p:par>
                                <p:cTn id="80" presetID="22" presetClass="entr" presetSubtype="2" fill="hold" nodeType="afterEffect">
                                  <p:stCondLst>
                                    <p:cond delay="0"/>
                                  </p:stCondLst>
                                  <p:childTnLst>
                                    <p:set>
                                      <p:cBhvr>
                                        <p:cTn id="81" dur="1" fill="hold">
                                          <p:stCondLst>
                                            <p:cond delay="0"/>
                                          </p:stCondLst>
                                        </p:cTn>
                                        <p:tgtEl>
                                          <p:spTgt spid="71"/>
                                        </p:tgtEl>
                                        <p:attrNameLst>
                                          <p:attrName>style.visibility</p:attrName>
                                        </p:attrNameLst>
                                      </p:cBhvr>
                                      <p:to>
                                        <p:strVal val="visible"/>
                                      </p:to>
                                    </p:set>
                                    <p:animEffect transition="in" filter="wipe(right)">
                                      <p:cBhvr>
                                        <p:cTn id="82" dur="500"/>
                                        <p:tgtEl>
                                          <p:spTgt spid="71"/>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grpId="0" nodeType="clickEffect">
                                  <p:stCondLst>
                                    <p:cond delay="0"/>
                                  </p:stCondLst>
                                  <p:childTnLst>
                                    <p:set>
                                      <p:cBhvr>
                                        <p:cTn id="86" dur="1" fill="hold">
                                          <p:stCondLst>
                                            <p:cond delay="0"/>
                                          </p:stCondLst>
                                        </p:cTn>
                                        <p:tgtEl>
                                          <p:spTgt spid="26"/>
                                        </p:tgtEl>
                                        <p:attrNameLst>
                                          <p:attrName>style.visibility</p:attrName>
                                        </p:attrNameLst>
                                      </p:cBhvr>
                                      <p:to>
                                        <p:strVal val="visible"/>
                                      </p:to>
                                    </p:set>
                                    <p:animEffect transition="in" filter="wipe(up)">
                                      <p:cBhvr>
                                        <p:cTn id="87" dur="500"/>
                                        <p:tgtEl>
                                          <p:spTgt spid="26"/>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40"/>
                                        </p:tgtEl>
                                        <p:attrNameLst>
                                          <p:attrName>style.visibility</p:attrName>
                                        </p:attrNameLst>
                                      </p:cBhvr>
                                      <p:to>
                                        <p:strVal val="visible"/>
                                      </p:to>
                                    </p:set>
                                    <p:animEffect transition="in" filter="fade">
                                      <p:cBhvr>
                                        <p:cTn id="91" dur="500"/>
                                        <p:tgtEl>
                                          <p:spTgt spid="40"/>
                                        </p:tgtEl>
                                      </p:cBhvr>
                                    </p:animEffect>
                                  </p:childTnLst>
                                </p:cTn>
                              </p:par>
                            </p:childTnLst>
                          </p:cTn>
                        </p:par>
                        <p:par>
                          <p:cTn id="92" fill="hold">
                            <p:stCondLst>
                              <p:cond delay="1000"/>
                            </p:stCondLst>
                            <p:childTnLst>
                              <p:par>
                                <p:cTn id="93" presetID="55" presetClass="entr" presetSubtype="0" fill="hold" grpId="0" nodeType="afterEffect">
                                  <p:stCondLst>
                                    <p:cond delay="0"/>
                                  </p:stCondLst>
                                  <p:childTnLst>
                                    <p:set>
                                      <p:cBhvr>
                                        <p:cTn id="94" dur="1" fill="hold">
                                          <p:stCondLst>
                                            <p:cond delay="0"/>
                                          </p:stCondLst>
                                        </p:cTn>
                                        <p:tgtEl>
                                          <p:spTgt spid="28"/>
                                        </p:tgtEl>
                                        <p:attrNameLst>
                                          <p:attrName>style.visibility</p:attrName>
                                        </p:attrNameLst>
                                      </p:cBhvr>
                                      <p:to>
                                        <p:strVal val="visible"/>
                                      </p:to>
                                    </p:set>
                                    <p:anim calcmode="lin" valueType="num">
                                      <p:cBhvr>
                                        <p:cTn id="95" dur="1000" fill="hold"/>
                                        <p:tgtEl>
                                          <p:spTgt spid="28"/>
                                        </p:tgtEl>
                                        <p:attrNameLst>
                                          <p:attrName>ppt_w</p:attrName>
                                        </p:attrNameLst>
                                      </p:cBhvr>
                                      <p:tavLst>
                                        <p:tav tm="0">
                                          <p:val>
                                            <p:strVal val="#ppt_w*0.70"/>
                                          </p:val>
                                        </p:tav>
                                        <p:tav tm="100000">
                                          <p:val>
                                            <p:strVal val="#ppt_w"/>
                                          </p:val>
                                        </p:tav>
                                      </p:tavLst>
                                    </p:anim>
                                    <p:anim calcmode="lin" valueType="num">
                                      <p:cBhvr>
                                        <p:cTn id="96" dur="1000" fill="hold"/>
                                        <p:tgtEl>
                                          <p:spTgt spid="28"/>
                                        </p:tgtEl>
                                        <p:attrNameLst>
                                          <p:attrName>ppt_h</p:attrName>
                                        </p:attrNameLst>
                                      </p:cBhvr>
                                      <p:tavLst>
                                        <p:tav tm="0">
                                          <p:val>
                                            <p:strVal val="#ppt_h"/>
                                          </p:val>
                                        </p:tav>
                                        <p:tav tm="100000">
                                          <p:val>
                                            <p:strVal val="#ppt_h"/>
                                          </p:val>
                                        </p:tav>
                                      </p:tavLst>
                                    </p:anim>
                                    <p:animEffect transition="in" filter="fade">
                                      <p:cBhvr>
                                        <p:cTn id="97" dur="1000"/>
                                        <p:tgtEl>
                                          <p:spTgt spid="28"/>
                                        </p:tgtEl>
                                      </p:cBhvr>
                                    </p:animEffect>
                                  </p:childTnLst>
                                </p:cTn>
                              </p:par>
                              <p:par>
                                <p:cTn id="98" presetID="10" presetClass="entr" presetSubtype="0" fill="hold" grpId="0" nodeType="withEffect">
                                  <p:stCondLst>
                                    <p:cond delay="500"/>
                                  </p:stCondLst>
                                  <p:childTnLst>
                                    <p:set>
                                      <p:cBhvr>
                                        <p:cTn id="99" dur="1" fill="hold">
                                          <p:stCondLst>
                                            <p:cond delay="0"/>
                                          </p:stCondLst>
                                        </p:cTn>
                                        <p:tgtEl>
                                          <p:spTgt spid="36"/>
                                        </p:tgtEl>
                                        <p:attrNameLst>
                                          <p:attrName>style.visibility</p:attrName>
                                        </p:attrNameLst>
                                      </p:cBhvr>
                                      <p:to>
                                        <p:strVal val="visible"/>
                                      </p:to>
                                    </p:set>
                                    <p:animEffect transition="in" filter="fade">
                                      <p:cBhvr>
                                        <p:cTn id="100" dur="1000"/>
                                        <p:tgtEl>
                                          <p:spTgt spid="36"/>
                                        </p:tgtEl>
                                      </p:cBhvr>
                                    </p:animEffect>
                                  </p:childTnLst>
                                </p:cTn>
                              </p:par>
                            </p:childTnLst>
                          </p:cTn>
                        </p:par>
                        <p:par>
                          <p:cTn id="101" fill="hold">
                            <p:stCondLst>
                              <p:cond delay="2500"/>
                            </p:stCondLst>
                            <p:childTnLst>
                              <p:par>
                                <p:cTn id="102" presetID="22" presetClass="entr" presetSubtype="8" fill="hold" nodeType="afterEffect">
                                  <p:stCondLst>
                                    <p:cond delay="0"/>
                                  </p:stCondLst>
                                  <p:childTnLst>
                                    <p:set>
                                      <p:cBhvr>
                                        <p:cTn id="103" dur="1" fill="hold">
                                          <p:stCondLst>
                                            <p:cond delay="0"/>
                                          </p:stCondLst>
                                        </p:cTn>
                                        <p:tgtEl>
                                          <p:spTgt spid="70"/>
                                        </p:tgtEl>
                                        <p:attrNameLst>
                                          <p:attrName>style.visibility</p:attrName>
                                        </p:attrNameLst>
                                      </p:cBhvr>
                                      <p:to>
                                        <p:strVal val="visible"/>
                                      </p:to>
                                    </p:set>
                                    <p:animEffect transition="in" filter="wipe(left)">
                                      <p:cBhvr>
                                        <p:cTn id="104" dur="500"/>
                                        <p:tgtEl>
                                          <p:spTgt spid="70"/>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xit" presetSubtype="0" fill="hold" nodeType="clickEffect">
                                  <p:stCondLst>
                                    <p:cond delay="0"/>
                                  </p:stCondLst>
                                  <p:childTnLst>
                                    <p:animEffect transition="out" filter="fade">
                                      <p:cBhvr>
                                        <p:cTn id="108" dur="500"/>
                                        <p:tgtEl>
                                          <p:spTgt spid="70"/>
                                        </p:tgtEl>
                                      </p:cBhvr>
                                    </p:animEffect>
                                    <p:set>
                                      <p:cBhvr>
                                        <p:cTn id="109" dur="1" fill="hold">
                                          <p:stCondLst>
                                            <p:cond delay="499"/>
                                          </p:stCondLst>
                                        </p:cTn>
                                        <p:tgtEl>
                                          <p:spTgt spid="70"/>
                                        </p:tgtEl>
                                        <p:attrNameLst>
                                          <p:attrName>style.visibility</p:attrName>
                                        </p:attrNameLst>
                                      </p:cBhvr>
                                      <p:to>
                                        <p:strVal val="hidden"/>
                                      </p:to>
                                    </p:set>
                                  </p:childTnLst>
                                </p:cTn>
                              </p:par>
                              <p:par>
                                <p:cTn id="110" presetID="10" presetClass="exit" presetSubtype="0" fill="hold" nodeType="withEffect">
                                  <p:stCondLst>
                                    <p:cond delay="0"/>
                                  </p:stCondLst>
                                  <p:childTnLst>
                                    <p:animEffect transition="out" filter="fade">
                                      <p:cBhvr>
                                        <p:cTn id="111" dur="500"/>
                                        <p:tgtEl>
                                          <p:spTgt spid="69"/>
                                        </p:tgtEl>
                                      </p:cBhvr>
                                    </p:animEffect>
                                    <p:set>
                                      <p:cBhvr>
                                        <p:cTn id="112" dur="1" fill="hold">
                                          <p:stCondLst>
                                            <p:cond delay="499"/>
                                          </p:stCondLst>
                                        </p:cTn>
                                        <p:tgtEl>
                                          <p:spTgt spid="69"/>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500"/>
                                        <p:tgtEl>
                                          <p:spTgt spid="68"/>
                                        </p:tgtEl>
                                      </p:cBhvr>
                                    </p:animEffect>
                                    <p:set>
                                      <p:cBhvr>
                                        <p:cTn id="115" dur="1" fill="hold">
                                          <p:stCondLst>
                                            <p:cond delay="499"/>
                                          </p:stCondLst>
                                        </p:cTn>
                                        <p:tgtEl>
                                          <p:spTgt spid="68"/>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500"/>
                                        <p:tgtEl>
                                          <p:spTgt spid="72"/>
                                        </p:tgtEl>
                                      </p:cBhvr>
                                    </p:animEffect>
                                    <p:set>
                                      <p:cBhvr>
                                        <p:cTn id="118" dur="1" fill="hold">
                                          <p:stCondLst>
                                            <p:cond delay="499"/>
                                          </p:stCondLst>
                                        </p:cTn>
                                        <p:tgtEl>
                                          <p:spTgt spid="72"/>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500"/>
                                        <p:tgtEl>
                                          <p:spTgt spid="71"/>
                                        </p:tgtEl>
                                      </p:cBhvr>
                                    </p:animEffect>
                                    <p:set>
                                      <p:cBhvr>
                                        <p:cTn id="121" dur="1" fill="hold">
                                          <p:stCondLst>
                                            <p:cond delay="499"/>
                                          </p:stCondLst>
                                        </p:cTn>
                                        <p:tgtEl>
                                          <p:spTgt spid="71"/>
                                        </p:tgtEl>
                                        <p:attrNameLst>
                                          <p:attrName>style.visibility</p:attrName>
                                        </p:attrNameLst>
                                      </p:cBhvr>
                                      <p:to>
                                        <p:strVal val="hidden"/>
                                      </p:to>
                                    </p:set>
                                  </p:childTnLst>
                                </p:cTn>
                              </p:par>
                            </p:childTnLst>
                          </p:cTn>
                        </p:par>
                        <p:par>
                          <p:cTn id="122" fill="hold">
                            <p:stCondLst>
                              <p:cond delay="500"/>
                            </p:stCondLst>
                            <p:childTnLst>
                              <p:par>
                                <p:cTn id="123" presetID="22" presetClass="entr" presetSubtype="4" fill="hold" grpId="0" nodeType="afterEffect">
                                  <p:stCondLst>
                                    <p:cond delay="0"/>
                                  </p:stCondLst>
                                  <p:childTnLst>
                                    <p:set>
                                      <p:cBhvr>
                                        <p:cTn id="124" dur="1" fill="hold">
                                          <p:stCondLst>
                                            <p:cond delay="0"/>
                                          </p:stCondLst>
                                        </p:cTn>
                                        <p:tgtEl>
                                          <p:spTgt spid="42"/>
                                        </p:tgtEl>
                                        <p:attrNameLst>
                                          <p:attrName>style.visibility</p:attrName>
                                        </p:attrNameLst>
                                      </p:cBhvr>
                                      <p:to>
                                        <p:strVal val="visible"/>
                                      </p:to>
                                    </p:set>
                                    <p:animEffect transition="in" filter="wipe(down)">
                                      <p:cBhvr>
                                        <p:cTn id="125" dur="500"/>
                                        <p:tgtEl>
                                          <p:spTgt spid="42"/>
                                        </p:tgtEl>
                                      </p:cBhvr>
                                    </p:animEffect>
                                  </p:childTnLst>
                                </p:cTn>
                              </p:par>
                            </p:childTnLst>
                          </p:cTn>
                        </p:par>
                        <p:par>
                          <p:cTn id="126" fill="hold">
                            <p:stCondLst>
                              <p:cond delay="1000"/>
                            </p:stCondLst>
                            <p:childTnLst>
                              <p:par>
                                <p:cTn id="127" presetID="22" presetClass="entr" presetSubtype="1" fill="hold" grpId="0" nodeType="afterEffect">
                                  <p:stCondLst>
                                    <p:cond delay="0"/>
                                  </p:stCondLst>
                                  <p:childTnLst>
                                    <p:set>
                                      <p:cBhvr>
                                        <p:cTn id="128" dur="1" fill="hold">
                                          <p:stCondLst>
                                            <p:cond delay="0"/>
                                          </p:stCondLst>
                                        </p:cTn>
                                        <p:tgtEl>
                                          <p:spTgt spid="23"/>
                                        </p:tgtEl>
                                        <p:attrNameLst>
                                          <p:attrName>style.visibility</p:attrName>
                                        </p:attrNameLst>
                                      </p:cBhvr>
                                      <p:to>
                                        <p:strVal val="visible"/>
                                      </p:to>
                                    </p:set>
                                    <p:animEffect transition="in" filter="wipe(up)">
                                      <p:cBhvr>
                                        <p:cTn id="129" dur="500"/>
                                        <p:tgtEl>
                                          <p:spTgt spid="23"/>
                                        </p:tgtEl>
                                      </p:cBhvr>
                                    </p:animEffect>
                                  </p:childTnLst>
                                </p:cTn>
                              </p:par>
                            </p:childTnLst>
                          </p:cTn>
                        </p:par>
                        <p:par>
                          <p:cTn id="130" fill="hold">
                            <p:stCondLst>
                              <p:cond delay="1500"/>
                            </p:stCondLst>
                            <p:childTnLst>
                              <p:par>
                                <p:cTn id="131" presetID="10" presetClass="entr" presetSubtype="0" fill="hold" grpId="0" nodeType="afterEffect">
                                  <p:stCondLst>
                                    <p:cond delay="0"/>
                                  </p:stCondLst>
                                  <p:childTnLst>
                                    <p:set>
                                      <p:cBhvr>
                                        <p:cTn id="132" dur="1" fill="hold">
                                          <p:stCondLst>
                                            <p:cond delay="0"/>
                                          </p:stCondLst>
                                        </p:cTn>
                                        <p:tgtEl>
                                          <p:spTgt spid="43"/>
                                        </p:tgtEl>
                                        <p:attrNameLst>
                                          <p:attrName>style.visibility</p:attrName>
                                        </p:attrNameLst>
                                      </p:cBhvr>
                                      <p:to>
                                        <p:strVal val="visible"/>
                                      </p:to>
                                    </p:set>
                                    <p:animEffect transition="in" filter="fade">
                                      <p:cBhvr>
                                        <p:cTn id="133"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P spid="33" grpId="0"/>
      <p:bldP spid="34" grpId="0"/>
      <p:bldP spid="35" grpId="0"/>
      <p:bldP spid="36" grpId="0"/>
      <p:bldP spid="37" grpId="0"/>
      <p:bldP spid="38" grpId="0"/>
      <p:bldP spid="39" grpId="0"/>
      <p:bldP spid="40" grpId="0"/>
      <p:bldP spid="41" grpId="0"/>
      <p:bldP spid="42" grpId="0" animBg="1"/>
      <p:bldP spid="43" grpId="0" animBg="1"/>
      <p:bldP spid="2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50"/>
          <p:cNvGrpSpPr/>
          <p:nvPr/>
        </p:nvGrpSpPr>
        <p:grpSpPr>
          <a:xfrm>
            <a:off x="2336801" y="1270000"/>
            <a:ext cx="7607300" cy="4546600"/>
            <a:chOff x="351812" y="1778967"/>
            <a:chExt cx="7551171" cy="4472053"/>
          </a:xfrm>
        </p:grpSpPr>
        <p:sp>
          <p:nvSpPr>
            <p:cNvPr id="3" name="Freeform 60"/>
            <p:cNvSpPr>
              <a:spLocks/>
            </p:cNvSpPr>
            <p:nvPr/>
          </p:nvSpPr>
          <p:spPr bwMode="auto">
            <a:xfrm>
              <a:off x="351812" y="1778967"/>
              <a:ext cx="834111" cy="942593"/>
            </a:xfrm>
            <a:custGeom>
              <a:avLst/>
              <a:gdLst>
                <a:gd name="T0" fmla="*/ 2656 w 3826"/>
                <a:gd name="T1" fmla="*/ 2761 h 4380"/>
                <a:gd name="T2" fmla="*/ 2806 w 3826"/>
                <a:gd name="T3" fmla="*/ 2911 h 4380"/>
                <a:gd name="T4" fmla="*/ 2866 w 3826"/>
                <a:gd name="T5" fmla="*/ 3241 h 4380"/>
                <a:gd name="T6" fmla="*/ 3166 w 3826"/>
                <a:gd name="T7" fmla="*/ 3991 h 4380"/>
                <a:gd name="T8" fmla="*/ 3264 w 3826"/>
                <a:gd name="T9" fmla="*/ 4315 h 4380"/>
                <a:gd name="T10" fmla="*/ 3118 w 3826"/>
                <a:gd name="T11" fmla="*/ 4315 h 4380"/>
                <a:gd name="T12" fmla="*/ 3099 w 3826"/>
                <a:gd name="T13" fmla="*/ 4069 h 4380"/>
                <a:gd name="T14" fmla="*/ 2898 w 3826"/>
                <a:gd name="T15" fmla="*/ 3931 h 4380"/>
                <a:gd name="T16" fmla="*/ 2990 w 3826"/>
                <a:gd name="T17" fmla="*/ 4169 h 4380"/>
                <a:gd name="T18" fmla="*/ 2862 w 3826"/>
                <a:gd name="T19" fmla="*/ 4361 h 4380"/>
                <a:gd name="T20" fmla="*/ 2807 w 3826"/>
                <a:gd name="T21" fmla="*/ 3950 h 4380"/>
                <a:gd name="T22" fmla="*/ 2807 w 3826"/>
                <a:gd name="T23" fmla="*/ 3602 h 4380"/>
                <a:gd name="T24" fmla="*/ 2746 w 3826"/>
                <a:gd name="T25" fmla="*/ 3361 h 4380"/>
                <a:gd name="T26" fmla="*/ 2688 w 3826"/>
                <a:gd name="T27" fmla="*/ 3090 h 4380"/>
                <a:gd name="T28" fmla="*/ 2416 w 3826"/>
                <a:gd name="T29" fmla="*/ 2731 h 4380"/>
                <a:gd name="T30" fmla="*/ 2286 w 3826"/>
                <a:gd name="T31" fmla="*/ 2533 h 4380"/>
                <a:gd name="T32" fmla="*/ 2094 w 3826"/>
                <a:gd name="T33" fmla="*/ 2286 h 4380"/>
                <a:gd name="T34" fmla="*/ 1847 w 3826"/>
                <a:gd name="T35" fmla="*/ 2331 h 4380"/>
                <a:gd name="T36" fmla="*/ 1545 w 3826"/>
                <a:gd name="T37" fmla="*/ 2322 h 4380"/>
                <a:gd name="T38" fmla="*/ 1664 w 3826"/>
                <a:gd name="T39" fmla="*/ 2157 h 4380"/>
                <a:gd name="T40" fmla="*/ 1929 w 3826"/>
                <a:gd name="T41" fmla="*/ 2148 h 4380"/>
                <a:gd name="T42" fmla="*/ 1947 w 3826"/>
                <a:gd name="T43" fmla="*/ 2010 h 4380"/>
                <a:gd name="T44" fmla="*/ 1655 w 3826"/>
                <a:gd name="T45" fmla="*/ 2029 h 4380"/>
                <a:gd name="T46" fmla="*/ 1362 w 3826"/>
                <a:gd name="T47" fmla="*/ 2065 h 4380"/>
                <a:gd name="T48" fmla="*/ 1234 w 3826"/>
                <a:gd name="T49" fmla="*/ 2249 h 4380"/>
                <a:gd name="T50" fmla="*/ 946 w 3826"/>
                <a:gd name="T51" fmla="*/ 2221 h 4380"/>
                <a:gd name="T52" fmla="*/ 128 w 3826"/>
                <a:gd name="T53" fmla="*/ 1965 h 4380"/>
                <a:gd name="T54" fmla="*/ 9 w 3826"/>
                <a:gd name="T55" fmla="*/ 1764 h 4380"/>
                <a:gd name="T56" fmla="*/ 357 w 3826"/>
                <a:gd name="T57" fmla="*/ 1956 h 4380"/>
                <a:gd name="T58" fmla="*/ 649 w 3826"/>
                <a:gd name="T59" fmla="*/ 2047 h 4380"/>
                <a:gd name="T60" fmla="*/ 933 w 3826"/>
                <a:gd name="T61" fmla="*/ 2001 h 4380"/>
                <a:gd name="T62" fmla="*/ 987 w 3826"/>
                <a:gd name="T63" fmla="*/ 1846 h 4380"/>
                <a:gd name="T64" fmla="*/ 905 w 3826"/>
                <a:gd name="T65" fmla="*/ 1709 h 4380"/>
                <a:gd name="T66" fmla="*/ 750 w 3826"/>
                <a:gd name="T67" fmla="*/ 1608 h 4380"/>
                <a:gd name="T68" fmla="*/ 826 w 3826"/>
                <a:gd name="T69" fmla="*/ 1410 h 4380"/>
                <a:gd name="T70" fmla="*/ 759 w 3826"/>
                <a:gd name="T71" fmla="*/ 1233 h 4380"/>
                <a:gd name="T72" fmla="*/ 796 w 3826"/>
                <a:gd name="T73" fmla="*/ 1020 h 4380"/>
                <a:gd name="T74" fmla="*/ 1006 w 3826"/>
                <a:gd name="T75" fmla="*/ 776 h 4380"/>
                <a:gd name="T76" fmla="*/ 1306 w 3826"/>
                <a:gd name="T77" fmla="*/ 720 h 4380"/>
                <a:gd name="T78" fmla="*/ 1472 w 3826"/>
                <a:gd name="T79" fmla="*/ 895 h 4380"/>
                <a:gd name="T80" fmla="*/ 1673 w 3826"/>
                <a:gd name="T81" fmla="*/ 913 h 4380"/>
                <a:gd name="T82" fmla="*/ 1710 w 3826"/>
                <a:gd name="T83" fmla="*/ 758 h 4380"/>
                <a:gd name="T84" fmla="*/ 1518 w 3826"/>
                <a:gd name="T85" fmla="*/ 602 h 4380"/>
                <a:gd name="T86" fmla="*/ 1546 w 3826"/>
                <a:gd name="T87" fmla="*/ 270 h 4380"/>
                <a:gd name="T88" fmla="*/ 1755 w 3826"/>
                <a:gd name="T89" fmla="*/ 273 h 4380"/>
                <a:gd name="T90" fmla="*/ 1846 w 3826"/>
                <a:gd name="T91" fmla="*/ 480 h 4380"/>
                <a:gd name="T92" fmla="*/ 2130 w 3826"/>
                <a:gd name="T93" fmla="*/ 657 h 4380"/>
                <a:gd name="T94" fmla="*/ 2139 w 3826"/>
                <a:gd name="T95" fmla="*/ 511 h 4380"/>
                <a:gd name="T96" fmla="*/ 2116 w 3826"/>
                <a:gd name="T97" fmla="*/ 270 h 4380"/>
                <a:gd name="T98" fmla="*/ 2139 w 3826"/>
                <a:gd name="T99" fmla="*/ 81 h 4380"/>
                <a:gd name="T100" fmla="*/ 2386 w 3826"/>
                <a:gd name="T101" fmla="*/ 120 h 4380"/>
                <a:gd name="T102" fmla="*/ 2679 w 3826"/>
                <a:gd name="T103" fmla="*/ 63 h 4380"/>
                <a:gd name="T104" fmla="*/ 2872 w 3826"/>
                <a:gd name="T105" fmla="*/ 207 h 4380"/>
                <a:gd name="T106" fmla="*/ 3032 w 3826"/>
                <a:gd name="T107" fmla="*/ 231 h 4380"/>
                <a:gd name="T108" fmla="*/ 3184 w 3826"/>
                <a:gd name="T109" fmla="*/ 399 h 4380"/>
                <a:gd name="T110" fmla="*/ 3368 w 3826"/>
                <a:gd name="T111" fmla="*/ 551 h 4380"/>
                <a:gd name="T112" fmla="*/ 3474 w 3826"/>
                <a:gd name="T113" fmla="*/ 666 h 4380"/>
                <a:gd name="T114" fmla="*/ 3685 w 3826"/>
                <a:gd name="T115" fmla="*/ 950 h 4380"/>
                <a:gd name="T116" fmla="*/ 3826 w 3826"/>
                <a:gd name="T117" fmla="*/ 1170 h 4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826" h="4380">
                  <a:moveTo>
                    <a:pt x="3826" y="1170"/>
                  </a:moveTo>
                  <a:lnTo>
                    <a:pt x="2656" y="2760"/>
                  </a:lnTo>
                  <a:lnTo>
                    <a:pt x="2706" y="2861"/>
                  </a:lnTo>
                  <a:lnTo>
                    <a:pt x="2806" y="2910"/>
                  </a:lnTo>
                  <a:lnTo>
                    <a:pt x="2807" y="3135"/>
                  </a:lnTo>
                  <a:lnTo>
                    <a:pt x="2866" y="3240"/>
                  </a:lnTo>
                  <a:lnTo>
                    <a:pt x="3072" y="3217"/>
                  </a:lnTo>
                  <a:lnTo>
                    <a:pt x="3166" y="3990"/>
                  </a:lnTo>
                  <a:lnTo>
                    <a:pt x="3256" y="4140"/>
                  </a:lnTo>
                  <a:lnTo>
                    <a:pt x="3264" y="4314"/>
                  </a:lnTo>
                  <a:lnTo>
                    <a:pt x="3166" y="4380"/>
                  </a:lnTo>
                  <a:lnTo>
                    <a:pt x="3118" y="4314"/>
                  </a:lnTo>
                  <a:lnTo>
                    <a:pt x="3154" y="4223"/>
                  </a:lnTo>
                  <a:lnTo>
                    <a:pt x="3099" y="4068"/>
                  </a:lnTo>
                  <a:lnTo>
                    <a:pt x="3008" y="3885"/>
                  </a:lnTo>
                  <a:lnTo>
                    <a:pt x="2898" y="3930"/>
                  </a:lnTo>
                  <a:lnTo>
                    <a:pt x="2953" y="4004"/>
                  </a:lnTo>
                  <a:lnTo>
                    <a:pt x="2990" y="4168"/>
                  </a:lnTo>
                  <a:lnTo>
                    <a:pt x="2981" y="4269"/>
                  </a:lnTo>
                  <a:lnTo>
                    <a:pt x="2862" y="4360"/>
                  </a:lnTo>
                  <a:lnTo>
                    <a:pt x="2862" y="4058"/>
                  </a:lnTo>
                  <a:lnTo>
                    <a:pt x="2807" y="3949"/>
                  </a:lnTo>
                  <a:lnTo>
                    <a:pt x="2798" y="3802"/>
                  </a:lnTo>
                  <a:lnTo>
                    <a:pt x="2807" y="3601"/>
                  </a:lnTo>
                  <a:lnTo>
                    <a:pt x="2834" y="3428"/>
                  </a:lnTo>
                  <a:lnTo>
                    <a:pt x="2746" y="3360"/>
                  </a:lnTo>
                  <a:lnTo>
                    <a:pt x="2743" y="3199"/>
                  </a:lnTo>
                  <a:lnTo>
                    <a:pt x="2688" y="3089"/>
                  </a:lnTo>
                  <a:lnTo>
                    <a:pt x="2566" y="2880"/>
                  </a:lnTo>
                  <a:lnTo>
                    <a:pt x="2416" y="2730"/>
                  </a:lnTo>
                  <a:lnTo>
                    <a:pt x="2286" y="2623"/>
                  </a:lnTo>
                  <a:lnTo>
                    <a:pt x="2286" y="2532"/>
                  </a:lnTo>
                  <a:lnTo>
                    <a:pt x="2203" y="2431"/>
                  </a:lnTo>
                  <a:lnTo>
                    <a:pt x="2094" y="2285"/>
                  </a:lnTo>
                  <a:lnTo>
                    <a:pt x="1984" y="2394"/>
                  </a:lnTo>
                  <a:lnTo>
                    <a:pt x="1847" y="2330"/>
                  </a:lnTo>
                  <a:lnTo>
                    <a:pt x="1666" y="2340"/>
                  </a:lnTo>
                  <a:lnTo>
                    <a:pt x="1545" y="2321"/>
                  </a:lnTo>
                  <a:lnTo>
                    <a:pt x="1582" y="2248"/>
                  </a:lnTo>
                  <a:lnTo>
                    <a:pt x="1664" y="2157"/>
                  </a:lnTo>
                  <a:lnTo>
                    <a:pt x="1846" y="2070"/>
                  </a:lnTo>
                  <a:lnTo>
                    <a:pt x="1929" y="2148"/>
                  </a:lnTo>
                  <a:lnTo>
                    <a:pt x="2026" y="2070"/>
                  </a:lnTo>
                  <a:lnTo>
                    <a:pt x="1947" y="2010"/>
                  </a:lnTo>
                  <a:lnTo>
                    <a:pt x="1786" y="2010"/>
                  </a:lnTo>
                  <a:lnTo>
                    <a:pt x="1655" y="2029"/>
                  </a:lnTo>
                  <a:lnTo>
                    <a:pt x="1554" y="2093"/>
                  </a:lnTo>
                  <a:lnTo>
                    <a:pt x="1362" y="2065"/>
                  </a:lnTo>
                  <a:lnTo>
                    <a:pt x="1353" y="2175"/>
                  </a:lnTo>
                  <a:lnTo>
                    <a:pt x="1234" y="2248"/>
                  </a:lnTo>
                  <a:lnTo>
                    <a:pt x="1051" y="2212"/>
                  </a:lnTo>
                  <a:lnTo>
                    <a:pt x="946" y="2220"/>
                  </a:lnTo>
                  <a:lnTo>
                    <a:pt x="496" y="2160"/>
                  </a:lnTo>
                  <a:lnTo>
                    <a:pt x="128" y="1965"/>
                  </a:lnTo>
                  <a:lnTo>
                    <a:pt x="0" y="1882"/>
                  </a:lnTo>
                  <a:lnTo>
                    <a:pt x="9" y="1764"/>
                  </a:lnTo>
                  <a:lnTo>
                    <a:pt x="210" y="1919"/>
                  </a:lnTo>
                  <a:lnTo>
                    <a:pt x="357" y="1956"/>
                  </a:lnTo>
                  <a:lnTo>
                    <a:pt x="466" y="2040"/>
                  </a:lnTo>
                  <a:lnTo>
                    <a:pt x="649" y="2047"/>
                  </a:lnTo>
                  <a:lnTo>
                    <a:pt x="766" y="2010"/>
                  </a:lnTo>
                  <a:lnTo>
                    <a:pt x="933" y="2001"/>
                  </a:lnTo>
                  <a:lnTo>
                    <a:pt x="1036" y="1920"/>
                  </a:lnTo>
                  <a:lnTo>
                    <a:pt x="987" y="1846"/>
                  </a:lnTo>
                  <a:lnTo>
                    <a:pt x="887" y="1818"/>
                  </a:lnTo>
                  <a:lnTo>
                    <a:pt x="905" y="1709"/>
                  </a:lnTo>
                  <a:lnTo>
                    <a:pt x="896" y="1590"/>
                  </a:lnTo>
                  <a:lnTo>
                    <a:pt x="750" y="1608"/>
                  </a:lnTo>
                  <a:lnTo>
                    <a:pt x="676" y="1530"/>
                  </a:lnTo>
                  <a:lnTo>
                    <a:pt x="826" y="1410"/>
                  </a:lnTo>
                  <a:lnTo>
                    <a:pt x="878" y="1316"/>
                  </a:lnTo>
                  <a:lnTo>
                    <a:pt x="759" y="1233"/>
                  </a:lnTo>
                  <a:lnTo>
                    <a:pt x="736" y="1110"/>
                  </a:lnTo>
                  <a:lnTo>
                    <a:pt x="796" y="1020"/>
                  </a:lnTo>
                  <a:lnTo>
                    <a:pt x="887" y="904"/>
                  </a:lnTo>
                  <a:lnTo>
                    <a:pt x="1006" y="776"/>
                  </a:lnTo>
                  <a:lnTo>
                    <a:pt x="1189" y="794"/>
                  </a:lnTo>
                  <a:lnTo>
                    <a:pt x="1306" y="720"/>
                  </a:lnTo>
                  <a:lnTo>
                    <a:pt x="1335" y="849"/>
                  </a:lnTo>
                  <a:lnTo>
                    <a:pt x="1472" y="895"/>
                  </a:lnTo>
                  <a:lnTo>
                    <a:pt x="1546" y="930"/>
                  </a:lnTo>
                  <a:lnTo>
                    <a:pt x="1673" y="913"/>
                  </a:lnTo>
                  <a:lnTo>
                    <a:pt x="1756" y="810"/>
                  </a:lnTo>
                  <a:lnTo>
                    <a:pt x="1710" y="758"/>
                  </a:lnTo>
                  <a:lnTo>
                    <a:pt x="1600" y="685"/>
                  </a:lnTo>
                  <a:lnTo>
                    <a:pt x="1518" y="602"/>
                  </a:lnTo>
                  <a:lnTo>
                    <a:pt x="1456" y="480"/>
                  </a:lnTo>
                  <a:lnTo>
                    <a:pt x="1546" y="270"/>
                  </a:lnTo>
                  <a:lnTo>
                    <a:pt x="1637" y="246"/>
                  </a:lnTo>
                  <a:lnTo>
                    <a:pt x="1755" y="273"/>
                  </a:lnTo>
                  <a:lnTo>
                    <a:pt x="1966" y="360"/>
                  </a:lnTo>
                  <a:lnTo>
                    <a:pt x="1846" y="480"/>
                  </a:lnTo>
                  <a:lnTo>
                    <a:pt x="2026" y="630"/>
                  </a:lnTo>
                  <a:lnTo>
                    <a:pt x="2130" y="657"/>
                  </a:lnTo>
                  <a:lnTo>
                    <a:pt x="2206" y="600"/>
                  </a:lnTo>
                  <a:lnTo>
                    <a:pt x="2139" y="511"/>
                  </a:lnTo>
                  <a:lnTo>
                    <a:pt x="2075" y="429"/>
                  </a:lnTo>
                  <a:lnTo>
                    <a:pt x="2116" y="270"/>
                  </a:lnTo>
                  <a:lnTo>
                    <a:pt x="2167" y="182"/>
                  </a:lnTo>
                  <a:lnTo>
                    <a:pt x="2139" y="81"/>
                  </a:lnTo>
                  <a:lnTo>
                    <a:pt x="2296" y="0"/>
                  </a:lnTo>
                  <a:lnTo>
                    <a:pt x="2386" y="120"/>
                  </a:lnTo>
                  <a:lnTo>
                    <a:pt x="2552" y="127"/>
                  </a:lnTo>
                  <a:lnTo>
                    <a:pt x="2679" y="63"/>
                  </a:lnTo>
                  <a:lnTo>
                    <a:pt x="2843" y="127"/>
                  </a:lnTo>
                  <a:lnTo>
                    <a:pt x="2872" y="207"/>
                  </a:lnTo>
                  <a:lnTo>
                    <a:pt x="2971" y="145"/>
                  </a:lnTo>
                  <a:lnTo>
                    <a:pt x="3032" y="231"/>
                  </a:lnTo>
                  <a:lnTo>
                    <a:pt x="3136" y="210"/>
                  </a:lnTo>
                  <a:lnTo>
                    <a:pt x="3184" y="399"/>
                  </a:lnTo>
                  <a:lnTo>
                    <a:pt x="3286" y="420"/>
                  </a:lnTo>
                  <a:lnTo>
                    <a:pt x="3368" y="551"/>
                  </a:lnTo>
                  <a:lnTo>
                    <a:pt x="3346" y="648"/>
                  </a:lnTo>
                  <a:lnTo>
                    <a:pt x="3474" y="666"/>
                  </a:lnTo>
                  <a:lnTo>
                    <a:pt x="3493" y="813"/>
                  </a:lnTo>
                  <a:lnTo>
                    <a:pt x="3685" y="950"/>
                  </a:lnTo>
                  <a:lnTo>
                    <a:pt x="3785" y="1050"/>
                  </a:lnTo>
                  <a:lnTo>
                    <a:pt x="3826" y="1170"/>
                  </a:lnTo>
                  <a:close/>
                </a:path>
              </a:pathLst>
            </a:custGeom>
            <a:solidFill>
              <a:schemeClr val="accent3"/>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 name="Freeform 6"/>
            <p:cNvSpPr>
              <a:spLocks/>
            </p:cNvSpPr>
            <p:nvPr/>
          </p:nvSpPr>
          <p:spPr bwMode="auto">
            <a:xfrm>
              <a:off x="2613075" y="3571718"/>
              <a:ext cx="898584" cy="539377"/>
            </a:xfrm>
            <a:custGeom>
              <a:avLst/>
              <a:gdLst>
                <a:gd name="T0" fmla="*/ 6 w 4076"/>
                <a:gd name="T1" fmla="*/ 0 h 2449"/>
                <a:gd name="T2" fmla="*/ 221 w 4076"/>
                <a:gd name="T3" fmla="*/ 36 h 2449"/>
                <a:gd name="T4" fmla="*/ 511 w 4076"/>
                <a:gd name="T5" fmla="*/ 70 h 2449"/>
                <a:gd name="T6" fmla="*/ 772 w 4076"/>
                <a:gd name="T7" fmla="*/ 88 h 2449"/>
                <a:gd name="T8" fmla="*/ 755 w 4076"/>
                <a:gd name="T9" fmla="*/ 457 h 2449"/>
                <a:gd name="T10" fmla="*/ 385 w 4076"/>
                <a:gd name="T11" fmla="*/ 429 h 2449"/>
                <a:gd name="T12" fmla="*/ 277 w 4076"/>
                <a:gd name="T13" fmla="*/ 417 h 2449"/>
                <a:gd name="T14" fmla="*/ 267 w 4076"/>
                <a:gd name="T15" fmla="*/ 452 h 2449"/>
                <a:gd name="T16" fmla="*/ 239 w 4076"/>
                <a:gd name="T17" fmla="*/ 441 h 2449"/>
                <a:gd name="T18" fmla="*/ 239 w 4076"/>
                <a:gd name="T19" fmla="*/ 459 h 2449"/>
                <a:gd name="T20" fmla="*/ 217 w 4076"/>
                <a:gd name="T21" fmla="*/ 464 h 2449"/>
                <a:gd name="T22" fmla="*/ 199 w 4076"/>
                <a:gd name="T23" fmla="*/ 453 h 2449"/>
                <a:gd name="T24" fmla="*/ 154 w 4076"/>
                <a:gd name="T25" fmla="*/ 453 h 2449"/>
                <a:gd name="T26" fmla="*/ 136 w 4076"/>
                <a:gd name="T27" fmla="*/ 444 h 2449"/>
                <a:gd name="T28" fmla="*/ 120 w 4076"/>
                <a:gd name="T29" fmla="*/ 426 h 2449"/>
                <a:gd name="T30" fmla="*/ 110 w 4076"/>
                <a:gd name="T31" fmla="*/ 409 h 2449"/>
                <a:gd name="T32" fmla="*/ 108 w 4076"/>
                <a:gd name="T33" fmla="*/ 380 h 2449"/>
                <a:gd name="T34" fmla="*/ 92 w 4076"/>
                <a:gd name="T35" fmla="*/ 327 h 2449"/>
                <a:gd name="T36" fmla="*/ 60 w 4076"/>
                <a:gd name="T37" fmla="*/ 329 h 2449"/>
                <a:gd name="T38" fmla="*/ 60 w 4076"/>
                <a:gd name="T39" fmla="*/ 287 h 2449"/>
                <a:gd name="T40" fmla="*/ 80 w 4076"/>
                <a:gd name="T41" fmla="*/ 231 h 2449"/>
                <a:gd name="T42" fmla="*/ 57 w 4076"/>
                <a:gd name="T43" fmla="*/ 219 h 2449"/>
                <a:gd name="T44" fmla="*/ 46 w 4076"/>
                <a:gd name="T45" fmla="*/ 197 h 2449"/>
                <a:gd name="T46" fmla="*/ 18 w 4076"/>
                <a:gd name="T47" fmla="*/ 167 h 2449"/>
                <a:gd name="T48" fmla="*/ 0 w 4076"/>
                <a:gd name="T49" fmla="*/ 140 h 2449"/>
                <a:gd name="T50" fmla="*/ 0 w 4076"/>
                <a:gd name="T51" fmla="*/ 87 h 2449"/>
                <a:gd name="T52" fmla="*/ 1 w 4076"/>
                <a:gd name="T53" fmla="*/ 49 h 2449"/>
                <a:gd name="T54" fmla="*/ 6 w 4076"/>
                <a:gd name="T55" fmla="*/ 0 h 24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076" h="2449">
                  <a:moveTo>
                    <a:pt x="31" y="0"/>
                  </a:moveTo>
                  <a:lnTo>
                    <a:pt x="1165" y="192"/>
                  </a:lnTo>
                  <a:lnTo>
                    <a:pt x="2696" y="372"/>
                  </a:lnTo>
                  <a:lnTo>
                    <a:pt x="4076" y="462"/>
                  </a:lnTo>
                  <a:lnTo>
                    <a:pt x="3986" y="2412"/>
                  </a:lnTo>
                  <a:lnTo>
                    <a:pt x="2035" y="2262"/>
                  </a:lnTo>
                  <a:lnTo>
                    <a:pt x="1465" y="2202"/>
                  </a:lnTo>
                  <a:lnTo>
                    <a:pt x="1410" y="2388"/>
                  </a:lnTo>
                  <a:lnTo>
                    <a:pt x="1264" y="2329"/>
                  </a:lnTo>
                  <a:lnTo>
                    <a:pt x="1262" y="2421"/>
                  </a:lnTo>
                  <a:lnTo>
                    <a:pt x="1146" y="2449"/>
                  </a:lnTo>
                  <a:lnTo>
                    <a:pt x="1053" y="2390"/>
                  </a:lnTo>
                  <a:lnTo>
                    <a:pt x="811" y="2390"/>
                  </a:lnTo>
                  <a:lnTo>
                    <a:pt x="720" y="2341"/>
                  </a:lnTo>
                  <a:lnTo>
                    <a:pt x="632" y="2251"/>
                  </a:lnTo>
                  <a:lnTo>
                    <a:pt x="583" y="2159"/>
                  </a:lnTo>
                  <a:lnTo>
                    <a:pt x="572" y="2005"/>
                  </a:lnTo>
                  <a:lnTo>
                    <a:pt x="486" y="1727"/>
                  </a:lnTo>
                  <a:lnTo>
                    <a:pt x="319" y="1736"/>
                  </a:lnTo>
                  <a:lnTo>
                    <a:pt x="318" y="1515"/>
                  </a:lnTo>
                  <a:lnTo>
                    <a:pt x="421" y="1220"/>
                  </a:lnTo>
                  <a:lnTo>
                    <a:pt x="303" y="1154"/>
                  </a:lnTo>
                  <a:lnTo>
                    <a:pt x="241" y="1040"/>
                  </a:lnTo>
                  <a:lnTo>
                    <a:pt x="94" y="881"/>
                  </a:lnTo>
                  <a:lnTo>
                    <a:pt x="1" y="737"/>
                  </a:lnTo>
                  <a:lnTo>
                    <a:pt x="0" y="461"/>
                  </a:lnTo>
                  <a:lnTo>
                    <a:pt x="6" y="257"/>
                  </a:lnTo>
                  <a:lnTo>
                    <a:pt x="31" y="0"/>
                  </a:lnTo>
                  <a:close/>
                </a:path>
              </a:pathLst>
            </a:custGeom>
            <a:solidFill>
              <a:srgbClr val="5082B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5" name="Freeform 7"/>
            <p:cNvSpPr>
              <a:spLocks/>
            </p:cNvSpPr>
            <p:nvPr/>
          </p:nvSpPr>
          <p:spPr bwMode="auto">
            <a:xfrm>
              <a:off x="3245231" y="2445973"/>
              <a:ext cx="577328" cy="342923"/>
            </a:xfrm>
            <a:custGeom>
              <a:avLst/>
              <a:gdLst>
                <a:gd name="T0" fmla="*/ 14 w 2622"/>
                <a:gd name="T1" fmla="*/ 7 h 1560"/>
                <a:gd name="T2" fmla="*/ 0 w 2622"/>
                <a:gd name="T3" fmla="*/ 295 h 1560"/>
                <a:gd name="T4" fmla="*/ 496 w 2622"/>
                <a:gd name="T5" fmla="*/ 284 h 1560"/>
                <a:gd name="T6" fmla="*/ 486 w 2622"/>
                <a:gd name="T7" fmla="*/ 217 h 1560"/>
                <a:gd name="T8" fmla="*/ 477 w 2622"/>
                <a:gd name="T9" fmla="*/ 130 h 1560"/>
                <a:gd name="T10" fmla="*/ 454 w 2622"/>
                <a:gd name="T11" fmla="*/ 99 h 1560"/>
                <a:gd name="T12" fmla="*/ 447 w 2622"/>
                <a:gd name="T13" fmla="*/ 58 h 1560"/>
                <a:gd name="T14" fmla="*/ 443 w 2622"/>
                <a:gd name="T15" fmla="*/ 0 h 1560"/>
                <a:gd name="T16" fmla="*/ 355 w 2622"/>
                <a:gd name="T17" fmla="*/ 3 h 1560"/>
                <a:gd name="T18" fmla="*/ 310 w 2622"/>
                <a:gd name="T19" fmla="*/ 12 h 1560"/>
                <a:gd name="T20" fmla="*/ 236 w 2622"/>
                <a:gd name="T21" fmla="*/ 9 h 1560"/>
                <a:gd name="T22" fmla="*/ 140 w 2622"/>
                <a:gd name="T23" fmla="*/ 10 h 1560"/>
                <a:gd name="T24" fmla="*/ 14 w 2622"/>
                <a:gd name="T25" fmla="*/ 7 h 15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22" h="1560">
                  <a:moveTo>
                    <a:pt x="72" y="35"/>
                  </a:moveTo>
                  <a:lnTo>
                    <a:pt x="0" y="1560"/>
                  </a:lnTo>
                  <a:lnTo>
                    <a:pt x="2622" y="1503"/>
                  </a:lnTo>
                  <a:lnTo>
                    <a:pt x="2568" y="1149"/>
                  </a:lnTo>
                  <a:lnTo>
                    <a:pt x="2520" y="690"/>
                  </a:lnTo>
                  <a:lnTo>
                    <a:pt x="2400" y="525"/>
                  </a:lnTo>
                  <a:lnTo>
                    <a:pt x="2364" y="309"/>
                  </a:lnTo>
                  <a:lnTo>
                    <a:pt x="2340" y="0"/>
                  </a:lnTo>
                  <a:lnTo>
                    <a:pt x="1878" y="15"/>
                  </a:lnTo>
                  <a:lnTo>
                    <a:pt x="1638" y="63"/>
                  </a:lnTo>
                  <a:lnTo>
                    <a:pt x="1248" y="45"/>
                  </a:lnTo>
                  <a:lnTo>
                    <a:pt x="738" y="51"/>
                  </a:lnTo>
                  <a:lnTo>
                    <a:pt x="72" y="35"/>
                  </a:lnTo>
                  <a:close/>
                </a:path>
              </a:pathLst>
            </a:custGeom>
            <a:solidFill>
              <a:srgbClr val="FFC00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6" name="Freeform 8"/>
            <p:cNvSpPr>
              <a:spLocks/>
            </p:cNvSpPr>
            <p:nvPr/>
          </p:nvSpPr>
          <p:spPr bwMode="auto">
            <a:xfrm>
              <a:off x="1475651" y="3964465"/>
              <a:ext cx="606626" cy="628396"/>
            </a:xfrm>
            <a:custGeom>
              <a:avLst/>
              <a:gdLst>
                <a:gd name="T0" fmla="*/ 71 w 2254"/>
                <a:gd name="T1" fmla="*/ 0 h 2808"/>
                <a:gd name="T2" fmla="*/ 181 w 2254"/>
                <a:gd name="T3" fmla="*/ 16 h 2808"/>
                <a:gd name="T4" fmla="*/ 279 w 2254"/>
                <a:gd name="T5" fmla="*/ 42 h 2808"/>
                <a:gd name="T6" fmla="*/ 273 w 2254"/>
                <a:gd name="T7" fmla="*/ 81 h 2808"/>
                <a:gd name="T8" fmla="*/ 270 w 2254"/>
                <a:gd name="T9" fmla="*/ 133 h 2808"/>
                <a:gd name="T10" fmla="*/ 365 w 2254"/>
                <a:gd name="T11" fmla="*/ 139 h 2808"/>
                <a:gd name="T12" fmla="*/ 427 w 2254"/>
                <a:gd name="T13" fmla="*/ 146 h 2808"/>
                <a:gd name="T14" fmla="*/ 405 w 2254"/>
                <a:gd name="T15" fmla="*/ 284 h 2808"/>
                <a:gd name="T16" fmla="*/ 383 w 2254"/>
                <a:gd name="T17" fmla="*/ 533 h 2808"/>
                <a:gd name="T18" fmla="*/ 0 w 2254"/>
                <a:gd name="T19" fmla="*/ 476 h 2808"/>
                <a:gd name="T20" fmla="*/ 11 w 2254"/>
                <a:gd name="T21" fmla="*/ 386 h 2808"/>
                <a:gd name="T22" fmla="*/ 36 w 2254"/>
                <a:gd name="T23" fmla="*/ 231 h 2808"/>
                <a:gd name="T24" fmla="*/ 44 w 2254"/>
                <a:gd name="T25" fmla="*/ 159 h 2808"/>
                <a:gd name="T26" fmla="*/ 50 w 2254"/>
                <a:gd name="T27" fmla="*/ 95 h 2808"/>
                <a:gd name="T28" fmla="*/ 65 w 2254"/>
                <a:gd name="T29" fmla="*/ 22 h 2808"/>
                <a:gd name="T30" fmla="*/ 71 w 2254"/>
                <a:gd name="T31" fmla="*/ 0 h 28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54" h="2808">
                  <a:moveTo>
                    <a:pt x="377" y="0"/>
                  </a:moveTo>
                  <a:lnTo>
                    <a:pt x="956" y="85"/>
                  </a:lnTo>
                  <a:lnTo>
                    <a:pt x="1472" y="220"/>
                  </a:lnTo>
                  <a:lnTo>
                    <a:pt x="1441" y="428"/>
                  </a:lnTo>
                  <a:lnTo>
                    <a:pt x="1423" y="702"/>
                  </a:lnTo>
                  <a:lnTo>
                    <a:pt x="1926" y="730"/>
                  </a:lnTo>
                  <a:lnTo>
                    <a:pt x="2254" y="767"/>
                  </a:lnTo>
                  <a:lnTo>
                    <a:pt x="2136" y="1498"/>
                  </a:lnTo>
                  <a:lnTo>
                    <a:pt x="2024" y="2808"/>
                  </a:lnTo>
                  <a:lnTo>
                    <a:pt x="0" y="2509"/>
                  </a:lnTo>
                  <a:lnTo>
                    <a:pt x="56" y="2032"/>
                  </a:lnTo>
                  <a:lnTo>
                    <a:pt x="189" y="1219"/>
                  </a:lnTo>
                  <a:lnTo>
                    <a:pt x="234" y="838"/>
                  </a:lnTo>
                  <a:lnTo>
                    <a:pt x="266" y="501"/>
                  </a:lnTo>
                  <a:lnTo>
                    <a:pt x="345" y="118"/>
                  </a:lnTo>
                  <a:lnTo>
                    <a:pt x="377" y="0"/>
                  </a:lnTo>
                  <a:close/>
                </a:path>
              </a:pathLst>
            </a:custGeom>
            <a:solidFill>
              <a:schemeClr val="accent3">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7" name="Freeform 9"/>
            <p:cNvSpPr>
              <a:spLocks/>
            </p:cNvSpPr>
            <p:nvPr/>
          </p:nvSpPr>
          <p:spPr bwMode="auto">
            <a:xfrm>
              <a:off x="2916388" y="4043015"/>
              <a:ext cx="607592" cy="492879"/>
            </a:xfrm>
            <a:custGeom>
              <a:avLst/>
              <a:gdLst>
                <a:gd name="T0" fmla="*/ 0 w 2757"/>
                <a:gd name="T1" fmla="*/ 382 h 2235"/>
                <a:gd name="T2" fmla="*/ 96 w 2757"/>
                <a:gd name="T3" fmla="*/ 388 h 2235"/>
                <a:gd name="T4" fmla="*/ 157 w 2757"/>
                <a:gd name="T5" fmla="*/ 394 h 2235"/>
                <a:gd name="T6" fmla="*/ 510 w 2757"/>
                <a:gd name="T7" fmla="*/ 424 h 2235"/>
                <a:gd name="T8" fmla="*/ 522 w 2757"/>
                <a:gd name="T9" fmla="*/ 39 h 2235"/>
                <a:gd name="T10" fmla="*/ 156 w 2757"/>
                <a:gd name="T11" fmla="*/ 11 h 2235"/>
                <a:gd name="T12" fmla="*/ 45 w 2757"/>
                <a:gd name="T13" fmla="*/ 0 h 2235"/>
                <a:gd name="T14" fmla="*/ 35 w 2757"/>
                <a:gd name="T15" fmla="*/ 35 h 2235"/>
                <a:gd name="T16" fmla="*/ 8 w 2757"/>
                <a:gd name="T17" fmla="*/ 291 h 2235"/>
                <a:gd name="T18" fmla="*/ 3 w 2757"/>
                <a:gd name="T19" fmla="*/ 334 h 2235"/>
                <a:gd name="T20" fmla="*/ 0 w 2757"/>
                <a:gd name="T21" fmla="*/ 382 h 22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57" h="2235">
                  <a:moveTo>
                    <a:pt x="0" y="2014"/>
                  </a:moveTo>
                  <a:lnTo>
                    <a:pt x="508" y="2044"/>
                  </a:lnTo>
                  <a:lnTo>
                    <a:pt x="828" y="2078"/>
                  </a:lnTo>
                  <a:lnTo>
                    <a:pt x="2696" y="2235"/>
                  </a:lnTo>
                  <a:lnTo>
                    <a:pt x="2757" y="208"/>
                  </a:lnTo>
                  <a:lnTo>
                    <a:pt x="824" y="60"/>
                  </a:lnTo>
                  <a:lnTo>
                    <a:pt x="238" y="0"/>
                  </a:lnTo>
                  <a:lnTo>
                    <a:pt x="185" y="184"/>
                  </a:lnTo>
                  <a:lnTo>
                    <a:pt x="44" y="1536"/>
                  </a:lnTo>
                  <a:lnTo>
                    <a:pt x="16" y="1760"/>
                  </a:lnTo>
                  <a:lnTo>
                    <a:pt x="0" y="2014"/>
                  </a:lnTo>
                  <a:close/>
                </a:path>
              </a:pathLst>
            </a:custGeom>
            <a:solidFill>
              <a:srgbClr val="0070C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 name="Freeform 10"/>
            <p:cNvSpPr>
              <a:spLocks/>
            </p:cNvSpPr>
            <p:nvPr/>
          </p:nvSpPr>
          <p:spPr bwMode="auto">
            <a:xfrm>
              <a:off x="1323995" y="4514311"/>
              <a:ext cx="657812" cy="781832"/>
            </a:xfrm>
            <a:custGeom>
              <a:avLst/>
              <a:gdLst>
                <a:gd name="T0" fmla="*/ 116 w 2635"/>
                <a:gd name="T1" fmla="*/ 0 h 3189"/>
                <a:gd name="T2" fmla="*/ 500 w 2635"/>
                <a:gd name="T3" fmla="*/ 57 h 3189"/>
                <a:gd name="T4" fmla="*/ 458 w 2635"/>
                <a:gd name="T5" fmla="*/ 605 h 3189"/>
                <a:gd name="T6" fmla="*/ 396 w 2635"/>
                <a:gd name="T7" fmla="*/ 596 h 3189"/>
                <a:gd name="T8" fmla="*/ 334 w 2635"/>
                <a:gd name="T9" fmla="*/ 593 h 3189"/>
                <a:gd name="T10" fmla="*/ 289 w 2635"/>
                <a:gd name="T11" fmla="*/ 585 h 3189"/>
                <a:gd name="T12" fmla="*/ 105 w 2635"/>
                <a:gd name="T13" fmla="*/ 477 h 3189"/>
                <a:gd name="T14" fmla="*/ 20 w 2635"/>
                <a:gd name="T15" fmla="*/ 434 h 3189"/>
                <a:gd name="T16" fmla="*/ 3 w 2635"/>
                <a:gd name="T17" fmla="*/ 411 h 3189"/>
                <a:gd name="T18" fmla="*/ 0 w 2635"/>
                <a:gd name="T19" fmla="*/ 405 h 3189"/>
                <a:gd name="T20" fmla="*/ 18 w 2635"/>
                <a:gd name="T21" fmla="*/ 396 h 3189"/>
                <a:gd name="T22" fmla="*/ 18 w 2635"/>
                <a:gd name="T23" fmla="*/ 373 h 3189"/>
                <a:gd name="T24" fmla="*/ 10 w 2635"/>
                <a:gd name="T25" fmla="*/ 350 h 3189"/>
                <a:gd name="T26" fmla="*/ 18 w 2635"/>
                <a:gd name="T27" fmla="*/ 329 h 3189"/>
                <a:gd name="T28" fmla="*/ 35 w 2635"/>
                <a:gd name="T29" fmla="*/ 316 h 3189"/>
                <a:gd name="T30" fmla="*/ 30 w 2635"/>
                <a:gd name="T31" fmla="*/ 299 h 3189"/>
                <a:gd name="T32" fmla="*/ 39 w 2635"/>
                <a:gd name="T33" fmla="*/ 286 h 3189"/>
                <a:gd name="T34" fmla="*/ 52 w 2635"/>
                <a:gd name="T35" fmla="*/ 265 h 3189"/>
                <a:gd name="T36" fmla="*/ 64 w 2635"/>
                <a:gd name="T37" fmla="*/ 265 h 3189"/>
                <a:gd name="T38" fmla="*/ 68 w 2635"/>
                <a:gd name="T39" fmla="*/ 250 h 3189"/>
                <a:gd name="T40" fmla="*/ 47 w 2635"/>
                <a:gd name="T41" fmla="*/ 213 h 3189"/>
                <a:gd name="T42" fmla="*/ 41 w 2635"/>
                <a:gd name="T43" fmla="*/ 180 h 3189"/>
                <a:gd name="T44" fmla="*/ 34 w 2635"/>
                <a:gd name="T45" fmla="*/ 170 h 3189"/>
                <a:gd name="T46" fmla="*/ 47 w 2635"/>
                <a:gd name="T47" fmla="*/ 153 h 3189"/>
                <a:gd name="T48" fmla="*/ 49 w 2635"/>
                <a:gd name="T49" fmla="*/ 130 h 3189"/>
                <a:gd name="T50" fmla="*/ 42 w 2635"/>
                <a:gd name="T51" fmla="*/ 98 h 3189"/>
                <a:gd name="T52" fmla="*/ 43 w 2635"/>
                <a:gd name="T53" fmla="*/ 82 h 3189"/>
                <a:gd name="T54" fmla="*/ 58 w 2635"/>
                <a:gd name="T55" fmla="*/ 73 h 3189"/>
                <a:gd name="T56" fmla="*/ 78 w 2635"/>
                <a:gd name="T57" fmla="*/ 79 h 3189"/>
                <a:gd name="T58" fmla="*/ 105 w 2635"/>
                <a:gd name="T59" fmla="*/ 87 h 3189"/>
                <a:gd name="T60" fmla="*/ 100 w 2635"/>
                <a:gd name="T61" fmla="*/ 61 h 3189"/>
                <a:gd name="T62" fmla="*/ 110 w 2635"/>
                <a:gd name="T63" fmla="*/ 48 h 3189"/>
                <a:gd name="T64" fmla="*/ 110 w 2635"/>
                <a:gd name="T65" fmla="*/ 23 h 3189"/>
                <a:gd name="T66" fmla="*/ 114 w 2635"/>
                <a:gd name="T67" fmla="*/ 6 h 3189"/>
                <a:gd name="T68" fmla="*/ 116 w 2635"/>
                <a:gd name="T69" fmla="*/ 0 h 3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35" h="3189">
                  <a:moveTo>
                    <a:pt x="609" y="0"/>
                  </a:moveTo>
                  <a:lnTo>
                    <a:pt x="2635" y="300"/>
                  </a:lnTo>
                  <a:lnTo>
                    <a:pt x="2416" y="3189"/>
                  </a:lnTo>
                  <a:lnTo>
                    <a:pt x="2089" y="3144"/>
                  </a:lnTo>
                  <a:lnTo>
                    <a:pt x="1759" y="3126"/>
                  </a:lnTo>
                  <a:lnTo>
                    <a:pt x="1525" y="3084"/>
                  </a:lnTo>
                  <a:lnTo>
                    <a:pt x="553" y="2514"/>
                  </a:lnTo>
                  <a:lnTo>
                    <a:pt x="106" y="2289"/>
                  </a:lnTo>
                  <a:lnTo>
                    <a:pt x="16" y="2169"/>
                  </a:lnTo>
                  <a:lnTo>
                    <a:pt x="0" y="2135"/>
                  </a:lnTo>
                  <a:lnTo>
                    <a:pt x="96" y="2088"/>
                  </a:lnTo>
                  <a:lnTo>
                    <a:pt x="94" y="1964"/>
                  </a:lnTo>
                  <a:lnTo>
                    <a:pt x="54" y="1844"/>
                  </a:lnTo>
                  <a:lnTo>
                    <a:pt x="96" y="1736"/>
                  </a:lnTo>
                  <a:lnTo>
                    <a:pt x="187" y="1665"/>
                  </a:lnTo>
                  <a:lnTo>
                    <a:pt x="157" y="1575"/>
                  </a:lnTo>
                  <a:lnTo>
                    <a:pt x="205" y="1509"/>
                  </a:lnTo>
                  <a:lnTo>
                    <a:pt x="276" y="1397"/>
                  </a:lnTo>
                  <a:lnTo>
                    <a:pt x="337" y="1395"/>
                  </a:lnTo>
                  <a:lnTo>
                    <a:pt x="360" y="1319"/>
                  </a:lnTo>
                  <a:lnTo>
                    <a:pt x="249" y="1124"/>
                  </a:lnTo>
                  <a:lnTo>
                    <a:pt x="217" y="948"/>
                  </a:lnTo>
                  <a:lnTo>
                    <a:pt x="178" y="897"/>
                  </a:lnTo>
                  <a:lnTo>
                    <a:pt x="249" y="809"/>
                  </a:lnTo>
                  <a:lnTo>
                    <a:pt x="258" y="687"/>
                  </a:lnTo>
                  <a:lnTo>
                    <a:pt x="223" y="515"/>
                  </a:lnTo>
                  <a:lnTo>
                    <a:pt x="228" y="431"/>
                  </a:lnTo>
                  <a:lnTo>
                    <a:pt x="307" y="384"/>
                  </a:lnTo>
                  <a:lnTo>
                    <a:pt x="411" y="414"/>
                  </a:lnTo>
                  <a:lnTo>
                    <a:pt x="553" y="461"/>
                  </a:lnTo>
                  <a:lnTo>
                    <a:pt x="528" y="320"/>
                  </a:lnTo>
                  <a:lnTo>
                    <a:pt x="582" y="252"/>
                  </a:lnTo>
                  <a:lnTo>
                    <a:pt x="582" y="122"/>
                  </a:lnTo>
                  <a:lnTo>
                    <a:pt x="603" y="32"/>
                  </a:lnTo>
                  <a:lnTo>
                    <a:pt x="609" y="0"/>
                  </a:lnTo>
                  <a:close/>
                </a:path>
              </a:pathLst>
            </a:custGeom>
            <a:solidFill>
              <a:schemeClr val="accent3"/>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9" name="Freeform 11"/>
            <p:cNvSpPr>
              <a:spLocks/>
            </p:cNvSpPr>
            <p:nvPr/>
          </p:nvSpPr>
          <p:spPr bwMode="auto">
            <a:xfrm>
              <a:off x="2916388" y="4514311"/>
              <a:ext cx="635527" cy="481255"/>
            </a:xfrm>
            <a:custGeom>
              <a:avLst/>
              <a:gdLst>
                <a:gd name="T0" fmla="*/ 43 w 2886"/>
                <a:gd name="T1" fmla="*/ 0 h 2181"/>
                <a:gd name="T2" fmla="*/ 21 w 2886"/>
                <a:gd name="T3" fmla="*/ 141 h 2181"/>
                <a:gd name="T4" fmla="*/ 0 w 2886"/>
                <a:gd name="T5" fmla="*/ 388 h 2181"/>
                <a:gd name="T6" fmla="*/ 215 w 2886"/>
                <a:gd name="T7" fmla="*/ 404 h 2181"/>
                <a:gd name="T8" fmla="*/ 386 w 2886"/>
                <a:gd name="T9" fmla="*/ 412 h 2181"/>
                <a:gd name="T10" fmla="*/ 536 w 2886"/>
                <a:gd name="T11" fmla="*/ 414 h 2181"/>
                <a:gd name="T12" fmla="*/ 535 w 2886"/>
                <a:gd name="T13" fmla="*/ 196 h 2181"/>
                <a:gd name="T14" fmla="*/ 546 w 2886"/>
                <a:gd name="T15" fmla="*/ 112 h 2181"/>
                <a:gd name="T16" fmla="*/ 543 w 2886"/>
                <a:gd name="T17" fmla="*/ 80 h 2181"/>
                <a:gd name="T18" fmla="*/ 540 w 2886"/>
                <a:gd name="T19" fmla="*/ 51 h 2181"/>
                <a:gd name="T20" fmla="*/ 543 w 2886"/>
                <a:gd name="T21" fmla="*/ 28 h 2181"/>
                <a:gd name="T22" fmla="*/ 519 w 2886"/>
                <a:gd name="T23" fmla="*/ 32 h 2181"/>
                <a:gd name="T24" fmla="*/ 396 w 2886"/>
                <a:gd name="T25" fmla="*/ 30 h 2181"/>
                <a:gd name="T26" fmla="*/ 72 w 2886"/>
                <a:gd name="T27" fmla="*/ 2 h 2181"/>
                <a:gd name="T28" fmla="*/ 43 w 2886"/>
                <a:gd name="T29" fmla="*/ 0 h 2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886" h="2181">
                  <a:moveTo>
                    <a:pt x="227" y="0"/>
                  </a:moveTo>
                  <a:lnTo>
                    <a:pt x="110" y="741"/>
                  </a:lnTo>
                  <a:lnTo>
                    <a:pt x="0" y="2044"/>
                  </a:lnTo>
                  <a:lnTo>
                    <a:pt x="1134" y="2128"/>
                  </a:lnTo>
                  <a:lnTo>
                    <a:pt x="2040" y="2170"/>
                  </a:lnTo>
                  <a:lnTo>
                    <a:pt x="2835" y="2181"/>
                  </a:lnTo>
                  <a:lnTo>
                    <a:pt x="2826" y="1035"/>
                  </a:lnTo>
                  <a:lnTo>
                    <a:pt x="2886" y="591"/>
                  </a:lnTo>
                  <a:lnTo>
                    <a:pt x="2868" y="423"/>
                  </a:lnTo>
                  <a:lnTo>
                    <a:pt x="2856" y="267"/>
                  </a:lnTo>
                  <a:lnTo>
                    <a:pt x="2868" y="147"/>
                  </a:lnTo>
                  <a:lnTo>
                    <a:pt x="2745" y="169"/>
                  </a:lnTo>
                  <a:lnTo>
                    <a:pt x="2093" y="157"/>
                  </a:lnTo>
                  <a:lnTo>
                    <a:pt x="380" y="12"/>
                  </a:lnTo>
                  <a:lnTo>
                    <a:pt x="227" y="0"/>
                  </a:lnTo>
                  <a:close/>
                </a:path>
              </a:pathLst>
            </a:custGeom>
            <a:solidFill>
              <a:schemeClr val="tx2">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0" name="Freeform 12"/>
            <p:cNvSpPr>
              <a:spLocks/>
            </p:cNvSpPr>
            <p:nvPr/>
          </p:nvSpPr>
          <p:spPr bwMode="auto">
            <a:xfrm>
              <a:off x="3224960" y="2781172"/>
              <a:ext cx="622723" cy="367335"/>
            </a:xfrm>
            <a:custGeom>
              <a:avLst/>
              <a:gdLst>
                <a:gd name="T0" fmla="*/ 0 w 2822"/>
                <a:gd name="T1" fmla="*/ 276 h 1670"/>
                <a:gd name="T2" fmla="*/ 108 w 2822"/>
                <a:gd name="T3" fmla="*/ 285 h 1670"/>
                <a:gd name="T4" fmla="*/ 217 w 2822"/>
                <a:gd name="T5" fmla="*/ 286 h 1670"/>
                <a:gd name="T6" fmla="*/ 295 w 2822"/>
                <a:gd name="T7" fmla="*/ 285 h 1670"/>
                <a:gd name="T8" fmla="*/ 349 w 2822"/>
                <a:gd name="T9" fmla="*/ 283 h 1670"/>
                <a:gd name="T10" fmla="*/ 376 w 2822"/>
                <a:gd name="T11" fmla="*/ 281 h 1670"/>
                <a:gd name="T12" fmla="*/ 422 w 2822"/>
                <a:gd name="T13" fmla="*/ 298 h 1670"/>
                <a:gd name="T14" fmla="*/ 439 w 2822"/>
                <a:gd name="T15" fmla="*/ 286 h 1670"/>
                <a:gd name="T16" fmla="*/ 473 w 2822"/>
                <a:gd name="T17" fmla="*/ 286 h 1670"/>
                <a:gd name="T18" fmla="*/ 485 w 2822"/>
                <a:gd name="T19" fmla="*/ 303 h 1670"/>
                <a:gd name="T20" fmla="*/ 535 w 2822"/>
                <a:gd name="T21" fmla="*/ 316 h 1670"/>
                <a:gd name="T22" fmla="*/ 535 w 2822"/>
                <a:gd name="T23" fmla="*/ 259 h 1670"/>
                <a:gd name="T24" fmla="*/ 528 w 2822"/>
                <a:gd name="T25" fmla="*/ 233 h 1670"/>
                <a:gd name="T26" fmla="*/ 533 w 2822"/>
                <a:gd name="T27" fmla="*/ 181 h 1670"/>
                <a:gd name="T28" fmla="*/ 526 w 2822"/>
                <a:gd name="T29" fmla="*/ 72 h 1670"/>
                <a:gd name="T30" fmla="*/ 502 w 2822"/>
                <a:gd name="T31" fmla="*/ 43 h 1670"/>
                <a:gd name="T32" fmla="*/ 509 w 2822"/>
                <a:gd name="T33" fmla="*/ 22 h 1670"/>
                <a:gd name="T34" fmla="*/ 507 w 2822"/>
                <a:gd name="T35" fmla="*/ 0 h 1670"/>
                <a:gd name="T36" fmla="*/ 388 w 2822"/>
                <a:gd name="T37" fmla="*/ 3 h 1670"/>
                <a:gd name="T38" fmla="*/ 10 w 2822"/>
                <a:gd name="T39" fmla="*/ 10 h 1670"/>
                <a:gd name="T40" fmla="*/ 5 w 2822"/>
                <a:gd name="T41" fmla="*/ 90 h 1670"/>
                <a:gd name="T42" fmla="*/ 0 w 2822"/>
                <a:gd name="T43" fmla="*/ 276 h 16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22" h="1670">
                  <a:moveTo>
                    <a:pt x="0" y="1456"/>
                  </a:moveTo>
                  <a:lnTo>
                    <a:pt x="570" y="1505"/>
                  </a:lnTo>
                  <a:lnTo>
                    <a:pt x="1143" y="1513"/>
                  </a:lnTo>
                  <a:lnTo>
                    <a:pt x="1558" y="1505"/>
                  </a:lnTo>
                  <a:lnTo>
                    <a:pt x="1842" y="1496"/>
                  </a:lnTo>
                  <a:lnTo>
                    <a:pt x="1985" y="1483"/>
                  </a:lnTo>
                  <a:lnTo>
                    <a:pt x="2225" y="1573"/>
                  </a:lnTo>
                  <a:lnTo>
                    <a:pt x="2315" y="1513"/>
                  </a:lnTo>
                  <a:lnTo>
                    <a:pt x="2496" y="1513"/>
                  </a:lnTo>
                  <a:lnTo>
                    <a:pt x="2556" y="1603"/>
                  </a:lnTo>
                  <a:lnTo>
                    <a:pt x="2822" y="1670"/>
                  </a:lnTo>
                  <a:lnTo>
                    <a:pt x="2822" y="1369"/>
                  </a:lnTo>
                  <a:lnTo>
                    <a:pt x="2785" y="1232"/>
                  </a:lnTo>
                  <a:lnTo>
                    <a:pt x="2813" y="957"/>
                  </a:lnTo>
                  <a:lnTo>
                    <a:pt x="2776" y="382"/>
                  </a:lnTo>
                  <a:lnTo>
                    <a:pt x="2646" y="226"/>
                  </a:lnTo>
                  <a:lnTo>
                    <a:pt x="2685" y="118"/>
                  </a:lnTo>
                  <a:lnTo>
                    <a:pt x="2674" y="0"/>
                  </a:lnTo>
                  <a:lnTo>
                    <a:pt x="2045" y="16"/>
                  </a:lnTo>
                  <a:lnTo>
                    <a:pt x="54" y="54"/>
                  </a:lnTo>
                  <a:lnTo>
                    <a:pt x="28" y="476"/>
                  </a:lnTo>
                  <a:lnTo>
                    <a:pt x="0" y="1456"/>
                  </a:lnTo>
                  <a:close/>
                </a:path>
              </a:pathLst>
            </a:custGeom>
            <a:solidFill>
              <a:srgbClr val="F5B90F"/>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1" name="Freeform 13"/>
            <p:cNvSpPr>
              <a:spLocks/>
            </p:cNvSpPr>
            <p:nvPr/>
          </p:nvSpPr>
          <p:spPr bwMode="auto">
            <a:xfrm>
              <a:off x="3219702" y="3095370"/>
              <a:ext cx="732136" cy="326649"/>
            </a:xfrm>
            <a:custGeom>
              <a:avLst/>
              <a:gdLst>
                <a:gd name="T0" fmla="*/ 7 w 3321"/>
                <a:gd name="T1" fmla="*/ 0 h 1486"/>
                <a:gd name="T2" fmla="*/ 0 w 3321"/>
                <a:gd name="T3" fmla="*/ 197 h 1486"/>
                <a:gd name="T4" fmla="*/ 123 w 3321"/>
                <a:gd name="T5" fmla="*/ 200 h 1486"/>
                <a:gd name="T6" fmla="*/ 146 w 3321"/>
                <a:gd name="T7" fmla="*/ 196 h 1486"/>
                <a:gd name="T8" fmla="*/ 144 w 3321"/>
                <a:gd name="T9" fmla="*/ 218 h 1486"/>
                <a:gd name="T10" fmla="*/ 147 w 3321"/>
                <a:gd name="T11" fmla="*/ 252 h 1486"/>
                <a:gd name="T12" fmla="*/ 150 w 3321"/>
                <a:gd name="T13" fmla="*/ 281 h 1486"/>
                <a:gd name="T14" fmla="*/ 413 w 3321"/>
                <a:gd name="T15" fmla="*/ 281 h 1486"/>
                <a:gd name="T16" fmla="*/ 529 w 3321"/>
                <a:gd name="T17" fmla="*/ 275 h 1486"/>
                <a:gd name="T18" fmla="*/ 557 w 3321"/>
                <a:gd name="T19" fmla="*/ 272 h 1486"/>
                <a:gd name="T20" fmla="*/ 588 w 3321"/>
                <a:gd name="T21" fmla="*/ 271 h 1486"/>
                <a:gd name="T22" fmla="*/ 629 w 3321"/>
                <a:gd name="T23" fmla="*/ 269 h 1486"/>
                <a:gd name="T24" fmla="*/ 607 w 3321"/>
                <a:gd name="T25" fmla="*/ 225 h 1486"/>
                <a:gd name="T26" fmla="*/ 607 w 3321"/>
                <a:gd name="T27" fmla="*/ 179 h 1486"/>
                <a:gd name="T28" fmla="*/ 556 w 3321"/>
                <a:gd name="T29" fmla="*/ 78 h 1486"/>
                <a:gd name="T30" fmla="*/ 540 w 3321"/>
                <a:gd name="T31" fmla="*/ 40 h 1486"/>
                <a:gd name="T32" fmla="*/ 490 w 3321"/>
                <a:gd name="T33" fmla="*/ 28 h 1486"/>
                <a:gd name="T34" fmla="*/ 480 w 3321"/>
                <a:gd name="T35" fmla="*/ 11 h 1486"/>
                <a:gd name="T36" fmla="*/ 445 w 3321"/>
                <a:gd name="T37" fmla="*/ 11 h 1486"/>
                <a:gd name="T38" fmla="*/ 428 w 3321"/>
                <a:gd name="T39" fmla="*/ 22 h 1486"/>
                <a:gd name="T40" fmla="*/ 382 w 3321"/>
                <a:gd name="T41" fmla="*/ 5 h 1486"/>
                <a:gd name="T42" fmla="*/ 353 w 3321"/>
                <a:gd name="T43" fmla="*/ 8 h 1486"/>
                <a:gd name="T44" fmla="*/ 301 w 3321"/>
                <a:gd name="T45" fmla="*/ 9 h 1486"/>
                <a:gd name="T46" fmla="*/ 220 w 3321"/>
                <a:gd name="T47" fmla="*/ 11 h 1486"/>
                <a:gd name="T48" fmla="*/ 115 w 3321"/>
                <a:gd name="T49" fmla="*/ 9 h 1486"/>
                <a:gd name="T50" fmla="*/ 7 w 3321"/>
                <a:gd name="T51" fmla="*/ 0 h 1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321" h="1486">
                  <a:moveTo>
                    <a:pt x="35" y="0"/>
                  </a:moveTo>
                  <a:lnTo>
                    <a:pt x="0" y="1044"/>
                  </a:lnTo>
                  <a:lnTo>
                    <a:pt x="651" y="1058"/>
                  </a:lnTo>
                  <a:lnTo>
                    <a:pt x="769" y="1034"/>
                  </a:lnTo>
                  <a:lnTo>
                    <a:pt x="761" y="1152"/>
                  </a:lnTo>
                  <a:lnTo>
                    <a:pt x="775" y="1332"/>
                  </a:lnTo>
                  <a:lnTo>
                    <a:pt x="793" y="1486"/>
                  </a:lnTo>
                  <a:lnTo>
                    <a:pt x="2181" y="1486"/>
                  </a:lnTo>
                  <a:lnTo>
                    <a:pt x="2791" y="1454"/>
                  </a:lnTo>
                  <a:lnTo>
                    <a:pt x="2939" y="1436"/>
                  </a:lnTo>
                  <a:lnTo>
                    <a:pt x="3107" y="1432"/>
                  </a:lnTo>
                  <a:lnTo>
                    <a:pt x="3321" y="1424"/>
                  </a:lnTo>
                  <a:lnTo>
                    <a:pt x="3203" y="1190"/>
                  </a:lnTo>
                  <a:lnTo>
                    <a:pt x="3203" y="946"/>
                  </a:lnTo>
                  <a:lnTo>
                    <a:pt x="2937" y="414"/>
                  </a:lnTo>
                  <a:lnTo>
                    <a:pt x="2849" y="212"/>
                  </a:lnTo>
                  <a:lnTo>
                    <a:pt x="2587" y="146"/>
                  </a:lnTo>
                  <a:lnTo>
                    <a:pt x="2533" y="56"/>
                  </a:lnTo>
                  <a:lnTo>
                    <a:pt x="2348" y="58"/>
                  </a:lnTo>
                  <a:lnTo>
                    <a:pt x="2259" y="116"/>
                  </a:lnTo>
                  <a:lnTo>
                    <a:pt x="2017" y="24"/>
                  </a:lnTo>
                  <a:lnTo>
                    <a:pt x="1862" y="42"/>
                  </a:lnTo>
                  <a:lnTo>
                    <a:pt x="1587" y="50"/>
                  </a:lnTo>
                  <a:lnTo>
                    <a:pt x="1159" y="56"/>
                  </a:lnTo>
                  <a:lnTo>
                    <a:pt x="607" y="48"/>
                  </a:lnTo>
                  <a:lnTo>
                    <a:pt x="35" y="0"/>
                  </a:lnTo>
                  <a:close/>
                </a:path>
              </a:pathLst>
            </a:custGeom>
            <a:solidFill>
              <a:schemeClr val="accent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2" name="Freeform 14"/>
            <p:cNvSpPr>
              <a:spLocks/>
            </p:cNvSpPr>
            <p:nvPr/>
          </p:nvSpPr>
          <p:spPr bwMode="auto">
            <a:xfrm>
              <a:off x="3523014" y="4592861"/>
              <a:ext cx="682454" cy="392747"/>
            </a:xfrm>
            <a:custGeom>
              <a:avLst/>
              <a:gdLst>
                <a:gd name="T0" fmla="*/ 12 w 3036"/>
                <a:gd name="T1" fmla="*/ 11 h 1646"/>
                <a:gd name="T2" fmla="*/ 0 w 3036"/>
                <a:gd name="T3" fmla="*/ 93 h 1646"/>
                <a:gd name="T4" fmla="*/ 2 w 3036"/>
                <a:gd name="T5" fmla="*/ 311 h 1646"/>
                <a:gd name="T6" fmla="*/ 265 w 3036"/>
                <a:gd name="T7" fmla="*/ 312 h 1646"/>
                <a:gd name="T8" fmla="*/ 435 w 3036"/>
                <a:gd name="T9" fmla="*/ 298 h 1646"/>
                <a:gd name="T10" fmla="*/ 575 w 3036"/>
                <a:gd name="T11" fmla="*/ 286 h 1646"/>
                <a:gd name="T12" fmla="*/ 575 w 3036"/>
                <a:gd name="T13" fmla="*/ 251 h 1646"/>
                <a:gd name="T14" fmla="*/ 570 w 3036"/>
                <a:gd name="T15" fmla="*/ 198 h 1646"/>
                <a:gd name="T16" fmla="*/ 570 w 3036"/>
                <a:gd name="T17" fmla="*/ 135 h 1646"/>
                <a:gd name="T18" fmla="*/ 566 w 3036"/>
                <a:gd name="T19" fmla="*/ 87 h 1646"/>
                <a:gd name="T20" fmla="*/ 542 w 3036"/>
                <a:gd name="T21" fmla="*/ 73 h 1646"/>
                <a:gd name="T22" fmla="*/ 532 w 3036"/>
                <a:gd name="T23" fmla="*/ 42 h 1646"/>
                <a:gd name="T24" fmla="*/ 537 w 3036"/>
                <a:gd name="T25" fmla="*/ 25 h 1646"/>
                <a:gd name="T26" fmla="*/ 518 w 3036"/>
                <a:gd name="T27" fmla="*/ 14 h 1646"/>
                <a:gd name="T28" fmla="*/ 491 w 3036"/>
                <a:gd name="T29" fmla="*/ 0 h 1646"/>
                <a:gd name="T30" fmla="*/ 453 w 3036"/>
                <a:gd name="T31" fmla="*/ 0 h 1646"/>
                <a:gd name="T32" fmla="*/ 419 w 3036"/>
                <a:gd name="T33" fmla="*/ 2 h 1646"/>
                <a:gd name="T34" fmla="*/ 391 w 3036"/>
                <a:gd name="T35" fmla="*/ 5 h 1646"/>
                <a:gd name="T36" fmla="*/ 279 w 3036"/>
                <a:gd name="T37" fmla="*/ 11 h 1646"/>
                <a:gd name="T38" fmla="*/ 12 w 3036"/>
                <a:gd name="T39" fmla="*/ 11 h 16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36" h="1646">
                  <a:moveTo>
                    <a:pt x="62" y="59"/>
                  </a:moveTo>
                  <a:lnTo>
                    <a:pt x="0" y="491"/>
                  </a:lnTo>
                  <a:lnTo>
                    <a:pt x="13" y="1641"/>
                  </a:lnTo>
                  <a:lnTo>
                    <a:pt x="1401" y="1646"/>
                  </a:lnTo>
                  <a:lnTo>
                    <a:pt x="2298" y="1572"/>
                  </a:lnTo>
                  <a:lnTo>
                    <a:pt x="3036" y="1509"/>
                  </a:lnTo>
                  <a:lnTo>
                    <a:pt x="3036" y="1326"/>
                  </a:lnTo>
                  <a:lnTo>
                    <a:pt x="3009" y="1043"/>
                  </a:lnTo>
                  <a:lnTo>
                    <a:pt x="3009" y="713"/>
                  </a:lnTo>
                  <a:lnTo>
                    <a:pt x="2987" y="461"/>
                  </a:lnTo>
                  <a:lnTo>
                    <a:pt x="2862" y="384"/>
                  </a:lnTo>
                  <a:lnTo>
                    <a:pt x="2807" y="221"/>
                  </a:lnTo>
                  <a:lnTo>
                    <a:pt x="2837" y="131"/>
                  </a:lnTo>
                  <a:lnTo>
                    <a:pt x="2734" y="73"/>
                  </a:lnTo>
                  <a:lnTo>
                    <a:pt x="2593" y="0"/>
                  </a:lnTo>
                  <a:lnTo>
                    <a:pt x="2392" y="2"/>
                  </a:lnTo>
                  <a:lnTo>
                    <a:pt x="2212" y="11"/>
                  </a:lnTo>
                  <a:lnTo>
                    <a:pt x="2062" y="27"/>
                  </a:lnTo>
                  <a:lnTo>
                    <a:pt x="1474" y="60"/>
                  </a:lnTo>
                  <a:lnTo>
                    <a:pt x="62" y="59"/>
                  </a:lnTo>
                  <a:close/>
                </a:path>
              </a:pathLst>
            </a:custGeom>
            <a:solidFill>
              <a:srgbClr val="0070C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3" name="Freeform 15"/>
            <p:cNvSpPr>
              <a:spLocks/>
            </p:cNvSpPr>
            <p:nvPr/>
          </p:nvSpPr>
          <p:spPr bwMode="auto">
            <a:xfrm>
              <a:off x="2840560" y="4985608"/>
              <a:ext cx="682454" cy="706945"/>
            </a:xfrm>
            <a:custGeom>
              <a:avLst/>
              <a:gdLst>
                <a:gd name="T0" fmla="*/ 41 w 2655"/>
                <a:gd name="T1" fmla="*/ 0 h 2904"/>
                <a:gd name="T2" fmla="*/ 261 w 2655"/>
                <a:gd name="T3" fmla="*/ 16 h 2904"/>
                <a:gd name="T4" fmla="*/ 411 w 2655"/>
                <a:gd name="T5" fmla="*/ 23 h 2904"/>
                <a:gd name="T6" fmla="*/ 503 w 2655"/>
                <a:gd name="T7" fmla="*/ 25 h 2904"/>
                <a:gd name="T8" fmla="*/ 500 w 2655"/>
                <a:gd name="T9" fmla="*/ 75 h 2904"/>
                <a:gd name="T10" fmla="*/ 503 w 2655"/>
                <a:gd name="T11" fmla="*/ 283 h 2904"/>
                <a:gd name="T12" fmla="*/ 497 w 2655"/>
                <a:gd name="T13" fmla="*/ 505 h 2904"/>
                <a:gd name="T14" fmla="*/ 194 w 2655"/>
                <a:gd name="T15" fmla="*/ 494 h 2904"/>
                <a:gd name="T16" fmla="*/ 206 w 2655"/>
                <a:gd name="T17" fmla="*/ 516 h 2904"/>
                <a:gd name="T18" fmla="*/ 171 w 2655"/>
                <a:gd name="T19" fmla="*/ 510 h 2904"/>
                <a:gd name="T20" fmla="*/ 130 w 2655"/>
                <a:gd name="T21" fmla="*/ 512 h 2904"/>
                <a:gd name="T22" fmla="*/ 80 w 2655"/>
                <a:gd name="T23" fmla="*/ 505 h 2904"/>
                <a:gd name="T24" fmla="*/ 78 w 2655"/>
                <a:gd name="T25" fmla="*/ 532 h 2904"/>
                <a:gd name="T26" fmla="*/ 73 w 2655"/>
                <a:gd name="T27" fmla="*/ 551 h 2904"/>
                <a:gd name="T28" fmla="*/ 0 w 2655"/>
                <a:gd name="T29" fmla="*/ 549 h 2904"/>
                <a:gd name="T30" fmla="*/ 41 w 2655"/>
                <a:gd name="T31" fmla="*/ 0 h 290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55" h="2904">
                  <a:moveTo>
                    <a:pt x="217" y="0"/>
                  </a:moveTo>
                  <a:lnTo>
                    <a:pt x="1377" y="84"/>
                  </a:lnTo>
                  <a:lnTo>
                    <a:pt x="2169" y="122"/>
                  </a:lnTo>
                  <a:lnTo>
                    <a:pt x="2653" y="132"/>
                  </a:lnTo>
                  <a:lnTo>
                    <a:pt x="2637" y="396"/>
                  </a:lnTo>
                  <a:lnTo>
                    <a:pt x="2655" y="1494"/>
                  </a:lnTo>
                  <a:lnTo>
                    <a:pt x="2625" y="2664"/>
                  </a:lnTo>
                  <a:lnTo>
                    <a:pt x="1026" y="2601"/>
                  </a:lnTo>
                  <a:lnTo>
                    <a:pt x="1086" y="2721"/>
                  </a:lnTo>
                  <a:lnTo>
                    <a:pt x="903" y="2688"/>
                  </a:lnTo>
                  <a:lnTo>
                    <a:pt x="687" y="2700"/>
                  </a:lnTo>
                  <a:lnTo>
                    <a:pt x="423" y="2664"/>
                  </a:lnTo>
                  <a:lnTo>
                    <a:pt x="411" y="2802"/>
                  </a:lnTo>
                  <a:lnTo>
                    <a:pt x="387" y="2904"/>
                  </a:lnTo>
                  <a:lnTo>
                    <a:pt x="0" y="2892"/>
                  </a:lnTo>
                  <a:lnTo>
                    <a:pt x="217" y="0"/>
                  </a:lnTo>
                  <a:close/>
                </a:path>
              </a:pathLst>
            </a:custGeom>
            <a:solidFill>
              <a:schemeClr val="accent1">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4" name="Freeform 16"/>
            <p:cNvSpPr>
              <a:spLocks/>
            </p:cNvSpPr>
            <p:nvPr/>
          </p:nvSpPr>
          <p:spPr bwMode="auto">
            <a:xfrm>
              <a:off x="3447186" y="4985608"/>
              <a:ext cx="834111" cy="380122"/>
            </a:xfrm>
            <a:custGeom>
              <a:avLst/>
              <a:gdLst>
                <a:gd name="T0" fmla="*/ 3 w 3616"/>
                <a:gd name="T1" fmla="*/ 24 h 1724"/>
                <a:gd name="T2" fmla="*/ 0 w 3616"/>
                <a:gd name="T3" fmla="*/ 74 h 1724"/>
                <a:gd name="T4" fmla="*/ 109 w 3616"/>
                <a:gd name="T5" fmla="*/ 73 h 1724"/>
                <a:gd name="T6" fmla="*/ 169 w 3616"/>
                <a:gd name="T7" fmla="*/ 71 h 1724"/>
                <a:gd name="T8" fmla="*/ 231 w 3616"/>
                <a:gd name="T9" fmla="*/ 71 h 1724"/>
                <a:gd name="T10" fmla="*/ 234 w 3616"/>
                <a:gd name="T11" fmla="*/ 106 h 1724"/>
                <a:gd name="T12" fmla="*/ 235 w 3616"/>
                <a:gd name="T13" fmla="*/ 158 h 1724"/>
                <a:gd name="T14" fmla="*/ 230 w 3616"/>
                <a:gd name="T15" fmla="*/ 187 h 1724"/>
                <a:gd name="T16" fmla="*/ 223 w 3616"/>
                <a:gd name="T17" fmla="*/ 211 h 1724"/>
                <a:gd name="T18" fmla="*/ 230 w 3616"/>
                <a:gd name="T19" fmla="*/ 234 h 1724"/>
                <a:gd name="T20" fmla="*/ 231 w 3616"/>
                <a:gd name="T21" fmla="*/ 259 h 1724"/>
                <a:gd name="T22" fmla="*/ 261 w 3616"/>
                <a:gd name="T23" fmla="*/ 262 h 1724"/>
                <a:gd name="T24" fmla="*/ 280 w 3616"/>
                <a:gd name="T25" fmla="*/ 274 h 1724"/>
                <a:gd name="T26" fmla="*/ 306 w 3616"/>
                <a:gd name="T27" fmla="*/ 276 h 1724"/>
                <a:gd name="T28" fmla="*/ 338 w 3616"/>
                <a:gd name="T29" fmla="*/ 295 h 1724"/>
                <a:gd name="T30" fmla="*/ 381 w 3616"/>
                <a:gd name="T31" fmla="*/ 288 h 1724"/>
                <a:gd name="T32" fmla="*/ 412 w 3616"/>
                <a:gd name="T33" fmla="*/ 315 h 1724"/>
                <a:gd name="T34" fmla="*/ 440 w 3616"/>
                <a:gd name="T35" fmla="*/ 309 h 1724"/>
                <a:gd name="T36" fmla="*/ 464 w 3616"/>
                <a:gd name="T37" fmla="*/ 321 h 1724"/>
                <a:gd name="T38" fmla="*/ 492 w 3616"/>
                <a:gd name="T39" fmla="*/ 319 h 1724"/>
                <a:gd name="T40" fmla="*/ 544 w 3616"/>
                <a:gd name="T41" fmla="*/ 327 h 1724"/>
                <a:gd name="T42" fmla="*/ 591 w 3616"/>
                <a:gd name="T43" fmla="*/ 309 h 1724"/>
                <a:gd name="T44" fmla="*/ 617 w 3616"/>
                <a:gd name="T45" fmla="*/ 312 h 1724"/>
                <a:gd name="T46" fmla="*/ 636 w 3616"/>
                <a:gd name="T47" fmla="*/ 303 h 1724"/>
                <a:gd name="T48" fmla="*/ 657 w 3616"/>
                <a:gd name="T49" fmla="*/ 321 h 1724"/>
                <a:gd name="T50" fmla="*/ 686 w 3616"/>
                <a:gd name="T51" fmla="*/ 327 h 1724"/>
                <a:gd name="T52" fmla="*/ 686 w 3616"/>
                <a:gd name="T53" fmla="*/ 173 h 1724"/>
                <a:gd name="T54" fmla="*/ 673 w 3616"/>
                <a:gd name="T55" fmla="*/ 112 h 1724"/>
                <a:gd name="T56" fmla="*/ 669 w 3616"/>
                <a:gd name="T57" fmla="*/ 74 h 1724"/>
                <a:gd name="T58" fmla="*/ 669 w 3616"/>
                <a:gd name="T59" fmla="*/ 48 h 1724"/>
                <a:gd name="T60" fmla="*/ 664 w 3616"/>
                <a:gd name="T61" fmla="*/ 26 h 1724"/>
                <a:gd name="T62" fmla="*/ 654 w 3616"/>
                <a:gd name="T63" fmla="*/ 0 h 1724"/>
                <a:gd name="T64" fmla="*/ 587 w 3616"/>
                <a:gd name="T65" fmla="*/ 5 h 1724"/>
                <a:gd name="T66" fmla="*/ 344 w 3616"/>
                <a:gd name="T67" fmla="*/ 25 h 1724"/>
                <a:gd name="T68" fmla="*/ 219 w 3616"/>
                <a:gd name="T69" fmla="*/ 25 h 1724"/>
                <a:gd name="T70" fmla="*/ 79 w 3616"/>
                <a:gd name="T71" fmla="*/ 25 h 1724"/>
                <a:gd name="T72" fmla="*/ 3 w 3616"/>
                <a:gd name="T73" fmla="*/ 24 h 17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16" h="1724">
                  <a:moveTo>
                    <a:pt x="14" y="124"/>
                  </a:moveTo>
                  <a:lnTo>
                    <a:pt x="0" y="392"/>
                  </a:lnTo>
                  <a:lnTo>
                    <a:pt x="573" y="383"/>
                  </a:lnTo>
                  <a:lnTo>
                    <a:pt x="893" y="374"/>
                  </a:lnTo>
                  <a:lnTo>
                    <a:pt x="1215" y="374"/>
                  </a:lnTo>
                  <a:lnTo>
                    <a:pt x="1231" y="557"/>
                  </a:lnTo>
                  <a:lnTo>
                    <a:pt x="1241" y="831"/>
                  </a:lnTo>
                  <a:lnTo>
                    <a:pt x="1213" y="987"/>
                  </a:lnTo>
                  <a:lnTo>
                    <a:pt x="1177" y="1115"/>
                  </a:lnTo>
                  <a:lnTo>
                    <a:pt x="1213" y="1233"/>
                  </a:lnTo>
                  <a:lnTo>
                    <a:pt x="1215" y="1364"/>
                  </a:lnTo>
                  <a:lnTo>
                    <a:pt x="1378" y="1380"/>
                  </a:lnTo>
                  <a:lnTo>
                    <a:pt x="1478" y="1444"/>
                  </a:lnTo>
                  <a:lnTo>
                    <a:pt x="1615" y="1453"/>
                  </a:lnTo>
                  <a:lnTo>
                    <a:pt x="1780" y="1553"/>
                  </a:lnTo>
                  <a:lnTo>
                    <a:pt x="2009" y="1517"/>
                  </a:lnTo>
                  <a:lnTo>
                    <a:pt x="2173" y="1663"/>
                  </a:lnTo>
                  <a:lnTo>
                    <a:pt x="2319" y="1627"/>
                  </a:lnTo>
                  <a:lnTo>
                    <a:pt x="2446" y="1694"/>
                  </a:lnTo>
                  <a:lnTo>
                    <a:pt x="2594" y="1681"/>
                  </a:lnTo>
                  <a:lnTo>
                    <a:pt x="2866" y="1724"/>
                  </a:lnTo>
                  <a:lnTo>
                    <a:pt x="3115" y="1627"/>
                  </a:lnTo>
                  <a:lnTo>
                    <a:pt x="3252" y="1645"/>
                  </a:lnTo>
                  <a:lnTo>
                    <a:pt x="3353" y="1599"/>
                  </a:lnTo>
                  <a:lnTo>
                    <a:pt x="3462" y="1691"/>
                  </a:lnTo>
                  <a:lnTo>
                    <a:pt x="3616" y="1724"/>
                  </a:lnTo>
                  <a:lnTo>
                    <a:pt x="3616" y="914"/>
                  </a:lnTo>
                  <a:lnTo>
                    <a:pt x="3545" y="593"/>
                  </a:lnTo>
                  <a:lnTo>
                    <a:pt x="3526" y="392"/>
                  </a:lnTo>
                  <a:lnTo>
                    <a:pt x="3526" y="254"/>
                  </a:lnTo>
                  <a:lnTo>
                    <a:pt x="3499" y="136"/>
                  </a:lnTo>
                  <a:lnTo>
                    <a:pt x="3446" y="0"/>
                  </a:lnTo>
                  <a:lnTo>
                    <a:pt x="3096" y="28"/>
                  </a:lnTo>
                  <a:lnTo>
                    <a:pt x="1814" y="134"/>
                  </a:lnTo>
                  <a:lnTo>
                    <a:pt x="1155" y="134"/>
                  </a:lnTo>
                  <a:lnTo>
                    <a:pt x="416" y="130"/>
                  </a:lnTo>
                  <a:lnTo>
                    <a:pt x="14" y="124"/>
                  </a:lnTo>
                  <a:close/>
                </a:path>
              </a:pathLst>
            </a:custGeom>
            <a:solidFill>
              <a:schemeClr val="tx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5" name="Freeform 17"/>
            <p:cNvSpPr>
              <a:spLocks/>
            </p:cNvSpPr>
            <p:nvPr/>
          </p:nvSpPr>
          <p:spPr bwMode="auto">
            <a:xfrm>
              <a:off x="3143874" y="5072068"/>
              <a:ext cx="1201403" cy="1178952"/>
            </a:xfrm>
            <a:custGeom>
              <a:avLst/>
              <a:gdLst>
                <a:gd name="T0" fmla="*/ 11 w 5759"/>
                <a:gd name="T1" fmla="*/ 444 h 5383"/>
                <a:gd name="T2" fmla="*/ 68 w 5759"/>
                <a:gd name="T3" fmla="*/ 494 h 5383"/>
                <a:gd name="T4" fmla="*/ 108 w 5759"/>
                <a:gd name="T5" fmla="*/ 540 h 5383"/>
                <a:gd name="T6" fmla="*/ 137 w 5759"/>
                <a:gd name="T7" fmla="*/ 574 h 5383"/>
                <a:gd name="T8" fmla="*/ 163 w 5759"/>
                <a:gd name="T9" fmla="*/ 636 h 5383"/>
                <a:gd name="T10" fmla="*/ 205 w 5759"/>
                <a:gd name="T11" fmla="*/ 693 h 5383"/>
                <a:gd name="T12" fmla="*/ 271 w 5759"/>
                <a:gd name="T13" fmla="*/ 730 h 5383"/>
                <a:gd name="T14" fmla="*/ 313 w 5759"/>
                <a:gd name="T15" fmla="*/ 710 h 5383"/>
                <a:gd name="T16" fmla="*/ 353 w 5759"/>
                <a:gd name="T17" fmla="*/ 666 h 5383"/>
                <a:gd name="T18" fmla="*/ 412 w 5759"/>
                <a:gd name="T19" fmla="*/ 661 h 5383"/>
                <a:gd name="T20" fmla="*/ 488 w 5759"/>
                <a:gd name="T21" fmla="*/ 727 h 5383"/>
                <a:gd name="T22" fmla="*/ 563 w 5759"/>
                <a:gd name="T23" fmla="*/ 841 h 5383"/>
                <a:gd name="T24" fmla="*/ 606 w 5759"/>
                <a:gd name="T25" fmla="*/ 909 h 5383"/>
                <a:gd name="T26" fmla="*/ 637 w 5759"/>
                <a:gd name="T27" fmla="*/ 983 h 5383"/>
                <a:gd name="T28" fmla="*/ 745 w 5759"/>
                <a:gd name="T29" fmla="*/ 1018 h 5383"/>
                <a:gd name="T30" fmla="*/ 811 w 5759"/>
                <a:gd name="T31" fmla="*/ 1021 h 5383"/>
                <a:gd name="T32" fmla="*/ 794 w 5759"/>
                <a:gd name="T33" fmla="*/ 979 h 5383"/>
                <a:gd name="T34" fmla="*/ 768 w 5759"/>
                <a:gd name="T35" fmla="*/ 938 h 5383"/>
                <a:gd name="T36" fmla="*/ 773 w 5759"/>
                <a:gd name="T37" fmla="*/ 892 h 5383"/>
                <a:gd name="T38" fmla="*/ 777 w 5759"/>
                <a:gd name="T39" fmla="*/ 868 h 5383"/>
                <a:gd name="T40" fmla="*/ 762 w 5759"/>
                <a:gd name="T41" fmla="*/ 830 h 5383"/>
                <a:gd name="T42" fmla="*/ 779 w 5759"/>
                <a:gd name="T43" fmla="*/ 796 h 5383"/>
                <a:gd name="T44" fmla="*/ 830 w 5759"/>
                <a:gd name="T45" fmla="*/ 762 h 5383"/>
                <a:gd name="T46" fmla="*/ 859 w 5759"/>
                <a:gd name="T47" fmla="*/ 739 h 5383"/>
                <a:gd name="T48" fmla="*/ 930 w 5759"/>
                <a:gd name="T49" fmla="*/ 725 h 5383"/>
                <a:gd name="T50" fmla="*/ 955 w 5759"/>
                <a:gd name="T51" fmla="*/ 688 h 5383"/>
                <a:gd name="T52" fmla="*/ 967 w 5759"/>
                <a:gd name="T53" fmla="*/ 636 h 5383"/>
                <a:gd name="T54" fmla="*/ 1001 w 5759"/>
                <a:gd name="T55" fmla="*/ 653 h 5383"/>
                <a:gd name="T56" fmla="*/ 1080 w 5759"/>
                <a:gd name="T57" fmla="*/ 625 h 5383"/>
                <a:gd name="T58" fmla="*/ 1075 w 5759"/>
                <a:gd name="T59" fmla="*/ 523 h 5383"/>
                <a:gd name="T60" fmla="*/ 1083 w 5759"/>
                <a:gd name="T61" fmla="*/ 469 h 5383"/>
                <a:gd name="T62" fmla="*/ 1049 w 5759"/>
                <a:gd name="T63" fmla="*/ 422 h 5383"/>
                <a:gd name="T64" fmla="*/ 1038 w 5759"/>
                <a:gd name="T65" fmla="*/ 367 h 5383"/>
                <a:gd name="T66" fmla="*/ 1038 w 5759"/>
                <a:gd name="T67" fmla="*/ 317 h 5383"/>
                <a:gd name="T68" fmla="*/ 1036 w 5759"/>
                <a:gd name="T69" fmla="*/ 277 h 5383"/>
                <a:gd name="T70" fmla="*/ 991 w 5759"/>
                <a:gd name="T71" fmla="*/ 256 h 5383"/>
                <a:gd name="T72" fmla="*/ 940 w 5759"/>
                <a:gd name="T73" fmla="*/ 233 h 5383"/>
                <a:gd name="T74" fmla="*/ 895 w 5759"/>
                <a:gd name="T75" fmla="*/ 237 h 5383"/>
                <a:gd name="T76" fmla="*/ 797 w 5759"/>
                <a:gd name="T77" fmla="*/ 248 h 5383"/>
                <a:gd name="T78" fmla="*/ 744 w 5759"/>
                <a:gd name="T79" fmla="*/ 237 h 5383"/>
                <a:gd name="T80" fmla="*/ 686 w 5759"/>
                <a:gd name="T81" fmla="*/ 217 h 5383"/>
                <a:gd name="T82" fmla="*/ 611 w 5759"/>
                <a:gd name="T83" fmla="*/ 205 h 5383"/>
                <a:gd name="T84" fmla="*/ 566 w 5759"/>
                <a:gd name="T85" fmla="*/ 191 h 5383"/>
                <a:gd name="T86" fmla="*/ 535 w 5759"/>
                <a:gd name="T87" fmla="*/ 163 h 5383"/>
                <a:gd name="T88" fmla="*/ 535 w 5759"/>
                <a:gd name="T89" fmla="*/ 118 h 5383"/>
                <a:gd name="T90" fmla="*/ 539 w 5759"/>
                <a:gd name="T91" fmla="*/ 38 h 5383"/>
                <a:gd name="T92" fmla="*/ 473 w 5759"/>
                <a:gd name="T93" fmla="*/ 0 h 5383"/>
                <a:gd name="T94" fmla="*/ 305 w 5759"/>
                <a:gd name="T95" fmla="*/ 3 h 5383"/>
                <a:gd name="T96" fmla="*/ 303 w 5759"/>
                <a:gd name="T97" fmla="*/ 433 h 53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759" h="5383">
                  <a:moveTo>
                    <a:pt x="0" y="2219"/>
                  </a:moveTo>
                  <a:lnTo>
                    <a:pt x="60" y="2339"/>
                  </a:lnTo>
                  <a:lnTo>
                    <a:pt x="199" y="2439"/>
                  </a:lnTo>
                  <a:lnTo>
                    <a:pt x="361" y="2605"/>
                  </a:lnTo>
                  <a:lnTo>
                    <a:pt x="421" y="2755"/>
                  </a:lnTo>
                  <a:lnTo>
                    <a:pt x="571" y="2845"/>
                  </a:lnTo>
                  <a:lnTo>
                    <a:pt x="661" y="2875"/>
                  </a:lnTo>
                  <a:lnTo>
                    <a:pt x="721" y="3025"/>
                  </a:lnTo>
                  <a:lnTo>
                    <a:pt x="841" y="3175"/>
                  </a:lnTo>
                  <a:lnTo>
                    <a:pt x="863" y="3351"/>
                  </a:lnTo>
                  <a:lnTo>
                    <a:pt x="951" y="3519"/>
                  </a:lnTo>
                  <a:lnTo>
                    <a:pt x="1081" y="3655"/>
                  </a:lnTo>
                  <a:lnTo>
                    <a:pt x="1261" y="3685"/>
                  </a:lnTo>
                  <a:lnTo>
                    <a:pt x="1431" y="3847"/>
                  </a:lnTo>
                  <a:lnTo>
                    <a:pt x="1535" y="3815"/>
                  </a:lnTo>
                  <a:lnTo>
                    <a:pt x="1651" y="3745"/>
                  </a:lnTo>
                  <a:lnTo>
                    <a:pt x="1681" y="3595"/>
                  </a:lnTo>
                  <a:lnTo>
                    <a:pt x="1863" y="3511"/>
                  </a:lnTo>
                  <a:lnTo>
                    <a:pt x="1981" y="3415"/>
                  </a:lnTo>
                  <a:lnTo>
                    <a:pt x="2175" y="3487"/>
                  </a:lnTo>
                  <a:lnTo>
                    <a:pt x="2319" y="3567"/>
                  </a:lnTo>
                  <a:lnTo>
                    <a:pt x="2575" y="3831"/>
                  </a:lnTo>
                  <a:lnTo>
                    <a:pt x="2735" y="4095"/>
                  </a:lnTo>
                  <a:lnTo>
                    <a:pt x="2972" y="4435"/>
                  </a:lnTo>
                  <a:lnTo>
                    <a:pt x="3122" y="4555"/>
                  </a:lnTo>
                  <a:lnTo>
                    <a:pt x="3199" y="4791"/>
                  </a:lnTo>
                  <a:lnTo>
                    <a:pt x="3327" y="5023"/>
                  </a:lnTo>
                  <a:lnTo>
                    <a:pt x="3362" y="5185"/>
                  </a:lnTo>
                  <a:lnTo>
                    <a:pt x="3631" y="5279"/>
                  </a:lnTo>
                  <a:lnTo>
                    <a:pt x="3932" y="5365"/>
                  </a:lnTo>
                  <a:lnTo>
                    <a:pt x="4119" y="5383"/>
                  </a:lnTo>
                  <a:lnTo>
                    <a:pt x="4279" y="5383"/>
                  </a:lnTo>
                  <a:lnTo>
                    <a:pt x="4207" y="5271"/>
                  </a:lnTo>
                  <a:lnTo>
                    <a:pt x="4191" y="5159"/>
                  </a:lnTo>
                  <a:lnTo>
                    <a:pt x="4119" y="5079"/>
                  </a:lnTo>
                  <a:lnTo>
                    <a:pt x="4052" y="4945"/>
                  </a:lnTo>
                  <a:lnTo>
                    <a:pt x="4079" y="4839"/>
                  </a:lnTo>
                  <a:lnTo>
                    <a:pt x="4082" y="4705"/>
                  </a:lnTo>
                  <a:lnTo>
                    <a:pt x="3975" y="4639"/>
                  </a:lnTo>
                  <a:lnTo>
                    <a:pt x="4103" y="4575"/>
                  </a:lnTo>
                  <a:lnTo>
                    <a:pt x="4112" y="4435"/>
                  </a:lnTo>
                  <a:lnTo>
                    <a:pt x="4022" y="4375"/>
                  </a:lnTo>
                  <a:lnTo>
                    <a:pt x="4202" y="4345"/>
                  </a:lnTo>
                  <a:lnTo>
                    <a:pt x="4112" y="4195"/>
                  </a:lnTo>
                  <a:lnTo>
                    <a:pt x="4322" y="4165"/>
                  </a:lnTo>
                  <a:lnTo>
                    <a:pt x="4382" y="4015"/>
                  </a:lnTo>
                  <a:lnTo>
                    <a:pt x="4472" y="4015"/>
                  </a:lnTo>
                  <a:lnTo>
                    <a:pt x="4532" y="3895"/>
                  </a:lnTo>
                  <a:lnTo>
                    <a:pt x="4772" y="3895"/>
                  </a:lnTo>
                  <a:lnTo>
                    <a:pt x="4911" y="3823"/>
                  </a:lnTo>
                  <a:lnTo>
                    <a:pt x="5042" y="3745"/>
                  </a:lnTo>
                  <a:lnTo>
                    <a:pt x="5042" y="3625"/>
                  </a:lnTo>
                  <a:lnTo>
                    <a:pt x="5192" y="3535"/>
                  </a:lnTo>
                  <a:lnTo>
                    <a:pt x="5102" y="3355"/>
                  </a:lnTo>
                  <a:lnTo>
                    <a:pt x="5252" y="3325"/>
                  </a:lnTo>
                  <a:lnTo>
                    <a:pt x="5282" y="3445"/>
                  </a:lnTo>
                  <a:lnTo>
                    <a:pt x="5463" y="3391"/>
                  </a:lnTo>
                  <a:lnTo>
                    <a:pt x="5702" y="3295"/>
                  </a:lnTo>
                  <a:lnTo>
                    <a:pt x="5695" y="3031"/>
                  </a:lnTo>
                  <a:lnTo>
                    <a:pt x="5672" y="2755"/>
                  </a:lnTo>
                  <a:lnTo>
                    <a:pt x="5759" y="2671"/>
                  </a:lnTo>
                  <a:lnTo>
                    <a:pt x="5719" y="2471"/>
                  </a:lnTo>
                  <a:lnTo>
                    <a:pt x="5612" y="2305"/>
                  </a:lnTo>
                  <a:lnTo>
                    <a:pt x="5535" y="2223"/>
                  </a:lnTo>
                  <a:lnTo>
                    <a:pt x="5462" y="2035"/>
                  </a:lnTo>
                  <a:lnTo>
                    <a:pt x="5479" y="1935"/>
                  </a:lnTo>
                  <a:lnTo>
                    <a:pt x="5463" y="1799"/>
                  </a:lnTo>
                  <a:lnTo>
                    <a:pt x="5479" y="1671"/>
                  </a:lnTo>
                  <a:lnTo>
                    <a:pt x="5439" y="1559"/>
                  </a:lnTo>
                  <a:lnTo>
                    <a:pt x="5471" y="1463"/>
                  </a:lnTo>
                  <a:lnTo>
                    <a:pt x="5432" y="1345"/>
                  </a:lnTo>
                  <a:lnTo>
                    <a:pt x="5231" y="1351"/>
                  </a:lnTo>
                  <a:lnTo>
                    <a:pt x="5075" y="1317"/>
                  </a:lnTo>
                  <a:lnTo>
                    <a:pt x="4964" y="1226"/>
                  </a:lnTo>
                  <a:lnTo>
                    <a:pt x="4865" y="1271"/>
                  </a:lnTo>
                  <a:lnTo>
                    <a:pt x="4727" y="1251"/>
                  </a:lnTo>
                  <a:lnTo>
                    <a:pt x="4479" y="1350"/>
                  </a:lnTo>
                  <a:lnTo>
                    <a:pt x="4208" y="1305"/>
                  </a:lnTo>
                  <a:lnTo>
                    <a:pt x="4055" y="1319"/>
                  </a:lnTo>
                  <a:lnTo>
                    <a:pt x="3927" y="1251"/>
                  </a:lnTo>
                  <a:lnTo>
                    <a:pt x="3786" y="1287"/>
                  </a:lnTo>
                  <a:lnTo>
                    <a:pt x="3620" y="1143"/>
                  </a:lnTo>
                  <a:lnTo>
                    <a:pt x="3392" y="1179"/>
                  </a:lnTo>
                  <a:lnTo>
                    <a:pt x="3227" y="1079"/>
                  </a:lnTo>
                  <a:lnTo>
                    <a:pt x="3084" y="1068"/>
                  </a:lnTo>
                  <a:lnTo>
                    <a:pt x="2988" y="1005"/>
                  </a:lnTo>
                  <a:lnTo>
                    <a:pt x="2828" y="989"/>
                  </a:lnTo>
                  <a:lnTo>
                    <a:pt x="2823" y="858"/>
                  </a:lnTo>
                  <a:lnTo>
                    <a:pt x="2786" y="740"/>
                  </a:lnTo>
                  <a:lnTo>
                    <a:pt x="2823" y="620"/>
                  </a:lnTo>
                  <a:lnTo>
                    <a:pt x="2852" y="458"/>
                  </a:lnTo>
                  <a:lnTo>
                    <a:pt x="2843" y="198"/>
                  </a:lnTo>
                  <a:lnTo>
                    <a:pt x="2825" y="0"/>
                  </a:lnTo>
                  <a:lnTo>
                    <a:pt x="2498" y="0"/>
                  </a:lnTo>
                  <a:lnTo>
                    <a:pt x="2156" y="9"/>
                  </a:lnTo>
                  <a:lnTo>
                    <a:pt x="1611" y="18"/>
                  </a:lnTo>
                  <a:lnTo>
                    <a:pt x="1629" y="1167"/>
                  </a:lnTo>
                  <a:lnTo>
                    <a:pt x="1598" y="2282"/>
                  </a:lnTo>
                  <a:lnTo>
                    <a:pt x="0" y="2219"/>
                  </a:lnTo>
                  <a:close/>
                </a:path>
              </a:pathLst>
            </a:custGeom>
            <a:solidFill>
              <a:schemeClr val="tx2">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6" name="Freeform 18"/>
            <p:cNvSpPr>
              <a:spLocks/>
            </p:cNvSpPr>
            <p:nvPr/>
          </p:nvSpPr>
          <p:spPr bwMode="auto">
            <a:xfrm>
              <a:off x="3765892" y="2409424"/>
              <a:ext cx="575001" cy="656784"/>
            </a:xfrm>
            <a:custGeom>
              <a:avLst/>
              <a:gdLst>
                <a:gd name="T0" fmla="*/ 0 w 2604"/>
                <a:gd name="T1" fmla="*/ 45 h 2977"/>
                <a:gd name="T2" fmla="*/ 31 w 2604"/>
                <a:gd name="T3" fmla="*/ 46 h 2977"/>
                <a:gd name="T4" fmla="*/ 64 w 2604"/>
                <a:gd name="T5" fmla="*/ 43 h 2977"/>
                <a:gd name="T6" fmla="*/ 91 w 2604"/>
                <a:gd name="T7" fmla="*/ 46 h 2977"/>
                <a:gd name="T8" fmla="*/ 117 w 2604"/>
                <a:gd name="T9" fmla="*/ 40 h 2977"/>
                <a:gd name="T10" fmla="*/ 117 w 2604"/>
                <a:gd name="T11" fmla="*/ 0 h 2977"/>
                <a:gd name="T12" fmla="*/ 137 w 2604"/>
                <a:gd name="T13" fmla="*/ 5 h 2977"/>
                <a:gd name="T14" fmla="*/ 125 w 2604"/>
                <a:gd name="T15" fmla="*/ 25 h 2977"/>
                <a:gd name="T16" fmla="*/ 134 w 2604"/>
                <a:gd name="T17" fmla="*/ 40 h 2977"/>
                <a:gd name="T18" fmla="*/ 163 w 2604"/>
                <a:gd name="T19" fmla="*/ 51 h 2977"/>
                <a:gd name="T20" fmla="*/ 184 w 2604"/>
                <a:gd name="T21" fmla="*/ 61 h 2977"/>
                <a:gd name="T22" fmla="*/ 225 w 2604"/>
                <a:gd name="T23" fmla="*/ 68 h 2977"/>
                <a:gd name="T24" fmla="*/ 265 w 2604"/>
                <a:gd name="T25" fmla="*/ 68 h 2977"/>
                <a:gd name="T26" fmla="*/ 282 w 2604"/>
                <a:gd name="T27" fmla="*/ 57 h 2977"/>
                <a:gd name="T28" fmla="*/ 305 w 2604"/>
                <a:gd name="T29" fmla="*/ 74 h 2977"/>
                <a:gd name="T30" fmla="*/ 339 w 2604"/>
                <a:gd name="T31" fmla="*/ 80 h 2977"/>
                <a:gd name="T32" fmla="*/ 373 w 2604"/>
                <a:gd name="T33" fmla="*/ 97 h 2977"/>
                <a:gd name="T34" fmla="*/ 407 w 2604"/>
                <a:gd name="T35" fmla="*/ 85 h 2977"/>
                <a:gd name="T36" fmla="*/ 419 w 2604"/>
                <a:gd name="T37" fmla="*/ 93 h 2977"/>
                <a:gd name="T38" fmla="*/ 447 w 2604"/>
                <a:gd name="T39" fmla="*/ 91 h 2977"/>
                <a:gd name="T40" fmla="*/ 469 w 2604"/>
                <a:gd name="T41" fmla="*/ 91 h 2977"/>
                <a:gd name="T42" fmla="*/ 494 w 2604"/>
                <a:gd name="T43" fmla="*/ 90 h 2977"/>
                <a:gd name="T44" fmla="*/ 492 w 2604"/>
                <a:gd name="T45" fmla="*/ 94 h 2977"/>
                <a:gd name="T46" fmla="*/ 428 w 2604"/>
                <a:gd name="T47" fmla="*/ 136 h 2977"/>
                <a:gd name="T48" fmla="*/ 402 w 2604"/>
                <a:gd name="T49" fmla="*/ 160 h 2977"/>
                <a:gd name="T50" fmla="*/ 390 w 2604"/>
                <a:gd name="T51" fmla="*/ 188 h 2977"/>
                <a:gd name="T52" fmla="*/ 351 w 2604"/>
                <a:gd name="T53" fmla="*/ 216 h 2977"/>
                <a:gd name="T54" fmla="*/ 328 w 2604"/>
                <a:gd name="T55" fmla="*/ 245 h 2977"/>
                <a:gd name="T56" fmla="*/ 339 w 2604"/>
                <a:gd name="T57" fmla="*/ 279 h 2977"/>
                <a:gd name="T58" fmla="*/ 319 w 2604"/>
                <a:gd name="T59" fmla="*/ 307 h 2977"/>
                <a:gd name="T60" fmla="*/ 299 w 2604"/>
                <a:gd name="T61" fmla="*/ 330 h 2977"/>
                <a:gd name="T62" fmla="*/ 322 w 2604"/>
                <a:gd name="T63" fmla="*/ 359 h 2977"/>
                <a:gd name="T64" fmla="*/ 319 w 2604"/>
                <a:gd name="T65" fmla="*/ 400 h 2977"/>
                <a:gd name="T66" fmla="*/ 311 w 2604"/>
                <a:gd name="T67" fmla="*/ 421 h 2977"/>
                <a:gd name="T68" fmla="*/ 330 w 2604"/>
                <a:gd name="T69" fmla="*/ 430 h 2977"/>
                <a:gd name="T70" fmla="*/ 356 w 2604"/>
                <a:gd name="T71" fmla="*/ 427 h 2977"/>
                <a:gd name="T72" fmla="*/ 393 w 2604"/>
                <a:gd name="T73" fmla="*/ 460 h 2977"/>
                <a:gd name="T74" fmla="*/ 453 w 2604"/>
                <a:gd name="T75" fmla="*/ 501 h 2977"/>
                <a:gd name="T76" fmla="*/ 442 w 2604"/>
                <a:gd name="T77" fmla="*/ 530 h 2977"/>
                <a:gd name="T78" fmla="*/ 75 w 2604"/>
                <a:gd name="T79" fmla="*/ 565 h 2977"/>
                <a:gd name="T80" fmla="*/ 80 w 2604"/>
                <a:gd name="T81" fmla="*/ 513 h 2977"/>
                <a:gd name="T82" fmla="*/ 73 w 2604"/>
                <a:gd name="T83" fmla="*/ 403 h 2977"/>
                <a:gd name="T84" fmla="*/ 49 w 2604"/>
                <a:gd name="T85" fmla="*/ 374 h 2977"/>
                <a:gd name="T86" fmla="*/ 56 w 2604"/>
                <a:gd name="T87" fmla="*/ 353 h 2977"/>
                <a:gd name="T88" fmla="*/ 53 w 2604"/>
                <a:gd name="T89" fmla="*/ 330 h 2977"/>
                <a:gd name="T90" fmla="*/ 43 w 2604"/>
                <a:gd name="T91" fmla="*/ 263 h 2977"/>
                <a:gd name="T92" fmla="*/ 34 w 2604"/>
                <a:gd name="T93" fmla="*/ 176 h 2977"/>
                <a:gd name="T94" fmla="*/ 11 w 2604"/>
                <a:gd name="T95" fmla="*/ 145 h 2977"/>
                <a:gd name="T96" fmla="*/ 5 w 2604"/>
                <a:gd name="T97" fmla="*/ 106 h 2977"/>
                <a:gd name="T98" fmla="*/ 0 w 2604"/>
                <a:gd name="T99" fmla="*/ 45 h 29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604" h="2977">
                  <a:moveTo>
                    <a:pt x="0" y="239"/>
                  </a:moveTo>
                  <a:lnTo>
                    <a:pt x="161" y="242"/>
                  </a:lnTo>
                  <a:lnTo>
                    <a:pt x="337" y="226"/>
                  </a:lnTo>
                  <a:lnTo>
                    <a:pt x="481" y="242"/>
                  </a:lnTo>
                  <a:lnTo>
                    <a:pt x="617" y="210"/>
                  </a:lnTo>
                  <a:lnTo>
                    <a:pt x="617" y="0"/>
                  </a:lnTo>
                  <a:lnTo>
                    <a:pt x="721" y="26"/>
                  </a:lnTo>
                  <a:lnTo>
                    <a:pt x="657" y="130"/>
                  </a:lnTo>
                  <a:lnTo>
                    <a:pt x="705" y="210"/>
                  </a:lnTo>
                  <a:lnTo>
                    <a:pt x="857" y="270"/>
                  </a:lnTo>
                  <a:lnTo>
                    <a:pt x="969" y="322"/>
                  </a:lnTo>
                  <a:lnTo>
                    <a:pt x="1187" y="360"/>
                  </a:lnTo>
                  <a:lnTo>
                    <a:pt x="1398" y="360"/>
                  </a:lnTo>
                  <a:lnTo>
                    <a:pt x="1488" y="300"/>
                  </a:lnTo>
                  <a:lnTo>
                    <a:pt x="1608" y="390"/>
                  </a:lnTo>
                  <a:lnTo>
                    <a:pt x="1788" y="420"/>
                  </a:lnTo>
                  <a:lnTo>
                    <a:pt x="1968" y="510"/>
                  </a:lnTo>
                  <a:lnTo>
                    <a:pt x="2148" y="450"/>
                  </a:lnTo>
                  <a:lnTo>
                    <a:pt x="2209" y="490"/>
                  </a:lnTo>
                  <a:lnTo>
                    <a:pt x="2358" y="480"/>
                  </a:lnTo>
                  <a:lnTo>
                    <a:pt x="2473" y="482"/>
                  </a:lnTo>
                  <a:lnTo>
                    <a:pt x="2604" y="476"/>
                  </a:lnTo>
                  <a:lnTo>
                    <a:pt x="2596" y="497"/>
                  </a:lnTo>
                  <a:lnTo>
                    <a:pt x="2257" y="714"/>
                  </a:lnTo>
                  <a:lnTo>
                    <a:pt x="2121" y="842"/>
                  </a:lnTo>
                  <a:lnTo>
                    <a:pt x="2058" y="990"/>
                  </a:lnTo>
                  <a:lnTo>
                    <a:pt x="1848" y="1140"/>
                  </a:lnTo>
                  <a:lnTo>
                    <a:pt x="1728" y="1290"/>
                  </a:lnTo>
                  <a:lnTo>
                    <a:pt x="1788" y="1470"/>
                  </a:lnTo>
                  <a:lnTo>
                    <a:pt x="1681" y="1618"/>
                  </a:lnTo>
                  <a:lnTo>
                    <a:pt x="1578" y="1740"/>
                  </a:lnTo>
                  <a:lnTo>
                    <a:pt x="1698" y="1890"/>
                  </a:lnTo>
                  <a:lnTo>
                    <a:pt x="1681" y="2106"/>
                  </a:lnTo>
                  <a:lnTo>
                    <a:pt x="1638" y="2220"/>
                  </a:lnTo>
                  <a:lnTo>
                    <a:pt x="1737" y="2266"/>
                  </a:lnTo>
                  <a:lnTo>
                    <a:pt x="1878" y="2250"/>
                  </a:lnTo>
                  <a:lnTo>
                    <a:pt x="2073" y="2426"/>
                  </a:lnTo>
                  <a:lnTo>
                    <a:pt x="2388" y="2640"/>
                  </a:lnTo>
                  <a:lnTo>
                    <a:pt x="2329" y="2794"/>
                  </a:lnTo>
                  <a:lnTo>
                    <a:pt x="394" y="2977"/>
                  </a:lnTo>
                  <a:lnTo>
                    <a:pt x="421" y="2701"/>
                  </a:lnTo>
                  <a:lnTo>
                    <a:pt x="385" y="2123"/>
                  </a:lnTo>
                  <a:lnTo>
                    <a:pt x="256" y="1969"/>
                  </a:lnTo>
                  <a:lnTo>
                    <a:pt x="294" y="1862"/>
                  </a:lnTo>
                  <a:lnTo>
                    <a:pt x="282" y="1741"/>
                  </a:lnTo>
                  <a:lnTo>
                    <a:pt x="229" y="1387"/>
                  </a:lnTo>
                  <a:lnTo>
                    <a:pt x="181" y="928"/>
                  </a:lnTo>
                  <a:lnTo>
                    <a:pt x="60" y="763"/>
                  </a:lnTo>
                  <a:lnTo>
                    <a:pt x="25" y="556"/>
                  </a:lnTo>
                  <a:lnTo>
                    <a:pt x="0" y="239"/>
                  </a:lnTo>
                  <a:close/>
                </a:path>
              </a:pathLst>
            </a:custGeom>
            <a:solidFill>
              <a:srgbClr val="FEDC5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7" name="Freeform 19"/>
            <p:cNvSpPr>
              <a:spLocks/>
            </p:cNvSpPr>
            <p:nvPr/>
          </p:nvSpPr>
          <p:spPr bwMode="auto">
            <a:xfrm>
              <a:off x="4114627" y="2613573"/>
              <a:ext cx="485375" cy="477768"/>
            </a:xfrm>
            <a:custGeom>
              <a:avLst/>
              <a:gdLst>
                <a:gd name="T0" fmla="*/ 51 w 2202"/>
                <a:gd name="T1" fmla="*/ 13 h 2170"/>
                <a:gd name="T2" fmla="*/ 28 w 2202"/>
                <a:gd name="T3" fmla="*/ 41 h 2170"/>
                <a:gd name="T4" fmla="*/ 40 w 2202"/>
                <a:gd name="T5" fmla="*/ 76 h 2170"/>
                <a:gd name="T6" fmla="*/ 19 w 2202"/>
                <a:gd name="T7" fmla="*/ 103 h 2170"/>
                <a:gd name="T8" fmla="*/ 0 w 2202"/>
                <a:gd name="T9" fmla="*/ 126 h 2170"/>
                <a:gd name="T10" fmla="*/ 23 w 2202"/>
                <a:gd name="T11" fmla="*/ 155 h 2170"/>
                <a:gd name="T12" fmla="*/ 19 w 2202"/>
                <a:gd name="T13" fmla="*/ 196 h 2170"/>
                <a:gd name="T14" fmla="*/ 11 w 2202"/>
                <a:gd name="T15" fmla="*/ 217 h 2170"/>
                <a:gd name="T16" fmla="*/ 30 w 2202"/>
                <a:gd name="T17" fmla="*/ 226 h 2170"/>
                <a:gd name="T18" fmla="*/ 56 w 2202"/>
                <a:gd name="T19" fmla="*/ 223 h 2170"/>
                <a:gd name="T20" fmla="*/ 95 w 2202"/>
                <a:gd name="T21" fmla="*/ 257 h 2170"/>
                <a:gd name="T22" fmla="*/ 153 w 2202"/>
                <a:gd name="T23" fmla="*/ 297 h 2170"/>
                <a:gd name="T24" fmla="*/ 142 w 2202"/>
                <a:gd name="T25" fmla="*/ 326 h 2170"/>
                <a:gd name="T26" fmla="*/ 154 w 2202"/>
                <a:gd name="T27" fmla="*/ 341 h 2170"/>
                <a:gd name="T28" fmla="*/ 154 w 2202"/>
                <a:gd name="T29" fmla="*/ 367 h 2170"/>
                <a:gd name="T30" fmla="*/ 162 w 2202"/>
                <a:gd name="T31" fmla="*/ 391 h 2170"/>
                <a:gd name="T32" fmla="*/ 186 w 2202"/>
                <a:gd name="T33" fmla="*/ 402 h 2170"/>
                <a:gd name="T34" fmla="*/ 204 w 2202"/>
                <a:gd name="T35" fmla="*/ 411 h 2170"/>
                <a:gd name="T36" fmla="*/ 400 w 2202"/>
                <a:gd name="T37" fmla="*/ 381 h 2170"/>
                <a:gd name="T38" fmla="*/ 400 w 2202"/>
                <a:gd name="T39" fmla="*/ 341 h 2170"/>
                <a:gd name="T40" fmla="*/ 383 w 2202"/>
                <a:gd name="T41" fmla="*/ 324 h 2170"/>
                <a:gd name="T42" fmla="*/ 380 w 2202"/>
                <a:gd name="T43" fmla="*/ 294 h 2170"/>
                <a:gd name="T44" fmla="*/ 383 w 2202"/>
                <a:gd name="T45" fmla="*/ 267 h 2170"/>
                <a:gd name="T46" fmla="*/ 389 w 2202"/>
                <a:gd name="T47" fmla="*/ 256 h 2170"/>
                <a:gd name="T48" fmla="*/ 383 w 2202"/>
                <a:gd name="T49" fmla="*/ 227 h 2170"/>
                <a:gd name="T50" fmla="*/ 389 w 2202"/>
                <a:gd name="T51" fmla="*/ 205 h 2170"/>
                <a:gd name="T52" fmla="*/ 389 w 2202"/>
                <a:gd name="T53" fmla="*/ 188 h 2170"/>
                <a:gd name="T54" fmla="*/ 417 w 2202"/>
                <a:gd name="T55" fmla="*/ 125 h 2170"/>
                <a:gd name="T56" fmla="*/ 411 w 2202"/>
                <a:gd name="T57" fmla="*/ 108 h 2170"/>
                <a:gd name="T58" fmla="*/ 400 w 2202"/>
                <a:gd name="T59" fmla="*/ 125 h 2170"/>
                <a:gd name="T60" fmla="*/ 389 w 2202"/>
                <a:gd name="T61" fmla="*/ 142 h 2170"/>
                <a:gd name="T62" fmla="*/ 383 w 2202"/>
                <a:gd name="T63" fmla="*/ 159 h 2170"/>
                <a:gd name="T64" fmla="*/ 355 w 2202"/>
                <a:gd name="T65" fmla="*/ 199 h 2170"/>
                <a:gd name="T66" fmla="*/ 355 w 2202"/>
                <a:gd name="T67" fmla="*/ 176 h 2170"/>
                <a:gd name="T68" fmla="*/ 356 w 2202"/>
                <a:gd name="T69" fmla="*/ 155 h 2170"/>
                <a:gd name="T70" fmla="*/ 368 w 2202"/>
                <a:gd name="T71" fmla="*/ 135 h 2170"/>
                <a:gd name="T72" fmla="*/ 366 w 2202"/>
                <a:gd name="T73" fmla="*/ 108 h 2170"/>
                <a:gd name="T74" fmla="*/ 349 w 2202"/>
                <a:gd name="T75" fmla="*/ 91 h 2170"/>
                <a:gd name="T76" fmla="*/ 348 w 2202"/>
                <a:gd name="T77" fmla="*/ 79 h 2170"/>
                <a:gd name="T78" fmla="*/ 320 w 2202"/>
                <a:gd name="T79" fmla="*/ 57 h 2170"/>
                <a:gd name="T80" fmla="*/ 286 w 2202"/>
                <a:gd name="T81" fmla="*/ 63 h 2170"/>
                <a:gd name="T82" fmla="*/ 281 w 2202"/>
                <a:gd name="T83" fmla="*/ 51 h 2170"/>
                <a:gd name="T84" fmla="*/ 260 w 2202"/>
                <a:gd name="T85" fmla="*/ 52 h 2170"/>
                <a:gd name="T86" fmla="*/ 233 w 2202"/>
                <a:gd name="T87" fmla="*/ 50 h 2170"/>
                <a:gd name="T88" fmla="*/ 201 w 2202"/>
                <a:gd name="T89" fmla="*/ 51 h 2170"/>
                <a:gd name="T90" fmla="*/ 184 w 2202"/>
                <a:gd name="T91" fmla="*/ 38 h 2170"/>
                <a:gd name="T92" fmla="*/ 173 w 2202"/>
                <a:gd name="T93" fmla="*/ 23 h 2170"/>
                <a:gd name="T94" fmla="*/ 127 w 2202"/>
                <a:gd name="T95" fmla="*/ 23 h 2170"/>
                <a:gd name="T96" fmla="*/ 122 w 2202"/>
                <a:gd name="T97" fmla="*/ 0 h 2170"/>
                <a:gd name="T98" fmla="*/ 70 w 2202"/>
                <a:gd name="T99" fmla="*/ 23 h 2170"/>
                <a:gd name="T100" fmla="*/ 51 w 2202"/>
                <a:gd name="T101" fmla="*/ 13 h 2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2" h="2170">
                  <a:moveTo>
                    <a:pt x="267" y="70"/>
                  </a:moveTo>
                  <a:lnTo>
                    <a:pt x="150" y="216"/>
                  </a:lnTo>
                  <a:lnTo>
                    <a:pt x="209" y="400"/>
                  </a:lnTo>
                  <a:lnTo>
                    <a:pt x="102" y="544"/>
                  </a:lnTo>
                  <a:lnTo>
                    <a:pt x="0" y="667"/>
                  </a:lnTo>
                  <a:lnTo>
                    <a:pt x="119" y="820"/>
                  </a:lnTo>
                  <a:lnTo>
                    <a:pt x="102" y="1035"/>
                  </a:lnTo>
                  <a:lnTo>
                    <a:pt x="59" y="1146"/>
                  </a:lnTo>
                  <a:lnTo>
                    <a:pt x="158" y="1195"/>
                  </a:lnTo>
                  <a:lnTo>
                    <a:pt x="297" y="1177"/>
                  </a:lnTo>
                  <a:lnTo>
                    <a:pt x="501" y="1359"/>
                  </a:lnTo>
                  <a:lnTo>
                    <a:pt x="809" y="1567"/>
                  </a:lnTo>
                  <a:lnTo>
                    <a:pt x="750" y="1723"/>
                  </a:lnTo>
                  <a:lnTo>
                    <a:pt x="814" y="1802"/>
                  </a:lnTo>
                  <a:lnTo>
                    <a:pt x="814" y="1938"/>
                  </a:lnTo>
                  <a:lnTo>
                    <a:pt x="854" y="2066"/>
                  </a:lnTo>
                  <a:lnTo>
                    <a:pt x="982" y="2122"/>
                  </a:lnTo>
                  <a:lnTo>
                    <a:pt x="1078" y="2170"/>
                  </a:lnTo>
                  <a:lnTo>
                    <a:pt x="2112" y="2010"/>
                  </a:lnTo>
                  <a:lnTo>
                    <a:pt x="2112" y="1800"/>
                  </a:lnTo>
                  <a:lnTo>
                    <a:pt x="2022" y="1710"/>
                  </a:lnTo>
                  <a:lnTo>
                    <a:pt x="2006" y="1554"/>
                  </a:lnTo>
                  <a:lnTo>
                    <a:pt x="2022" y="1410"/>
                  </a:lnTo>
                  <a:lnTo>
                    <a:pt x="2052" y="1350"/>
                  </a:lnTo>
                  <a:lnTo>
                    <a:pt x="2022" y="1200"/>
                  </a:lnTo>
                  <a:lnTo>
                    <a:pt x="2052" y="1080"/>
                  </a:lnTo>
                  <a:lnTo>
                    <a:pt x="2052" y="990"/>
                  </a:lnTo>
                  <a:lnTo>
                    <a:pt x="2202" y="660"/>
                  </a:lnTo>
                  <a:lnTo>
                    <a:pt x="2172" y="570"/>
                  </a:lnTo>
                  <a:lnTo>
                    <a:pt x="2112" y="660"/>
                  </a:lnTo>
                  <a:lnTo>
                    <a:pt x="2052" y="750"/>
                  </a:lnTo>
                  <a:lnTo>
                    <a:pt x="2022" y="840"/>
                  </a:lnTo>
                  <a:lnTo>
                    <a:pt x="1872" y="1050"/>
                  </a:lnTo>
                  <a:lnTo>
                    <a:pt x="1872" y="930"/>
                  </a:lnTo>
                  <a:lnTo>
                    <a:pt x="1878" y="818"/>
                  </a:lnTo>
                  <a:lnTo>
                    <a:pt x="1942" y="714"/>
                  </a:lnTo>
                  <a:lnTo>
                    <a:pt x="1932" y="570"/>
                  </a:lnTo>
                  <a:lnTo>
                    <a:pt x="1842" y="480"/>
                  </a:lnTo>
                  <a:lnTo>
                    <a:pt x="1838" y="418"/>
                  </a:lnTo>
                  <a:lnTo>
                    <a:pt x="1692" y="300"/>
                  </a:lnTo>
                  <a:lnTo>
                    <a:pt x="1512" y="330"/>
                  </a:lnTo>
                  <a:lnTo>
                    <a:pt x="1482" y="270"/>
                  </a:lnTo>
                  <a:lnTo>
                    <a:pt x="1374" y="274"/>
                  </a:lnTo>
                  <a:lnTo>
                    <a:pt x="1230" y="266"/>
                  </a:lnTo>
                  <a:lnTo>
                    <a:pt x="1062" y="270"/>
                  </a:lnTo>
                  <a:lnTo>
                    <a:pt x="974" y="202"/>
                  </a:lnTo>
                  <a:lnTo>
                    <a:pt x="912" y="120"/>
                  </a:lnTo>
                  <a:lnTo>
                    <a:pt x="672" y="120"/>
                  </a:lnTo>
                  <a:lnTo>
                    <a:pt x="642" y="0"/>
                  </a:lnTo>
                  <a:lnTo>
                    <a:pt x="372" y="120"/>
                  </a:lnTo>
                  <a:lnTo>
                    <a:pt x="267" y="70"/>
                  </a:lnTo>
                  <a:close/>
                </a:path>
              </a:pathLst>
            </a:custGeom>
            <a:solidFill>
              <a:schemeClr val="accent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8" name="Freeform 20"/>
            <p:cNvSpPr>
              <a:spLocks/>
            </p:cNvSpPr>
            <p:nvPr/>
          </p:nvSpPr>
          <p:spPr bwMode="auto">
            <a:xfrm>
              <a:off x="3816190" y="2964320"/>
              <a:ext cx="548229" cy="352223"/>
            </a:xfrm>
            <a:custGeom>
              <a:avLst/>
              <a:gdLst>
                <a:gd name="T0" fmla="*/ 0 w 2485"/>
                <a:gd name="T1" fmla="*/ 35 h 1601"/>
                <a:gd name="T2" fmla="*/ 367 w 2485"/>
                <a:gd name="T3" fmla="*/ 0 h 1601"/>
                <a:gd name="T4" fmla="*/ 378 w 2485"/>
                <a:gd name="T5" fmla="*/ 14 h 1601"/>
                <a:gd name="T6" fmla="*/ 379 w 2485"/>
                <a:gd name="T7" fmla="*/ 40 h 1601"/>
                <a:gd name="T8" fmla="*/ 386 w 2485"/>
                <a:gd name="T9" fmla="*/ 65 h 1601"/>
                <a:gd name="T10" fmla="*/ 408 w 2485"/>
                <a:gd name="T11" fmla="*/ 74 h 1601"/>
                <a:gd name="T12" fmla="*/ 428 w 2485"/>
                <a:gd name="T13" fmla="*/ 85 h 1601"/>
                <a:gd name="T14" fmla="*/ 447 w 2485"/>
                <a:gd name="T15" fmla="*/ 109 h 1601"/>
                <a:gd name="T16" fmla="*/ 463 w 2485"/>
                <a:gd name="T17" fmla="*/ 127 h 1601"/>
                <a:gd name="T18" fmla="*/ 471 w 2485"/>
                <a:gd name="T19" fmla="*/ 154 h 1601"/>
                <a:gd name="T20" fmla="*/ 451 w 2485"/>
                <a:gd name="T21" fmla="*/ 178 h 1601"/>
                <a:gd name="T22" fmla="*/ 426 w 2485"/>
                <a:gd name="T23" fmla="*/ 189 h 1601"/>
                <a:gd name="T24" fmla="*/ 399 w 2485"/>
                <a:gd name="T25" fmla="*/ 189 h 1601"/>
                <a:gd name="T26" fmla="*/ 416 w 2485"/>
                <a:gd name="T27" fmla="*/ 217 h 1601"/>
                <a:gd name="T28" fmla="*/ 407 w 2485"/>
                <a:gd name="T29" fmla="*/ 248 h 1601"/>
                <a:gd name="T30" fmla="*/ 394 w 2485"/>
                <a:gd name="T31" fmla="*/ 274 h 1601"/>
                <a:gd name="T32" fmla="*/ 388 w 2485"/>
                <a:gd name="T33" fmla="*/ 295 h 1601"/>
                <a:gd name="T34" fmla="*/ 360 w 2485"/>
                <a:gd name="T35" fmla="*/ 274 h 1601"/>
                <a:gd name="T36" fmla="*/ 277 w 2485"/>
                <a:gd name="T37" fmla="*/ 289 h 1601"/>
                <a:gd name="T38" fmla="*/ 195 w 2485"/>
                <a:gd name="T39" fmla="*/ 297 h 1601"/>
                <a:gd name="T40" fmla="*/ 73 w 2485"/>
                <a:gd name="T41" fmla="*/ 303 h 1601"/>
                <a:gd name="T42" fmla="*/ 73 w 2485"/>
                <a:gd name="T43" fmla="*/ 256 h 1601"/>
                <a:gd name="T44" fmla="*/ 23 w 2485"/>
                <a:gd name="T45" fmla="*/ 157 h 1601"/>
                <a:gd name="T46" fmla="*/ 6 w 2485"/>
                <a:gd name="T47" fmla="*/ 117 h 1601"/>
                <a:gd name="T48" fmla="*/ 6 w 2485"/>
                <a:gd name="T49" fmla="*/ 59 h 1601"/>
                <a:gd name="T50" fmla="*/ 0 w 2485"/>
                <a:gd name="T51" fmla="*/ 35 h 16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85" h="1601">
                  <a:moveTo>
                    <a:pt x="0" y="183"/>
                  </a:moveTo>
                  <a:lnTo>
                    <a:pt x="1935" y="0"/>
                  </a:lnTo>
                  <a:lnTo>
                    <a:pt x="1996" y="75"/>
                  </a:lnTo>
                  <a:lnTo>
                    <a:pt x="1998" y="212"/>
                  </a:lnTo>
                  <a:lnTo>
                    <a:pt x="2037" y="344"/>
                  </a:lnTo>
                  <a:lnTo>
                    <a:pt x="2155" y="393"/>
                  </a:lnTo>
                  <a:lnTo>
                    <a:pt x="2257" y="447"/>
                  </a:lnTo>
                  <a:lnTo>
                    <a:pt x="2357" y="575"/>
                  </a:lnTo>
                  <a:lnTo>
                    <a:pt x="2445" y="671"/>
                  </a:lnTo>
                  <a:lnTo>
                    <a:pt x="2485" y="815"/>
                  </a:lnTo>
                  <a:lnTo>
                    <a:pt x="2377" y="939"/>
                  </a:lnTo>
                  <a:lnTo>
                    <a:pt x="2245" y="999"/>
                  </a:lnTo>
                  <a:lnTo>
                    <a:pt x="2107" y="999"/>
                  </a:lnTo>
                  <a:lnTo>
                    <a:pt x="2197" y="1149"/>
                  </a:lnTo>
                  <a:lnTo>
                    <a:pt x="2149" y="1311"/>
                  </a:lnTo>
                  <a:lnTo>
                    <a:pt x="2077" y="1449"/>
                  </a:lnTo>
                  <a:lnTo>
                    <a:pt x="2045" y="1559"/>
                  </a:lnTo>
                  <a:lnTo>
                    <a:pt x="1897" y="1449"/>
                  </a:lnTo>
                  <a:lnTo>
                    <a:pt x="1461" y="1527"/>
                  </a:lnTo>
                  <a:lnTo>
                    <a:pt x="1029" y="1567"/>
                  </a:lnTo>
                  <a:lnTo>
                    <a:pt x="384" y="1601"/>
                  </a:lnTo>
                  <a:lnTo>
                    <a:pt x="384" y="1355"/>
                  </a:lnTo>
                  <a:lnTo>
                    <a:pt x="120" y="827"/>
                  </a:lnTo>
                  <a:lnTo>
                    <a:pt x="33" y="620"/>
                  </a:lnTo>
                  <a:lnTo>
                    <a:pt x="34" y="312"/>
                  </a:lnTo>
                  <a:lnTo>
                    <a:pt x="0" y="183"/>
                  </a:lnTo>
                  <a:close/>
                </a:path>
              </a:pathLst>
            </a:custGeom>
            <a:solidFill>
              <a:srgbClr val="FFC00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9" name="Freeform 21"/>
            <p:cNvSpPr>
              <a:spLocks/>
            </p:cNvSpPr>
            <p:nvPr/>
          </p:nvSpPr>
          <p:spPr bwMode="auto">
            <a:xfrm>
              <a:off x="3902156" y="3278520"/>
              <a:ext cx="618067" cy="485905"/>
            </a:xfrm>
            <a:custGeom>
              <a:avLst/>
              <a:gdLst>
                <a:gd name="T0" fmla="*/ 0 w 2800"/>
                <a:gd name="T1" fmla="*/ 29 h 2206"/>
                <a:gd name="T2" fmla="*/ 22 w 2800"/>
                <a:gd name="T3" fmla="*/ 73 h 2206"/>
                <a:gd name="T4" fmla="*/ 47 w 2800"/>
                <a:gd name="T5" fmla="*/ 86 h 2206"/>
                <a:gd name="T6" fmla="*/ 69 w 2800"/>
                <a:gd name="T7" fmla="*/ 98 h 2206"/>
                <a:gd name="T8" fmla="*/ 63 w 2800"/>
                <a:gd name="T9" fmla="*/ 115 h 2206"/>
                <a:gd name="T10" fmla="*/ 74 w 2800"/>
                <a:gd name="T11" fmla="*/ 146 h 2206"/>
                <a:gd name="T12" fmla="*/ 97 w 2800"/>
                <a:gd name="T13" fmla="*/ 160 h 2206"/>
                <a:gd name="T14" fmla="*/ 101 w 2800"/>
                <a:gd name="T15" fmla="*/ 211 h 2206"/>
                <a:gd name="T16" fmla="*/ 101 w 2800"/>
                <a:gd name="T17" fmla="*/ 271 h 2206"/>
                <a:gd name="T18" fmla="*/ 107 w 2800"/>
                <a:gd name="T19" fmla="*/ 324 h 2206"/>
                <a:gd name="T20" fmla="*/ 107 w 2800"/>
                <a:gd name="T21" fmla="*/ 359 h 2206"/>
                <a:gd name="T22" fmla="*/ 117 w 2800"/>
                <a:gd name="T23" fmla="*/ 385 h 2206"/>
                <a:gd name="T24" fmla="*/ 122 w 2800"/>
                <a:gd name="T25" fmla="*/ 409 h 2206"/>
                <a:gd name="T26" fmla="*/ 335 w 2800"/>
                <a:gd name="T27" fmla="*/ 382 h 2206"/>
                <a:gd name="T28" fmla="*/ 393 w 2800"/>
                <a:gd name="T29" fmla="*/ 376 h 2206"/>
                <a:gd name="T30" fmla="*/ 452 w 2800"/>
                <a:gd name="T31" fmla="*/ 364 h 2206"/>
                <a:gd name="T32" fmla="*/ 463 w 2800"/>
                <a:gd name="T33" fmla="*/ 375 h 2206"/>
                <a:gd name="T34" fmla="*/ 446 w 2800"/>
                <a:gd name="T35" fmla="*/ 398 h 2206"/>
                <a:gd name="T36" fmla="*/ 458 w 2800"/>
                <a:gd name="T37" fmla="*/ 409 h 2206"/>
                <a:gd name="T38" fmla="*/ 478 w 2800"/>
                <a:gd name="T39" fmla="*/ 418 h 2206"/>
                <a:gd name="T40" fmla="*/ 497 w 2800"/>
                <a:gd name="T41" fmla="*/ 409 h 2206"/>
                <a:gd name="T42" fmla="*/ 503 w 2800"/>
                <a:gd name="T43" fmla="*/ 398 h 2206"/>
                <a:gd name="T44" fmla="*/ 497 w 2800"/>
                <a:gd name="T45" fmla="*/ 381 h 2206"/>
                <a:gd name="T46" fmla="*/ 507 w 2800"/>
                <a:gd name="T47" fmla="*/ 363 h 2206"/>
                <a:gd name="T48" fmla="*/ 515 w 2800"/>
                <a:gd name="T49" fmla="*/ 347 h 2206"/>
                <a:gd name="T50" fmla="*/ 531 w 2800"/>
                <a:gd name="T51" fmla="*/ 339 h 2206"/>
                <a:gd name="T52" fmla="*/ 529 w 2800"/>
                <a:gd name="T53" fmla="*/ 324 h 2206"/>
                <a:gd name="T54" fmla="*/ 528 w 2800"/>
                <a:gd name="T55" fmla="*/ 306 h 2206"/>
                <a:gd name="T56" fmla="*/ 509 w 2800"/>
                <a:gd name="T57" fmla="*/ 296 h 2206"/>
                <a:gd name="T58" fmla="*/ 492 w 2800"/>
                <a:gd name="T59" fmla="*/ 273 h 2206"/>
                <a:gd name="T60" fmla="*/ 486 w 2800"/>
                <a:gd name="T61" fmla="*/ 244 h 2206"/>
                <a:gd name="T62" fmla="*/ 458 w 2800"/>
                <a:gd name="T63" fmla="*/ 222 h 2206"/>
                <a:gd name="T64" fmla="*/ 435 w 2800"/>
                <a:gd name="T65" fmla="*/ 210 h 2206"/>
                <a:gd name="T66" fmla="*/ 418 w 2800"/>
                <a:gd name="T67" fmla="*/ 187 h 2206"/>
                <a:gd name="T68" fmla="*/ 426 w 2800"/>
                <a:gd name="T69" fmla="*/ 166 h 2206"/>
                <a:gd name="T70" fmla="*/ 429 w 2800"/>
                <a:gd name="T71" fmla="*/ 142 h 2206"/>
                <a:gd name="T72" fmla="*/ 414 w 2800"/>
                <a:gd name="T73" fmla="*/ 133 h 2206"/>
                <a:gd name="T74" fmla="*/ 396 w 2800"/>
                <a:gd name="T75" fmla="*/ 128 h 2206"/>
                <a:gd name="T76" fmla="*/ 378 w 2800"/>
                <a:gd name="T77" fmla="*/ 114 h 2206"/>
                <a:gd name="T78" fmla="*/ 355 w 2800"/>
                <a:gd name="T79" fmla="*/ 85 h 2206"/>
                <a:gd name="T80" fmla="*/ 337 w 2800"/>
                <a:gd name="T81" fmla="*/ 74 h 2206"/>
                <a:gd name="T82" fmla="*/ 321 w 2800"/>
                <a:gd name="T83" fmla="*/ 51 h 2206"/>
                <a:gd name="T84" fmla="*/ 315 w 2800"/>
                <a:gd name="T85" fmla="*/ 21 h 2206"/>
                <a:gd name="T86" fmla="*/ 287 w 2800"/>
                <a:gd name="T87" fmla="*/ 0 h 2206"/>
                <a:gd name="T88" fmla="*/ 260 w 2800"/>
                <a:gd name="T89" fmla="*/ 4 h 2206"/>
                <a:gd name="T90" fmla="*/ 200 w 2800"/>
                <a:gd name="T91" fmla="*/ 15 h 2206"/>
                <a:gd name="T92" fmla="*/ 122 w 2800"/>
                <a:gd name="T93" fmla="*/ 22 h 2206"/>
                <a:gd name="T94" fmla="*/ 58 w 2800"/>
                <a:gd name="T95" fmla="*/ 26 h 2206"/>
                <a:gd name="T96" fmla="*/ 0 w 2800"/>
                <a:gd name="T97" fmla="*/ 29 h 220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00" h="2206">
                  <a:moveTo>
                    <a:pt x="0" y="152"/>
                  </a:moveTo>
                  <a:lnTo>
                    <a:pt x="118" y="387"/>
                  </a:lnTo>
                  <a:lnTo>
                    <a:pt x="247" y="452"/>
                  </a:lnTo>
                  <a:lnTo>
                    <a:pt x="363" y="518"/>
                  </a:lnTo>
                  <a:lnTo>
                    <a:pt x="333" y="608"/>
                  </a:lnTo>
                  <a:lnTo>
                    <a:pt x="388" y="771"/>
                  </a:lnTo>
                  <a:lnTo>
                    <a:pt x="513" y="845"/>
                  </a:lnTo>
                  <a:lnTo>
                    <a:pt x="535" y="1115"/>
                  </a:lnTo>
                  <a:lnTo>
                    <a:pt x="535" y="1431"/>
                  </a:lnTo>
                  <a:lnTo>
                    <a:pt x="562" y="1710"/>
                  </a:lnTo>
                  <a:lnTo>
                    <a:pt x="562" y="1895"/>
                  </a:lnTo>
                  <a:lnTo>
                    <a:pt x="618" y="2034"/>
                  </a:lnTo>
                  <a:lnTo>
                    <a:pt x="645" y="2160"/>
                  </a:lnTo>
                  <a:lnTo>
                    <a:pt x="1769" y="2014"/>
                  </a:lnTo>
                  <a:lnTo>
                    <a:pt x="2073" y="1982"/>
                  </a:lnTo>
                  <a:lnTo>
                    <a:pt x="2383" y="1920"/>
                  </a:lnTo>
                  <a:lnTo>
                    <a:pt x="2443" y="1980"/>
                  </a:lnTo>
                  <a:lnTo>
                    <a:pt x="2353" y="2100"/>
                  </a:lnTo>
                  <a:lnTo>
                    <a:pt x="2413" y="2160"/>
                  </a:lnTo>
                  <a:lnTo>
                    <a:pt x="2520" y="2206"/>
                  </a:lnTo>
                  <a:lnTo>
                    <a:pt x="2623" y="2160"/>
                  </a:lnTo>
                  <a:lnTo>
                    <a:pt x="2653" y="2100"/>
                  </a:lnTo>
                  <a:lnTo>
                    <a:pt x="2623" y="2010"/>
                  </a:lnTo>
                  <a:lnTo>
                    <a:pt x="2672" y="1918"/>
                  </a:lnTo>
                  <a:lnTo>
                    <a:pt x="2713" y="1830"/>
                  </a:lnTo>
                  <a:lnTo>
                    <a:pt x="2800" y="1790"/>
                  </a:lnTo>
                  <a:lnTo>
                    <a:pt x="2792" y="1710"/>
                  </a:lnTo>
                  <a:lnTo>
                    <a:pt x="2784" y="1614"/>
                  </a:lnTo>
                  <a:lnTo>
                    <a:pt x="2683" y="1560"/>
                  </a:lnTo>
                  <a:lnTo>
                    <a:pt x="2593" y="1440"/>
                  </a:lnTo>
                  <a:lnTo>
                    <a:pt x="2563" y="1290"/>
                  </a:lnTo>
                  <a:lnTo>
                    <a:pt x="2413" y="1170"/>
                  </a:lnTo>
                  <a:lnTo>
                    <a:pt x="2293" y="1110"/>
                  </a:lnTo>
                  <a:lnTo>
                    <a:pt x="2203" y="989"/>
                  </a:lnTo>
                  <a:lnTo>
                    <a:pt x="2248" y="878"/>
                  </a:lnTo>
                  <a:lnTo>
                    <a:pt x="2263" y="749"/>
                  </a:lnTo>
                  <a:lnTo>
                    <a:pt x="2184" y="702"/>
                  </a:lnTo>
                  <a:lnTo>
                    <a:pt x="2089" y="678"/>
                  </a:lnTo>
                  <a:lnTo>
                    <a:pt x="1994" y="599"/>
                  </a:lnTo>
                  <a:lnTo>
                    <a:pt x="1874" y="449"/>
                  </a:lnTo>
                  <a:lnTo>
                    <a:pt x="1777" y="390"/>
                  </a:lnTo>
                  <a:lnTo>
                    <a:pt x="1694" y="269"/>
                  </a:lnTo>
                  <a:lnTo>
                    <a:pt x="1659" y="110"/>
                  </a:lnTo>
                  <a:lnTo>
                    <a:pt x="1511" y="0"/>
                  </a:lnTo>
                  <a:lnTo>
                    <a:pt x="1373" y="23"/>
                  </a:lnTo>
                  <a:lnTo>
                    <a:pt x="1055" y="80"/>
                  </a:lnTo>
                  <a:lnTo>
                    <a:pt x="643" y="117"/>
                  </a:lnTo>
                  <a:lnTo>
                    <a:pt x="306" y="135"/>
                  </a:lnTo>
                  <a:lnTo>
                    <a:pt x="0" y="152"/>
                  </a:lnTo>
                  <a:close/>
                </a:path>
              </a:pathLst>
            </a:custGeom>
            <a:solidFill>
              <a:schemeClr val="accent6">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0" name="Freeform 22"/>
            <p:cNvSpPr>
              <a:spLocks/>
            </p:cNvSpPr>
            <p:nvPr/>
          </p:nvSpPr>
          <p:spPr bwMode="auto">
            <a:xfrm>
              <a:off x="4258691" y="4987248"/>
              <a:ext cx="439980" cy="444056"/>
            </a:xfrm>
            <a:custGeom>
              <a:avLst/>
              <a:gdLst>
                <a:gd name="T0" fmla="*/ 0 w 1990"/>
                <a:gd name="T1" fmla="*/ 45 h 2015"/>
                <a:gd name="T2" fmla="*/ 215 w 1990"/>
                <a:gd name="T3" fmla="*/ 18 h 2015"/>
                <a:gd name="T4" fmla="*/ 273 w 1990"/>
                <a:gd name="T5" fmla="*/ 12 h 2015"/>
                <a:gd name="T6" fmla="*/ 331 w 1990"/>
                <a:gd name="T7" fmla="*/ 0 h 2015"/>
                <a:gd name="T8" fmla="*/ 342 w 1990"/>
                <a:gd name="T9" fmla="*/ 12 h 2015"/>
                <a:gd name="T10" fmla="*/ 325 w 1990"/>
                <a:gd name="T11" fmla="*/ 34 h 2015"/>
                <a:gd name="T12" fmla="*/ 337 w 1990"/>
                <a:gd name="T13" fmla="*/ 46 h 2015"/>
                <a:gd name="T14" fmla="*/ 357 w 1990"/>
                <a:gd name="T15" fmla="*/ 54 h 2015"/>
                <a:gd name="T16" fmla="*/ 376 w 1990"/>
                <a:gd name="T17" fmla="*/ 45 h 2015"/>
                <a:gd name="T18" fmla="*/ 378 w 1990"/>
                <a:gd name="T19" fmla="*/ 63 h 2015"/>
                <a:gd name="T20" fmla="*/ 367 w 1990"/>
                <a:gd name="T21" fmla="*/ 77 h 2015"/>
                <a:gd name="T22" fmla="*/ 366 w 1990"/>
                <a:gd name="T23" fmla="*/ 94 h 2015"/>
                <a:gd name="T24" fmla="*/ 355 w 1990"/>
                <a:gd name="T25" fmla="*/ 106 h 2015"/>
                <a:gd name="T26" fmla="*/ 350 w 1990"/>
                <a:gd name="T27" fmla="*/ 143 h 2015"/>
                <a:gd name="T28" fmla="*/ 338 w 1990"/>
                <a:gd name="T29" fmla="*/ 163 h 2015"/>
                <a:gd name="T30" fmla="*/ 322 w 1990"/>
                <a:gd name="T31" fmla="*/ 209 h 2015"/>
                <a:gd name="T32" fmla="*/ 301 w 1990"/>
                <a:gd name="T33" fmla="*/ 238 h 2015"/>
                <a:gd name="T34" fmla="*/ 293 w 1990"/>
                <a:gd name="T35" fmla="*/ 274 h 2015"/>
                <a:gd name="T36" fmla="*/ 296 w 1990"/>
                <a:gd name="T37" fmla="*/ 329 h 2015"/>
                <a:gd name="T38" fmla="*/ 293 w 1990"/>
                <a:gd name="T39" fmla="*/ 359 h 2015"/>
                <a:gd name="T40" fmla="*/ 249 w 1990"/>
                <a:gd name="T41" fmla="*/ 365 h 2015"/>
                <a:gd name="T42" fmla="*/ 190 w 1990"/>
                <a:gd name="T43" fmla="*/ 365 h 2015"/>
                <a:gd name="T44" fmla="*/ 115 w 1990"/>
                <a:gd name="T45" fmla="*/ 368 h 2015"/>
                <a:gd name="T46" fmla="*/ 65 w 1990"/>
                <a:gd name="T47" fmla="*/ 382 h 2015"/>
                <a:gd name="T48" fmla="*/ 58 w 1990"/>
                <a:gd name="T49" fmla="*/ 363 h 2015"/>
                <a:gd name="T50" fmla="*/ 63 w 1990"/>
                <a:gd name="T51" fmla="*/ 344 h 2015"/>
                <a:gd name="T52" fmla="*/ 56 w 1990"/>
                <a:gd name="T53" fmla="*/ 322 h 2015"/>
                <a:gd name="T54" fmla="*/ 17 w 1990"/>
                <a:gd name="T55" fmla="*/ 322 h 2015"/>
                <a:gd name="T56" fmla="*/ 17 w 1990"/>
                <a:gd name="T57" fmla="*/ 168 h 2015"/>
                <a:gd name="T58" fmla="*/ 4 w 1990"/>
                <a:gd name="T59" fmla="*/ 110 h 2015"/>
                <a:gd name="T60" fmla="*/ 0 w 1990"/>
                <a:gd name="T61" fmla="*/ 71 h 2015"/>
                <a:gd name="T62" fmla="*/ 0 w 1990"/>
                <a:gd name="T63" fmla="*/ 45 h 20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90" h="2015">
                  <a:moveTo>
                    <a:pt x="2" y="240"/>
                  </a:moveTo>
                  <a:lnTo>
                    <a:pt x="1130" y="93"/>
                  </a:lnTo>
                  <a:lnTo>
                    <a:pt x="1435" y="62"/>
                  </a:lnTo>
                  <a:lnTo>
                    <a:pt x="1742" y="0"/>
                  </a:lnTo>
                  <a:lnTo>
                    <a:pt x="1798" y="61"/>
                  </a:lnTo>
                  <a:lnTo>
                    <a:pt x="1711" y="179"/>
                  </a:lnTo>
                  <a:lnTo>
                    <a:pt x="1775" y="243"/>
                  </a:lnTo>
                  <a:lnTo>
                    <a:pt x="1877" y="287"/>
                  </a:lnTo>
                  <a:lnTo>
                    <a:pt x="1979" y="240"/>
                  </a:lnTo>
                  <a:lnTo>
                    <a:pt x="1990" y="334"/>
                  </a:lnTo>
                  <a:lnTo>
                    <a:pt x="1934" y="406"/>
                  </a:lnTo>
                  <a:lnTo>
                    <a:pt x="1926" y="494"/>
                  </a:lnTo>
                  <a:lnTo>
                    <a:pt x="1870" y="558"/>
                  </a:lnTo>
                  <a:lnTo>
                    <a:pt x="1842" y="756"/>
                  </a:lnTo>
                  <a:lnTo>
                    <a:pt x="1782" y="862"/>
                  </a:lnTo>
                  <a:lnTo>
                    <a:pt x="1694" y="1102"/>
                  </a:lnTo>
                  <a:lnTo>
                    <a:pt x="1582" y="1254"/>
                  </a:lnTo>
                  <a:lnTo>
                    <a:pt x="1542" y="1446"/>
                  </a:lnTo>
                  <a:lnTo>
                    <a:pt x="1558" y="1734"/>
                  </a:lnTo>
                  <a:lnTo>
                    <a:pt x="1542" y="1894"/>
                  </a:lnTo>
                  <a:lnTo>
                    <a:pt x="1310" y="1926"/>
                  </a:lnTo>
                  <a:lnTo>
                    <a:pt x="1002" y="1926"/>
                  </a:lnTo>
                  <a:lnTo>
                    <a:pt x="607" y="1942"/>
                  </a:lnTo>
                  <a:lnTo>
                    <a:pt x="342" y="2015"/>
                  </a:lnTo>
                  <a:lnTo>
                    <a:pt x="303" y="1913"/>
                  </a:lnTo>
                  <a:lnTo>
                    <a:pt x="333" y="1814"/>
                  </a:lnTo>
                  <a:lnTo>
                    <a:pt x="297" y="1697"/>
                  </a:lnTo>
                  <a:lnTo>
                    <a:pt x="92" y="1701"/>
                  </a:lnTo>
                  <a:lnTo>
                    <a:pt x="92" y="888"/>
                  </a:lnTo>
                  <a:lnTo>
                    <a:pt x="21" y="578"/>
                  </a:lnTo>
                  <a:lnTo>
                    <a:pt x="0" y="377"/>
                  </a:lnTo>
                  <a:lnTo>
                    <a:pt x="2" y="240"/>
                  </a:lnTo>
                  <a:close/>
                </a:path>
              </a:pathLst>
            </a:custGeom>
            <a:solidFill>
              <a:srgbClr val="0070C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1" name="Freeform 23"/>
            <p:cNvSpPr>
              <a:spLocks/>
            </p:cNvSpPr>
            <p:nvPr/>
          </p:nvSpPr>
          <p:spPr bwMode="auto">
            <a:xfrm>
              <a:off x="6177004" y="5008012"/>
              <a:ext cx="589138" cy="549846"/>
            </a:xfrm>
            <a:custGeom>
              <a:avLst/>
              <a:gdLst>
                <a:gd name="T0" fmla="*/ 54 w 2329"/>
                <a:gd name="T1" fmla="*/ 9 h 1959"/>
                <a:gd name="T2" fmla="*/ 187 w 2329"/>
                <a:gd name="T3" fmla="*/ 6 h 1959"/>
                <a:gd name="T4" fmla="*/ 240 w 2329"/>
                <a:gd name="T5" fmla="*/ 21 h 1959"/>
                <a:gd name="T6" fmla="*/ 242 w 2329"/>
                <a:gd name="T7" fmla="*/ 48 h 1959"/>
                <a:gd name="T8" fmla="*/ 237 w 2329"/>
                <a:gd name="T9" fmla="*/ 80 h 1959"/>
                <a:gd name="T10" fmla="*/ 218 w 2329"/>
                <a:gd name="T11" fmla="*/ 128 h 1959"/>
                <a:gd name="T12" fmla="*/ 214 w 2329"/>
                <a:gd name="T13" fmla="*/ 176 h 1959"/>
                <a:gd name="T14" fmla="*/ 298 w 2329"/>
                <a:gd name="T15" fmla="*/ 177 h 1959"/>
                <a:gd name="T16" fmla="*/ 352 w 2329"/>
                <a:gd name="T17" fmla="*/ 166 h 1959"/>
                <a:gd name="T18" fmla="*/ 364 w 2329"/>
                <a:gd name="T19" fmla="*/ 190 h 1959"/>
                <a:gd name="T20" fmla="*/ 374 w 2329"/>
                <a:gd name="T21" fmla="*/ 216 h 1959"/>
                <a:gd name="T22" fmla="*/ 384 w 2329"/>
                <a:gd name="T23" fmla="*/ 239 h 1959"/>
                <a:gd name="T24" fmla="*/ 339 w 2329"/>
                <a:gd name="T25" fmla="*/ 222 h 1959"/>
                <a:gd name="T26" fmla="*/ 319 w 2329"/>
                <a:gd name="T27" fmla="*/ 252 h 1959"/>
                <a:gd name="T28" fmla="*/ 342 w 2329"/>
                <a:gd name="T29" fmla="*/ 264 h 1959"/>
                <a:gd name="T30" fmla="*/ 373 w 2329"/>
                <a:gd name="T31" fmla="*/ 250 h 1959"/>
                <a:gd name="T32" fmla="*/ 384 w 2329"/>
                <a:gd name="T33" fmla="*/ 259 h 1959"/>
                <a:gd name="T34" fmla="*/ 405 w 2329"/>
                <a:gd name="T35" fmla="*/ 254 h 1959"/>
                <a:gd name="T36" fmla="*/ 427 w 2329"/>
                <a:gd name="T37" fmla="*/ 267 h 1959"/>
                <a:gd name="T38" fmla="*/ 410 w 2329"/>
                <a:gd name="T39" fmla="*/ 292 h 1959"/>
                <a:gd name="T40" fmla="*/ 436 w 2329"/>
                <a:gd name="T41" fmla="*/ 320 h 1959"/>
                <a:gd name="T42" fmla="*/ 425 w 2329"/>
                <a:gd name="T43" fmla="*/ 362 h 1959"/>
                <a:gd name="T44" fmla="*/ 396 w 2329"/>
                <a:gd name="T45" fmla="*/ 333 h 1959"/>
                <a:gd name="T46" fmla="*/ 369 w 2329"/>
                <a:gd name="T47" fmla="*/ 320 h 1959"/>
                <a:gd name="T48" fmla="*/ 327 w 2329"/>
                <a:gd name="T49" fmla="*/ 296 h 1959"/>
                <a:gd name="T50" fmla="*/ 357 w 2329"/>
                <a:gd name="T51" fmla="*/ 341 h 1959"/>
                <a:gd name="T52" fmla="*/ 333 w 2329"/>
                <a:gd name="T53" fmla="*/ 361 h 1959"/>
                <a:gd name="T54" fmla="*/ 302 w 2329"/>
                <a:gd name="T55" fmla="*/ 353 h 1959"/>
                <a:gd name="T56" fmla="*/ 266 w 2329"/>
                <a:gd name="T57" fmla="*/ 369 h 1959"/>
                <a:gd name="T58" fmla="*/ 257 w 2329"/>
                <a:gd name="T59" fmla="*/ 342 h 1959"/>
                <a:gd name="T60" fmla="*/ 248 w 2329"/>
                <a:gd name="T61" fmla="*/ 298 h 1959"/>
                <a:gd name="T62" fmla="*/ 242 w 2329"/>
                <a:gd name="T63" fmla="*/ 330 h 1959"/>
                <a:gd name="T64" fmla="*/ 201 w 2329"/>
                <a:gd name="T65" fmla="*/ 309 h 1959"/>
                <a:gd name="T66" fmla="*/ 171 w 2329"/>
                <a:gd name="T67" fmla="*/ 336 h 1959"/>
                <a:gd name="T68" fmla="*/ 119 w 2329"/>
                <a:gd name="T69" fmla="*/ 326 h 1959"/>
                <a:gd name="T70" fmla="*/ 74 w 2329"/>
                <a:gd name="T71" fmla="*/ 330 h 1959"/>
                <a:gd name="T72" fmla="*/ 44 w 2329"/>
                <a:gd name="T73" fmla="*/ 284 h 1959"/>
                <a:gd name="T74" fmla="*/ 56 w 2329"/>
                <a:gd name="T75" fmla="*/ 215 h 1959"/>
                <a:gd name="T76" fmla="*/ 30 w 2329"/>
                <a:gd name="T77" fmla="*/ 146 h 1959"/>
                <a:gd name="T78" fmla="*/ 0 w 2329"/>
                <a:gd name="T79" fmla="*/ 93 h 1959"/>
                <a:gd name="T80" fmla="*/ 0 w 2329"/>
                <a:gd name="T81" fmla="*/ 50 h 195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9" h="1959">
                  <a:moveTo>
                    <a:pt x="16" y="123"/>
                  </a:moveTo>
                  <a:lnTo>
                    <a:pt x="283" y="48"/>
                  </a:lnTo>
                  <a:lnTo>
                    <a:pt x="694" y="33"/>
                  </a:lnTo>
                  <a:lnTo>
                    <a:pt x="988" y="32"/>
                  </a:lnTo>
                  <a:lnTo>
                    <a:pt x="1216" y="0"/>
                  </a:lnTo>
                  <a:lnTo>
                    <a:pt x="1267" y="108"/>
                  </a:lnTo>
                  <a:lnTo>
                    <a:pt x="1309" y="177"/>
                  </a:lnTo>
                  <a:lnTo>
                    <a:pt x="1279" y="252"/>
                  </a:lnTo>
                  <a:lnTo>
                    <a:pt x="1309" y="327"/>
                  </a:lnTo>
                  <a:lnTo>
                    <a:pt x="1249" y="420"/>
                  </a:lnTo>
                  <a:lnTo>
                    <a:pt x="1249" y="537"/>
                  </a:lnTo>
                  <a:lnTo>
                    <a:pt x="1153" y="672"/>
                  </a:lnTo>
                  <a:lnTo>
                    <a:pt x="1129" y="807"/>
                  </a:lnTo>
                  <a:lnTo>
                    <a:pt x="1129" y="927"/>
                  </a:lnTo>
                  <a:lnTo>
                    <a:pt x="1339" y="927"/>
                  </a:lnTo>
                  <a:lnTo>
                    <a:pt x="1573" y="930"/>
                  </a:lnTo>
                  <a:lnTo>
                    <a:pt x="1729" y="897"/>
                  </a:lnTo>
                  <a:lnTo>
                    <a:pt x="1861" y="876"/>
                  </a:lnTo>
                  <a:lnTo>
                    <a:pt x="1939" y="897"/>
                  </a:lnTo>
                  <a:lnTo>
                    <a:pt x="1921" y="1002"/>
                  </a:lnTo>
                  <a:lnTo>
                    <a:pt x="1939" y="1047"/>
                  </a:lnTo>
                  <a:lnTo>
                    <a:pt x="1975" y="1137"/>
                  </a:lnTo>
                  <a:lnTo>
                    <a:pt x="2035" y="1215"/>
                  </a:lnTo>
                  <a:lnTo>
                    <a:pt x="2029" y="1257"/>
                  </a:lnTo>
                  <a:lnTo>
                    <a:pt x="1909" y="1209"/>
                  </a:lnTo>
                  <a:lnTo>
                    <a:pt x="1789" y="1167"/>
                  </a:lnTo>
                  <a:lnTo>
                    <a:pt x="1609" y="1257"/>
                  </a:lnTo>
                  <a:lnTo>
                    <a:pt x="1687" y="1329"/>
                  </a:lnTo>
                  <a:lnTo>
                    <a:pt x="1729" y="1497"/>
                  </a:lnTo>
                  <a:lnTo>
                    <a:pt x="1807" y="1392"/>
                  </a:lnTo>
                  <a:lnTo>
                    <a:pt x="1867" y="1299"/>
                  </a:lnTo>
                  <a:lnTo>
                    <a:pt x="1969" y="1317"/>
                  </a:lnTo>
                  <a:lnTo>
                    <a:pt x="1969" y="1377"/>
                  </a:lnTo>
                  <a:lnTo>
                    <a:pt x="2029" y="1362"/>
                  </a:lnTo>
                  <a:lnTo>
                    <a:pt x="2071" y="1314"/>
                  </a:lnTo>
                  <a:lnTo>
                    <a:pt x="2137" y="1338"/>
                  </a:lnTo>
                  <a:lnTo>
                    <a:pt x="2209" y="1347"/>
                  </a:lnTo>
                  <a:lnTo>
                    <a:pt x="2257" y="1407"/>
                  </a:lnTo>
                  <a:lnTo>
                    <a:pt x="2209" y="1470"/>
                  </a:lnTo>
                  <a:lnTo>
                    <a:pt x="2167" y="1536"/>
                  </a:lnTo>
                  <a:lnTo>
                    <a:pt x="2179" y="1647"/>
                  </a:lnTo>
                  <a:lnTo>
                    <a:pt x="2305" y="1683"/>
                  </a:lnTo>
                  <a:lnTo>
                    <a:pt x="2329" y="1797"/>
                  </a:lnTo>
                  <a:lnTo>
                    <a:pt x="2245" y="1905"/>
                  </a:lnTo>
                  <a:lnTo>
                    <a:pt x="2161" y="1815"/>
                  </a:lnTo>
                  <a:lnTo>
                    <a:pt x="2089" y="1755"/>
                  </a:lnTo>
                  <a:lnTo>
                    <a:pt x="2011" y="1731"/>
                  </a:lnTo>
                  <a:lnTo>
                    <a:pt x="1951" y="1683"/>
                  </a:lnTo>
                  <a:lnTo>
                    <a:pt x="1789" y="1557"/>
                  </a:lnTo>
                  <a:lnTo>
                    <a:pt x="1729" y="1557"/>
                  </a:lnTo>
                  <a:lnTo>
                    <a:pt x="1837" y="1689"/>
                  </a:lnTo>
                  <a:lnTo>
                    <a:pt x="1885" y="1797"/>
                  </a:lnTo>
                  <a:lnTo>
                    <a:pt x="1825" y="1875"/>
                  </a:lnTo>
                  <a:lnTo>
                    <a:pt x="1759" y="1902"/>
                  </a:lnTo>
                  <a:lnTo>
                    <a:pt x="1705" y="1857"/>
                  </a:lnTo>
                  <a:lnTo>
                    <a:pt x="1597" y="1857"/>
                  </a:lnTo>
                  <a:lnTo>
                    <a:pt x="1537" y="1959"/>
                  </a:lnTo>
                  <a:lnTo>
                    <a:pt x="1405" y="1944"/>
                  </a:lnTo>
                  <a:lnTo>
                    <a:pt x="1369" y="1905"/>
                  </a:lnTo>
                  <a:lnTo>
                    <a:pt x="1357" y="1803"/>
                  </a:lnTo>
                  <a:lnTo>
                    <a:pt x="1399" y="1647"/>
                  </a:lnTo>
                  <a:lnTo>
                    <a:pt x="1309" y="1569"/>
                  </a:lnTo>
                  <a:lnTo>
                    <a:pt x="1321" y="1647"/>
                  </a:lnTo>
                  <a:lnTo>
                    <a:pt x="1279" y="1737"/>
                  </a:lnTo>
                  <a:lnTo>
                    <a:pt x="1177" y="1659"/>
                  </a:lnTo>
                  <a:lnTo>
                    <a:pt x="1063" y="1626"/>
                  </a:lnTo>
                  <a:lnTo>
                    <a:pt x="949" y="1677"/>
                  </a:lnTo>
                  <a:lnTo>
                    <a:pt x="901" y="1770"/>
                  </a:lnTo>
                  <a:lnTo>
                    <a:pt x="769" y="1797"/>
                  </a:lnTo>
                  <a:lnTo>
                    <a:pt x="631" y="1719"/>
                  </a:lnTo>
                  <a:lnTo>
                    <a:pt x="469" y="1677"/>
                  </a:lnTo>
                  <a:lnTo>
                    <a:pt x="391" y="1737"/>
                  </a:lnTo>
                  <a:lnTo>
                    <a:pt x="241" y="1751"/>
                  </a:lnTo>
                  <a:lnTo>
                    <a:pt x="234" y="1496"/>
                  </a:lnTo>
                  <a:lnTo>
                    <a:pt x="211" y="1214"/>
                  </a:lnTo>
                  <a:lnTo>
                    <a:pt x="297" y="1130"/>
                  </a:lnTo>
                  <a:lnTo>
                    <a:pt x="258" y="932"/>
                  </a:lnTo>
                  <a:lnTo>
                    <a:pt x="156" y="770"/>
                  </a:lnTo>
                  <a:lnTo>
                    <a:pt x="73" y="681"/>
                  </a:lnTo>
                  <a:lnTo>
                    <a:pt x="0" y="491"/>
                  </a:lnTo>
                  <a:lnTo>
                    <a:pt x="18" y="389"/>
                  </a:lnTo>
                  <a:lnTo>
                    <a:pt x="1" y="263"/>
                  </a:lnTo>
                  <a:lnTo>
                    <a:pt x="16" y="123"/>
                  </a:lnTo>
                  <a:close/>
                </a:path>
              </a:pathLst>
            </a:custGeom>
            <a:solidFill>
              <a:schemeClr val="accent2">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2" name="Freeform 24"/>
            <p:cNvSpPr>
              <a:spLocks/>
            </p:cNvSpPr>
            <p:nvPr/>
          </p:nvSpPr>
          <p:spPr bwMode="auto">
            <a:xfrm>
              <a:off x="4291431" y="3042871"/>
              <a:ext cx="361994" cy="598663"/>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rgbClr val="FEDC5E"/>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3" name="Freeform 25"/>
            <p:cNvSpPr>
              <a:spLocks/>
            </p:cNvSpPr>
            <p:nvPr/>
          </p:nvSpPr>
          <p:spPr bwMode="auto">
            <a:xfrm>
              <a:off x="4592652" y="2992827"/>
              <a:ext cx="277025" cy="494042"/>
            </a:xfrm>
            <a:custGeom>
              <a:avLst/>
              <a:gdLst>
                <a:gd name="T0" fmla="*/ 0 w 1255"/>
                <a:gd name="T1" fmla="*/ 49 h 2237"/>
                <a:gd name="T2" fmla="*/ 2 w 1255"/>
                <a:gd name="T3" fmla="*/ 86 h 2237"/>
                <a:gd name="T4" fmla="*/ 13 w 1255"/>
                <a:gd name="T5" fmla="*/ 123 h 2237"/>
                <a:gd name="T6" fmla="*/ 27 w 1255"/>
                <a:gd name="T7" fmla="*/ 158 h 2237"/>
                <a:gd name="T8" fmla="*/ 29 w 1255"/>
                <a:gd name="T9" fmla="*/ 192 h 2237"/>
                <a:gd name="T10" fmla="*/ 40 w 1255"/>
                <a:gd name="T11" fmla="*/ 231 h 2237"/>
                <a:gd name="T12" fmla="*/ 23 w 1255"/>
                <a:gd name="T13" fmla="*/ 262 h 2237"/>
                <a:gd name="T14" fmla="*/ 34 w 1255"/>
                <a:gd name="T15" fmla="*/ 335 h 2237"/>
                <a:gd name="T16" fmla="*/ 14 w 1255"/>
                <a:gd name="T17" fmla="*/ 386 h 2237"/>
                <a:gd name="T18" fmla="*/ 12 w 1255"/>
                <a:gd name="T19" fmla="*/ 425 h 2237"/>
                <a:gd name="T20" fmla="*/ 33 w 1255"/>
                <a:gd name="T21" fmla="*/ 414 h 2237"/>
                <a:gd name="T22" fmla="*/ 49 w 1255"/>
                <a:gd name="T23" fmla="*/ 399 h 2237"/>
                <a:gd name="T24" fmla="*/ 68 w 1255"/>
                <a:gd name="T25" fmla="*/ 412 h 2237"/>
                <a:gd name="T26" fmla="*/ 88 w 1255"/>
                <a:gd name="T27" fmla="*/ 393 h 2237"/>
                <a:gd name="T28" fmla="*/ 111 w 1255"/>
                <a:gd name="T29" fmla="*/ 382 h 2237"/>
                <a:gd name="T30" fmla="*/ 120 w 1255"/>
                <a:gd name="T31" fmla="*/ 363 h 2237"/>
                <a:gd name="T32" fmla="*/ 145 w 1255"/>
                <a:gd name="T33" fmla="*/ 371 h 2237"/>
                <a:gd name="T34" fmla="*/ 162 w 1255"/>
                <a:gd name="T35" fmla="*/ 348 h 2237"/>
                <a:gd name="T36" fmla="*/ 180 w 1255"/>
                <a:gd name="T37" fmla="*/ 321 h 2237"/>
                <a:gd name="T38" fmla="*/ 180 w 1255"/>
                <a:gd name="T39" fmla="*/ 300 h 2237"/>
                <a:gd name="T40" fmla="*/ 203 w 1255"/>
                <a:gd name="T41" fmla="*/ 286 h 2237"/>
                <a:gd name="T42" fmla="*/ 238 w 1255"/>
                <a:gd name="T43" fmla="*/ 280 h 2237"/>
                <a:gd name="T44" fmla="*/ 230 w 1255"/>
                <a:gd name="T45" fmla="*/ 260 h 2237"/>
                <a:gd name="T46" fmla="*/ 236 w 1255"/>
                <a:gd name="T47" fmla="*/ 234 h 2237"/>
                <a:gd name="T48" fmla="*/ 230 w 1255"/>
                <a:gd name="T49" fmla="*/ 195 h 2237"/>
                <a:gd name="T50" fmla="*/ 217 w 1255"/>
                <a:gd name="T51" fmla="*/ 160 h 2237"/>
                <a:gd name="T52" fmla="*/ 214 w 1255"/>
                <a:gd name="T53" fmla="*/ 108 h 2237"/>
                <a:gd name="T54" fmla="*/ 205 w 1255"/>
                <a:gd name="T55" fmla="*/ 90 h 2237"/>
                <a:gd name="T56" fmla="*/ 197 w 1255"/>
                <a:gd name="T57" fmla="*/ 69 h 2237"/>
                <a:gd name="T58" fmla="*/ 191 w 1255"/>
                <a:gd name="T59" fmla="*/ 52 h 2237"/>
                <a:gd name="T60" fmla="*/ 197 w 1255"/>
                <a:gd name="T61" fmla="*/ 37 h 2237"/>
                <a:gd name="T62" fmla="*/ 185 w 1255"/>
                <a:gd name="T63" fmla="*/ 11 h 2237"/>
                <a:gd name="T64" fmla="*/ 168 w 1255"/>
                <a:gd name="T65" fmla="*/ 0 h 2237"/>
                <a:gd name="T66" fmla="*/ 126 w 1255"/>
                <a:gd name="T67" fmla="*/ 8 h 2237"/>
                <a:gd name="T68" fmla="*/ 80 w 1255"/>
                <a:gd name="T69" fmla="*/ 17 h 2237"/>
                <a:gd name="T70" fmla="*/ 49 w 1255"/>
                <a:gd name="T71" fmla="*/ 22 h 2237"/>
                <a:gd name="T72" fmla="*/ 24 w 1255"/>
                <a:gd name="T73" fmla="*/ 35 h 2237"/>
                <a:gd name="T74" fmla="*/ 0 w 1255"/>
                <a:gd name="T75" fmla="*/ 49 h 2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55" h="2237">
                  <a:moveTo>
                    <a:pt x="0" y="260"/>
                  </a:moveTo>
                  <a:lnTo>
                    <a:pt x="9" y="452"/>
                  </a:lnTo>
                  <a:lnTo>
                    <a:pt x="70" y="645"/>
                  </a:lnTo>
                  <a:lnTo>
                    <a:pt x="144" y="833"/>
                  </a:lnTo>
                  <a:lnTo>
                    <a:pt x="151" y="1011"/>
                  </a:lnTo>
                  <a:lnTo>
                    <a:pt x="211" y="1217"/>
                  </a:lnTo>
                  <a:lnTo>
                    <a:pt x="120" y="1379"/>
                  </a:lnTo>
                  <a:lnTo>
                    <a:pt x="181" y="1763"/>
                  </a:lnTo>
                  <a:lnTo>
                    <a:pt x="73" y="2033"/>
                  </a:lnTo>
                  <a:lnTo>
                    <a:pt x="64" y="2237"/>
                  </a:lnTo>
                  <a:lnTo>
                    <a:pt x="176" y="2178"/>
                  </a:lnTo>
                  <a:lnTo>
                    <a:pt x="256" y="2101"/>
                  </a:lnTo>
                  <a:lnTo>
                    <a:pt x="360" y="2170"/>
                  </a:lnTo>
                  <a:lnTo>
                    <a:pt x="466" y="2071"/>
                  </a:lnTo>
                  <a:lnTo>
                    <a:pt x="586" y="2011"/>
                  </a:lnTo>
                  <a:lnTo>
                    <a:pt x="631" y="1913"/>
                  </a:lnTo>
                  <a:lnTo>
                    <a:pt x="766" y="1951"/>
                  </a:lnTo>
                  <a:lnTo>
                    <a:pt x="855" y="1833"/>
                  </a:lnTo>
                  <a:lnTo>
                    <a:pt x="951" y="1689"/>
                  </a:lnTo>
                  <a:lnTo>
                    <a:pt x="951" y="1577"/>
                  </a:lnTo>
                  <a:lnTo>
                    <a:pt x="1071" y="1505"/>
                  </a:lnTo>
                  <a:lnTo>
                    <a:pt x="1255" y="1473"/>
                  </a:lnTo>
                  <a:lnTo>
                    <a:pt x="1215" y="1369"/>
                  </a:lnTo>
                  <a:lnTo>
                    <a:pt x="1246" y="1231"/>
                  </a:lnTo>
                  <a:lnTo>
                    <a:pt x="1215" y="1025"/>
                  </a:lnTo>
                  <a:lnTo>
                    <a:pt x="1143" y="841"/>
                  </a:lnTo>
                  <a:lnTo>
                    <a:pt x="1126" y="570"/>
                  </a:lnTo>
                  <a:lnTo>
                    <a:pt x="1079" y="473"/>
                  </a:lnTo>
                  <a:lnTo>
                    <a:pt x="1039" y="361"/>
                  </a:lnTo>
                  <a:lnTo>
                    <a:pt x="1007" y="273"/>
                  </a:lnTo>
                  <a:lnTo>
                    <a:pt x="1039" y="193"/>
                  </a:lnTo>
                  <a:lnTo>
                    <a:pt x="976" y="60"/>
                  </a:lnTo>
                  <a:lnTo>
                    <a:pt x="886" y="0"/>
                  </a:lnTo>
                  <a:lnTo>
                    <a:pt x="663" y="41"/>
                  </a:lnTo>
                  <a:lnTo>
                    <a:pt x="423" y="89"/>
                  </a:lnTo>
                  <a:lnTo>
                    <a:pt x="256" y="114"/>
                  </a:lnTo>
                  <a:lnTo>
                    <a:pt x="127" y="185"/>
                  </a:lnTo>
                  <a:lnTo>
                    <a:pt x="0" y="260"/>
                  </a:lnTo>
                  <a:close/>
                </a:path>
              </a:pathLst>
            </a:custGeom>
            <a:solidFill>
              <a:schemeClr val="accent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79646"/>
                </a:solidFill>
                <a:effectLst/>
                <a:uLnTx/>
                <a:uFillTx/>
                <a:latin typeface="Calibri"/>
                <a:ea typeface="宋体" panose="02010600030101010101" pitchFamily="2" charset="-122"/>
                <a:cs typeface="+mn-cs"/>
              </a:endParaRPr>
            </a:p>
          </p:txBody>
        </p:sp>
        <p:sp>
          <p:nvSpPr>
            <p:cNvPr id="24" name="Freeform 26"/>
            <p:cNvSpPr>
              <a:spLocks/>
            </p:cNvSpPr>
            <p:nvPr/>
          </p:nvSpPr>
          <p:spPr bwMode="auto">
            <a:xfrm>
              <a:off x="4811529" y="2846145"/>
              <a:ext cx="395869" cy="557750"/>
            </a:xfrm>
            <a:custGeom>
              <a:avLst/>
              <a:gdLst>
                <a:gd name="T0" fmla="*/ 0 w 1707"/>
                <a:gd name="T1" fmla="*/ 109 h 1934"/>
                <a:gd name="T2" fmla="*/ 23 w 1707"/>
                <a:gd name="T3" fmla="*/ 94 h 1934"/>
                <a:gd name="T4" fmla="*/ 60 w 1707"/>
                <a:gd name="T5" fmla="*/ 93 h 1934"/>
                <a:gd name="T6" fmla="*/ 60 w 1707"/>
                <a:gd name="T7" fmla="*/ 85 h 1934"/>
                <a:gd name="T8" fmla="*/ 96 w 1707"/>
                <a:gd name="T9" fmla="*/ 82 h 1934"/>
                <a:gd name="T10" fmla="*/ 122 w 1707"/>
                <a:gd name="T11" fmla="*/ 90 h 1934"/>
                <a:gd name="T12" fmla="*/ 153 w 1707"/>
                <a:gd name="T13" fmla="*/ 99 h 1934"/>
                <a:gd name="T14" fmla="*/ 218 w 1707"/>
                <a:gd name="T15" fmla="*/ 59 h 1934"/>
                <a:gd name="T16" fmla="*/ 295 w 1707"/>
                <a:gd name="T17" fmla="*/ 0 h 1934"/>
                <a:gd name="T18" fmla="*/ 318 w 1707"/>
                <a:gd name="T19" fmla="*/ 82 h 1934"/>
                <a:gd name="T20" fmla="*/ 321 w 1707"/>
                <a:gd name="T21" fmla="*/ 140 h 1934"/>
                <a:gd name="T22" fmla="*/ 324 w 1707"/>
                <a:gd name="T23" fmla="*/ 190 h 1934"/>
                <a:gd name="T24" fmla="*/ 312 w 1707"/>
                <a:gd name="T25" fmla="*/ 225 h 1934"/>
                <a:gd name="T26" fmla="*/ 292 w 1707"/>
                <a:gd name="T27" fmla="*/ 250 h 1934"/>
                <a:gd name="T28" fmla="*/ 272 w 1707"/>
                <a:gd name="T29" fmla="*/ 265 h 1934"/>
                <a:gd name="T30" fmla="*/ 275 w 1707"/>
                <a:gd name="T31" fmla="*/ 284 h 1934"/>
                <a:gd name="T32" fmla="*/ 268 w 1707"/>
                <a:gd name="T33" fmla="*/ 302 h 1934"/>
                <a:gd name="T34" fmla="*/ 250 w 1707"/>
                <a:gd name="T35" fmla="*/ 299 h 1934"/>
                <a:gd name="T36" fmla="*/ 250 w 1707"/>
                <a:gd name="T37" fmla="*/ 325 h 1934"/>
                <a:gd name="T38" fmla="*/ 244 w 1707"/>
                <a:gd name="T39" fmla="*/ 344 h 1934"/>
                <a:gd name="T40" fmla="*/ 221 w 1707"/>
                <a:gd name="T41" fmla="*/ 367 h 1934"/>
                <a:gd name="T42" fmla="*/ 206 w 1707"/>
                <a:gd name="T43" fmla="*/ 349 h 1934"/>
                <a:gd name="T44" fmla="*/ 184 w 1707"/>
                <a:gd name="T45" fmla="*/ 332 h 1934"/>
                <a:gd name="T46" fmla="*/ 168 w 1707"/>
                <a:gd name="T47" fmla="*/ 349 h 1934"/>
                <a:gd name="T48" fmla="*/ 147 w 1707"/>
                <a:gd name="T49" fmla="*/ 356 h 1934"/>
                <a:gd name="T50" fmla="*/ 113 w 1707"/>
                <a:gd name="T51" fmla="*/ 356 h 1934"/>
                <a:gd name="T52" fmla="*/ 83 w 1707"/>
                <a:gd name="T53" fmla="*/ 352 h 1934"/>
                <a:gd name="T54" fmla="*/ 52 w 1707"/>
                <a:gd name="T55" fmla="*/ 332 h 1934"/>
                <a:gd name="T56" fmla="*/ 46 w 1707"/>
                <a:gd name="T57" fmla="*/ 293 h 1934"/>
                <a:gd name="T58" fmla="*/ 32 w 1707"/>
                <a:gd name="T59" fmla="*/ 258 h 1934"/>
                <a:gd name="T60" fmla="*/ 29 w 1707"/>
                <a:gd name="T61" fmla="*/ 206 h 1934"/>
                <a:gd name="T62" fmla="*/ 20 w 1707"/>
                <a:gd name="T63" fmla="*/ 189 h 1934"/>
                <a:gd name="T64" fmla="*/ 7 w 1707"/>
                <a:gd name="T65" fmla="*/ 150 h 1934"/>
                <a:gd name="T66" fmla="*/ 13 w 1707"/>
                <a:gd name="T67" fmla="*/ 135 h 1934"/>
                <a:gd name="T68" fmla="*/ 0 w 1707"/>
                <a:gd name="T69" fmla="*/ 109 h 19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07" h="1934">
                  <a:moveTo>
                    <a:pt x="0" y="575"/>
                  </a:moveTo>
                  <a:lnTo>
                    <a:pt x="123" y="496"/>
                  </a:lnTo>
                  <a:lnTo>
                    <a:pt x="315" y="488"/>
                  </a:lnTo>
                  <a:lnTo>
                    <a:pt x="315" y="448"/>
                  </a:lnTo>
                  <a:lnTo>
                    <a:pt x="507" y="432"/>
                  </a:lnTo>
                  <a:lnTo>
                    <a:pt x="643" y="472"/>
                  </a:lnTo>
                  <a:lnTo>
                    <a:pt x="805" y="523"/>
                  </a:lnTo>
                  <a:lnTo>
                    <a:pt x="1147" y="312"/>
                  </a:lnTo>
                  <a:lnTo>
                    <a:pt x="1555" y="0"/>
                  </a:lnTo>
                  <a:lnTo>
                    <a:pt x="1675" y="433"/>
                  </a:lnTo>
                  <a:lnTo>
                    <a:pt x="1691" y="736"/>
                  </a:lnTo>
                  <a:lnTo>
                    <a:pt x="1707" y="1000"/>
                  </a:lnTo>
                  <a:lnTo>
                    <a:pt x="1645" y="1184"/>
                  </a:lnTo>
                  <a:lnTo>
                    <a:pt x="1539" y="1320"/>
                  </a:lnTo>
                  <a:lnTo>
                    <a:pt x="1435" y="1394"/>
                  </a:lnTo>
                  <a:lnTo>
                    <a:pt x="1451" y="1496"/>
                  </a:lnTo>
                  <a:lnTo>
                    <a:pt x="1411" y="1592"/>
                  </a:lnTo>
                  <a:lnTo>
                    <a:pt x="1315" y="1574"/>
                  </a:lnTo>
                  <a:lnTo>
                    <a:pt x="1315" y="1712"/>
                  </a:lnTo>
                  <a:lnTo>
                    <a:pt x="1285" y="1814"/>
                  </a:lnTo>
                  <a:lnTo>
                    <a:pt x="1165" y="1934"/>
                  </a:lnTo>
                  <a:lnTo>
                    <a:pt x="1083" y="1840"/>
                  </a:lnTo>
                  <a:lnTo>
                    <a:pt x="971" y="1752"/>
                  </a:lnTo>
                  <a:lnTo>
                    <a:pt x="883" y="1840"/>
                  </a:lnTo>
                  <a:lnTo>
                    <a:pt x="775" y="1874"/>
                  </a:lnTo>
                  <a:lnTo>
                    <a:pt x="595" y="1874"/>
                  </a:lnTo>
                  <a:lnTo>
                    <a:pt x="435" y="1856"/>
                  </a:lnTo>
                  <a:lnTo>
                    <a:pt x="275" y="1750"/>
                  </a:lnTo>
                  <a:lnTo>
                    <a:pt x="242" y="1544"/>
                  </a:lnTo>
                  <a:lnTo>
                    <a:pt x="170" y="1361"/>
                  </a:lnTo>
                  <a:lnTo>
                    <a:pt x="153" y="1085"/>
                  </a:lnTo>
                  <a:lnTo>
                    <a:pt x="107" y="998"/>
                  </a:lnTo>
                  <a:lnTo>
                    <a:pt x="35" y="791"/>
                  </a:lnTo>
                  <a:lnTo>
                    <a:pt x="66" y="710"/>
                  </a:lnTo>
                  <a:lnTo>
                    <a:pt x="0" y="575"/>
                  </a:lnTo>
                  <a:close/>
                </a:path>
              </a:pathLst>
            </a:custGeom>
            <a:solidFill>
              <a:srgbClr val="FFC00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5" name="Freeform 27"/>
            <p:cNvSpPr>
              <a:spLocks/>
            </p:cNvSpPr>
            <p:nvPr/>
          </p:nvSpPr>
          <p:spPr bwMode="auto">
            <a:xfrm>
              <a:off x="4440994" y="3317523"/>
              <a:ext cx="682454" cy="361522"/>
            </a:xfrm>
            <a:custGeom>
              <a:avLst/>
              <a:gdLst>
                <a:gd name="T0" fmla="*/ 0 w 2741"/>
                <a:gd name="T1" fmla="*/ 264 h 1641"/>
                <a:gd name="T2" fmla="*/ 19 w 2741"/>
                <a:gd name="T3" fmla="*/ 275 h 1641"/>
                <a:gd name="T4" fmla="*/ 22 w 2741"/>
                <a:gd name="T5" fmla="*/ 308 h 1641"/>
                <a:gd name="T6" fmla="*/ 45 w 2741"/>
                <a:gd name="T7" fmla="*/ 311 h 1641"/>
                <a:gd name="T8" fmla="*/ 66 w 2741"/>
                <a:gd name="T9" fmla="*/ 305 h 1641"/>
                <a:gd name="T10" fmla="*/ 93 w 2741"/>
                <a:gd name="T11" fmla="*/ 304 h 1641"/>
                <a:gd name="T12" fmla="*/ 124 w 2741"/>
                <a:gd name="T13" fmla="*/ 292 h 1641"/>
                <a:gd name="T14" fmla="*/ 155 w 2741"/>
                <a:gd name="T15" fmla="*/ 279 h 1641"/>
                <a:gd name="T16" fmla="*/ 189 w 2741"/>
                <a:gd name="T17" fmla="*/ 280 h 1641"/>
                <a:gd name="T18" fmla="*/ 240 w 2741"/>
                <a:gd name="T19" fmla="*/ 264 h 1641"/>
                <a:gd name="T20" fmla="*/ 313 w 2741"/>
                <a:gd name="T21" fmla="*/ 250 h 1641"/>
                <a:gd name="T22" fmla="*/ 357 w 2741"/>
                <a:gd name="T23" fmla="*/ 244 h 1641"/>
                <a:gd name="T24" fmla="*/ 412 w 2741"/>
                <a:gd name="T25" fmla="*/ 235 h 1641"/>
                <a:gd name="T26" fmla="*/ 456 w 2741"/>
                <a:gd name="T27" fmla="*/ 222 h 1641"/>
                <a:gd name="T28" fmla="*/ 513 w 2741"/>
                <a:gd name="T29" fmla="*/ 209 h 1641"/>
                <a:gd name="T30" fmla="*/ 518 w 2741"/>
                <a:gd name="T31" fmla="*/ 193 h 1641"/>
                <a:gd name="T32" fmla="*/ 507 w 2741"/>
                <a:gd name="T33" fmla="*/ 165 h 1641"/>
                <a:gd name="T34" fmla="*/ 518 w 2741"/>
                <a:gd name="T35" fmla="*/ 145 h 1641"/>
                <a:gd name="T36" fmla="*/ 520 w 2741"/>
                <a:gd name="T37" fmla="*/ 121 h 1641"/>
                <a:gd name="T38" fmla="*/ 517 w 2741"/>
                <a:gd name="T39" fmla="*/ 97 h 1641"/>
                <a:gd name="T40" fmla="*/ 496 w 2741"/>
                <a:gd name="T41" fmla="*/ 80 h 1641"/>
                <a:gd name="T42" fmla="*/ 493 w 2741"/>
                <a:gd name="T43" fmla="*/ 47 h 1641"/>
                <a:gd name="T44" fmla="*/ 482 w 2741"/>
                <a:gd name="T45" fmla="*/ 34 h 1641"/>
                <a:gd name="T46" fmla="*/ 469 w 2741"/>
                <a:gd name="T47" fmla="*/ 19 h 1641"/>
                <a:gd name="T48" fmla="*/ 445 w 2741"/>
                <a:gd name="T49" fmla="*/ 0 h 1641"/>
                <a:gd name="T50" fmla="*/ 430 w 2741"/>
                <a:gd name="T51" fmla="*/ 16 h 1641"/>
                <a:gd name="T52" fmla="*/ 409 w 2741"/>
                <a:gd name="T53" fmla="*/ 23 h 1641"/>
                <a:gd name="T54" fmla="*/ 375 w 2741"/>
                <a:gd name="T55" fmla="*/ 23 h 1641"/>
                <a:gd name="T56" fmla="*/ 344 w 2741"/>
                <a:gd name="T57" fmla="*/ 20 h 1641"/>
                <a:gd name="T58" fmla="*/ 313 w 2741"/>
                <a:gd name="T59" fmla="*/ 0 h 1641"/>
                <a:gd name="T60" fmla="*/ 307 w 2741"/>
                <a:gd name="T61" fmla="*/ 26 h 1641"/>
                <a:gd name="T62" fmla="*/ 315 w 2741"/>
                <a:gd name="T63" fmla="*/ 46 h 1641"/>
                <a:gd name="T64" fmla="*/ 280 w 2741"/>
                <a:gd name="T65" fmla="*/ 52 h 1641"/>
                <a:gd name="T66" fmla="*/ 257 w 2741"/>
                <a:gd name="T67" fmla="*/ 65 h 1641"/>
                <a:gd name="T68" fmla="*/ 257 w 2741"/>
                <a:gd name="T69" fmla="*/ 87 h 1641"/>
                <a:gd name="T70" fmla="*/ 241 w 2741"/>
                <a:gd name="T71" fmla="*/ 111 h 1641"/>
                <a:gd name="T72" fmla="*/ 223 w 2741"/>
                <a:gd name="T73" fmla="*/ 136 h 1641"/>
                <a:gd name="T74" fmla="*/ 196 w 2741"/>
                <a:gd name="T75" fmla="*/ 129 h 1641"/>
                <a:gd name="T76" fmla="*/ 188 w 2741"/>
                <a:gd name="T77" fmla="*/ 148 h 1641"/>
                <a:gd name="T78" fmla="*/ 165 w 2741"/>
                <a:gd name="T79" fmla="*/ 159 h 1641"/>
                <a:gd name="T80" fmla="*/ 145 w 2741"/>
                <a:gd name="T81" fmla="*/ 178 h 1641"/>
                <a:gd name="T82" fmla="*/ 126 w 2741"/>
                <a:gd name="T83" fmla="*/ 165 h 1641"/>
                <a:gd name="T84" fmla="*/ 111 w 2741"/>
                <a:gd name="T85" fmla="*/ 179 h 1641"/>
                <a:gd name="T86" fmla="*/ 89 w 2741"/>
                <a:gd name="T87" fmla="*/ 190 h 1641"/>
                <a:gd name="T88" fmla="*/ 91 w 2741"/>
                <a:gd name="T89" fmla="*/ 210 h 1641"/>
                <a:gd name="T90" fmla="*/ 78 w 2741"/>
                <a:gd name="T91" fmla="*/ 225 h 1641"/>
                <a:gd name="T92" fmla="*/ 60 w 2741"/>
                <a:gd name="T93" fmla="*/ 237 h 1641"/>
                <a:gd name="T94" fmla="*/ 40 w 2741"/>
                <a:gd name="T95" fmla="*/ 248 h 1641"/>
                <a:gd name="T96" fmla="*/ 0 w 2741"/>
                <a:gd name="T97" fmla="*/ 264 h 1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741" h="1641">
                  <a:moveTo>
                    <a:pt x="0" y="1394"/>
                  </a:moveTo>
                  <a:lnTo>
                    <a:pt x="100" y="1452"/>
                  </a:lnTo>
                  <a:lnTo>
                    <a:pt x="117" y="1626"/>
                  </a:lnTo>
                  <a:lnTo>
                    <a:pt x="237" y="1641"/>
                  </a:lnTo>
                  <a:lnTo>
                    <a:pt x="350" y="1611"/>
                  </a:lnTo>
                  <a:lnTo>
                    <a:pt x="488" y="1605"/>
                  </a:lnTo>
                  <a:lnTo>
                    <a:pt x="656" y="1539"/>
                  </a:lnTo>
                  <a:lnTo>
                    <a:pt x="818" y="1473"/>
                  </a:lnTo>
                  <a:lnTo>
                    <a:pt x="998" y="1479"/>
                  </a:lnTo>
                  <a:lnTo>
                    <a:pt x="1267" y="1395"/>
                  </a:lnTo>
                  <a:lnTo>
                    <a:pt x="1651" y="1317"/>
                  </a:lnTo>
                  <a:lnTo>
                    <a:pt x="1884" y="1287"/>
                  </a:lnTo>
                  <a:lnTo>
                    <a:pt x="2172" y="1239"/>
                  </a:lnTo>
                  <a:lnTo>
                    <a:pt x="2402" y="1172"/>
                  </a:lnTo>
                  <a:lnTo>
                    <a:pt x="2705" y="1101"/>
                  </a:lnTo>
                  <a:lnTo>
                    <a:pt x="2729" y="1017"/>
                  </a:lnTo>
                  <a:lnTo>
                    <a:pt x="2672" y="872"/>
                  </a:lnTo>
                  <a:lnTo>
                    <a:pt x="2729" y="765"/>
                  </a:lnTo>
                  <a:lnTo>
                    <a:pt x="2741" y="639"/>
                  </a:lnTo>
                  <a:lnTo>
                    <a:pt x="2723" y="513"/>
                  </a:lnTo>
                  <a:lnTo>
                    <a:pt x="2615" y="423"/>
                  </a:lnTo>
                  <a:lnTo>
                    <a:pt x="2597" y="249"/>
                  </a:lnTo>
                  <a:lnTo>
                    <a:pt x="2540" y="182"/>
                  </a:lnTo>
                  <a:lnTo>
                    <a:pt x="2470" y="99"/>
                  </a:lnTo>
                  <a:lnTo>
                    <a:pt x="2347" y="2"/>
                  </a:lnTo>
                  <a:lnTo>
                    <a:pt x="2266" y="87"/>
                  </a:lnTo>
                  <a:lnTo>
                    <a:pt x="2154" y="123"/>
                  </a:lnTo>
                  <a:lnTo>
                    <a:pt x="1976" y="123"/>
                  </a:lnTo>
                  <a:lnTo>
                    <a:pt x="1813" y="107"/>
                  </a:lnTo>
                  <a:lnTo>
                    <a:pt x="1651" y="0"/>
                  </a:lnTo>
                  <a:lnTo>
                    <a:pt x="1620" y="138"/>
                  </a:lnTo>
                  <a:lnTo>
                    <a:pt x="1659" y="242"/>
                  </a:lnTo>
                  <a:lnTo>
                    <a:pt x="1476" y="272"/>
                  </a:lnTo>
                  <a:lnTo>
                    <a:pt x="1357" y="344"/>
                  </a:lnTo>
                  <a:lnTo>
                    <a:pt x="1356" y="458"/>
                  </a:lnTo>
                  <a:lnTo>
                    <a:pt x="1269" y="588"/>
                  </a:lnTo>
                  <a:lnTo>
                    <a:pt x="1173" y="717"/>
                  </a:lnTo>
                  <a:lnTo>
                    <a:pt x="1035" y="681"/>
                  </a:lnTo>
                  <a:lnTo>
                    <a:pt x="992" y="780"/>
                  </a:lnTo>
                  <a:lnTo>
                    <a:pt x="871" y="837"/>
                  </a:lnTo>
                  <a:lnTo>
                    <a:pt x="766" y="938"/>
                  </a:lnTo>
                  <a:lnTo>
                    <a:pt x="662" y="870"/>
                  </a:lnTo>
                  <a:lnTo>
                    <a:pt x="583" y="944"/>
                  </a:lnTo>
                  <a:lnTo>
                    <a:pt x="471" y="1005"/>
                  </a:lnTo>
                  <a:lnTo>
                    <a:pt x="479" y="1106"/>
                  </a:lnTo>
                  <a:lnTo>
                    <a:pt x="409" y="1185"/>
                  </a:lnTo>
                  <a:lnTo>
                    <a:pt x="315" y="1250"/>
                  </a:lnTo>
                  <a:lnTo>
                    <a:pt x="213" y="1307"/>
                  </a:lnTo>
                  <a:lnTo>
                    <a:pt x="0" y="1394"/>
                  </a:lnTo>
                  <a:close/>
                </a:path>
              </a:pathLst>
            </a:custGeom>
            <a:solidFill>
              <a:schemeClr val="accent6">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6" name="Freeform 28"/>
            <p:cNvSpPr>
              <a:spLocks/>
            </p:cNvSpPr>
            <p:nvPr/>
          </p:nvSpPr>
          <p:spPr bwMode="auto">
            <a:xfrm>
              <a:off x="6404488" y="4536715"/>
              <a:ext cx="727480" cy="333623"/>
            </a:xfrm>
            <a:custGeom>
              <a:avLst/>
              <a:gdLst>
                <a:gd name="T0" fmla="*/ 27 w 3296"/>
                <a:gd name="T1" fmla="*/ 190 h 1514"/>
                <a:gd name="T2" fmla="*/ 28 w 3296"/>
                <a:gd name="T3" fmla="*/ 207 h 1514"/>
                <a:gd name="T4" fmla="*/ 17 w 3296"/>
                <a:gd name="T5" fmla="*/ 222 h 1514"/>
                <a:gd name="T6" fmla="*/ 16 w 3296"/>
                <a:gd name="T7" fmla="*/ 238 h 1514"/>
                <a:gd name="T8" fmla="*/ 5 w 3296"/>
                <a:gd name="T9" fmla="*/ 250 h 1514"/>
                <a:gd name="T10" fmla="*/ 0 w 3296"/>
                <a:gd name="T11" fmla="*/ 287 h 1514"/>
                <a:gd name="T12" fmla="*/ 10 w 3296"/>
                <a:gd name="T13" fmla="*/ 286 h 1514"/>
                <a:gd name="T14" fmla="*/ 44 w 3296"/>
                <a:gd name="T15" fmla="*/ 280 h 1514"/>
                <a:gd name="T16" fmla="*/ 77 w 3296"/>
                <a:gd name="T17" fmla="*/ 277 h 1514"/>
                <a:gd name="T18" fmla="*/ 97 w 3296"/>
                <a:gd name="T19" fmla="*/ 273 h 1514"/>
                <a:gd name="T20" fmla="*/ 114 w 3296"/>
                <a:gd name="T21" fmla="*/ 273 h 1514"/>
                <a:gd name="T22" fmla="*/ 143 w 3296"/>
                <a:gd name="T23" fmla="*/ 272 h 1514"/>
                <a:gd name="T24" fmla="*/ 157 w 3296"/>
                <a:gd name="T25" fmla="*/ 261 h 1514"/>
                <a:gd name="T26" fmla="*/ 162 w 3296"/>
                <a:gd name="T27" fmla="*/ 250 h 1514"/>
                <a:gd name="T28" fmla="*/ 181 w 3296"/>
                <a:gd name="T29" fmla="*/ 255 h 1514"/>
                <a:gd name="T30" fmla="*/ 196 w 3296"/>
                <a:gd name="T31" fmla="*/ 244 h 1514"/>
                <a:gd name="T32" fmla="*/ 208 w 3296"/>
                <a:gd name="T33" fmla="*/ 248 h 1514"/>
                <a:gd name="T34" fmla="*/ 211 w 3296"/>
                <a:gd name="T35" fmla="*/ 260 h 1514"/>
                <a:gd name="T36" fmla="*/ 236 w 3296"/>
                <a:gd name="T37" fmla="*/ 256 h 1514"/>
                <a:gd name="T38" fmla="*/ 275 w 3296"/>
                <a:gd name="T39" fmla="*/ 244 h 1514"/>
                <a:gd name="T40" fmla="*/ 302 w 3296"/>
                <a:gd name="T41" fmla="*/ 241 h 1514"/>
                <a:gd name="T42" fmla="*/ 338 w 3296"/>
                <a:gd name="T43" fmla="*/ 228 h 1514"/>
                <a:gd name="T44" fmla="*/ 373 w 3296"/>
                <a:gd name="T45" fmla="*/ 227 h 1514"/>
                <a:gd name="T46" fmla="*/ 396 w 3296"/>
                <a:gd name="T47" fmla="*/ 216 h 1514"/>
                <a:gd name="T48" fmla="*/ 426 w 3296"/>
                <a:gd name="T49" fmla="*/ 218 h 1514"/>
                <a:gd name="T50" fmla="*/ 447 w 3296"/>
                <a:gd name="T51" fmla="*/ 204 h 1514"/>
                <a:gd name="T52" fmla="*/ 447 w 3296"/>
                <a:gd name="T53" fmla="*/ 176 h 1514"/>
                <a:gd name="T54" fmla="*/ 464 w 3296"/>
                <a:gd name="T55" fmla="*/ 171 h 1514"/>
                <a:gd name="T56" fmla="*/ 479 w 3296"/>
                <a:gd name="T57" fmla="*/ 146 h 1514"/>
                <a:gd name="T58" fmla="*/ 550 w 3296"/>
                <a:gd name="T59" fmla="*/ 92 h 1514"/>
                <a:gd name="T60" fmla="*/ 543 w 3296"/>
                <a:gd name="T61" fmla="*/ 74 h 1514"/>
                <a:gd name="T62" fmla="*/ 612 w 3296"/>
                <a:gd name="T63" fmla="*/ 39 h 1514"/>
                <a:gd name="T64" fmla="*/ 625 w 3296"/>
                <a:gd name="T65" fmla="*/ 21 h 1514"/>
                <a:gd name="T66" fmla="*/ 624 w 3296"/>
                <a:gd name="T67" fmla="*/ 0 h 1514"/>
                <a:gd name="T68" fmla="*/ 598 w 3296"/>
                <a:gd name="T69" fmla="*/ 12 h 1514"/>
                <a:gd name="T70" fmla="*/ 551 w 3296"/>
                <a:gd name="T71" fmla="*/ 20 h 1514"/>
                <a:gd name="T72" fmla="*/ 491 w 3296"/>
                <a:gd name="T73" fmla="*/ 35 h 1514"/>
                <a:gd name="T74" fmla="*/ 450 w 3296"/>
                <a:gd name="T75" fmla="*/ 46 h 1514"/>
                <a:gd name="T76" fmla="*/ 396 w 3296"/>
                <a:gd name="T77" fmla="*/ 55 h 1514"/>
                <a:gd name="T78" fmla="*/ 352 w 3296"/>
                <a:gd name="T79" fmla="*/ 61 h 1514"/>
                <a:gd name="T80" fmla="*/ 279 w 3296"/>
                <a:gd name="T81" fmla="*/ 76 h 1514"/>
                <a:gd name="T82" fmla="*/ 228 w 3296"/>
                <a:gd name="T83" fmla="*/ 92 h 1514"/>
                <a:gd name="T84" fmla="*/ 193 w 3296"/>
                <a:gd name="T85" fmla="*/ 91 h 1514"/>
                <a:gd name="T86" fmla="*/ 131 w 3296"/>
                <a:gd name="T87" fmla="*/ 116 h 1514"/>
                <a:gd name="T88" fmla="*/ 104 w 3296"/>
                <a:gd name="T89" fmla="*/ 117 h 1514"/>
                <a:gd name="T90" fmla="*/ 82 w 3296"/>
                <a:gd name="T91" fmla="*/ 123 h 1514"/>
                <a:gd name="T92" fmla="*/ 60 w 3296"/>
                <a:gd name="T93" fmla="*/ 120 h 1514"/>
                <a:gd name="T94" fmla="*/ 43 w 3296"/>
                <a:gd name="T95" fmla="*/ 127 h 1514"/>
                <a:gd name="T96" fmla="*/ 36 w 3296"/>
                <a:gd name="T97" fmla="*/ 144 h 1514"/>
                <a:gd name="T98" fmla="*/ 27 w 3296"/>
                <a:gd name="T99" fmla="*/ 162 h 1514"/>
                <a:gd name="T100" fmla="*/ 32 w 3296"/>
                <a:gd name="T101" fmla="*/ 179 h 1514"/>
                <a:gd name="T102" fmla="*/ 27 w 3296"/>
                <a:gd name="T103" fmla="*/ 190 h 15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6" h="1514">
                  <a:moveTo>
                    <a:pt x="140" y="1004"/>
                  </a:moveTo>
                  <a:lnTo>
                    <a:pt x="150" y="1093"/>
                  </a:lnTo>
                  <a:lnTo>
                    <a:pt x="92" y="1169"/>
                  </a:lnTo>
                  <a:lnTo>
                    <a:pt x="86" y="1255"/>
                  </a:lnTo>
                  <a:lnTo>
                    <a:pt x="29" y="1321"/>
                  </a:lnTo>
                  <a:lnTo>
                    <a:pt x="0" y="1514"/>
                  </a:lnTo>
                  <a:lnTo>
                    <a:pt x="51" y="1511"/>
                  </a:lnTo>
                  <a:lnTo>
                    <a:pt x="231" y="1475"/>
                  </a:lnTo>
                  <a:lnTo>
                    <a:pt x="405" y="1463"/>
                  </a:lnTo>
                  <a:lnTo>
                    <a:pt x="513" y="1439"/>
                  </a:lnTo>
                  <a:lnTo>
                    <a:pt x="603" y="1439"/>
                  </a:lnTo>
                  <a:lnTo>
                    <a:pt x="753" y="1433"/>
                  </a:lnTo>
                  <a:lnTo>
                    <a:pt x="826" y="1378"/>
                  </a:lnTo>
                  <a:lnTo>
                    <a:pt x="856" y="1318"/>
                  </a:lnTo>
                  <a:lnTo>
                    <a:pt x="957" y="1343"/>
                  </a:lnTo>
                  <a:lnTo>
                    <a:pt x="1036" y="1288"/>
                  </a:lnTo>
                  <a:lnTo>
                    <a:pt x="1095" y="1307"/>
                  </a:lnTo>
                  <a:lnTo>
                    <a:pt x="1113" y="1373"/>
                  </a:lnTo>
                  <a:lnTo>
                    <a:pt x="1246" y="1348"/>
                  </a:lnTo>
                  <a:lnTo>
                    <a:pt x="1449" y="1289"/>
                  </a:lnTo>
                  <a:lnTo>
                    <a:pt x="1593" y="1271"/>
                  </a:lnTo>
                  <a:lnTo>
                    <a:pt x="1784" y="1205"/>
                  </a:lnTo>
                  <a:lnTo>
                    <a:pt x="1965" y="1198"/>
                  </a:lnTo>
                  <a:lnTo>
                    <a:pt x="2090" y="1139"/>
                  </a:lnTo>
                  <a:lnTo>
                    <a:pt x="2246" y="1151"/>
                  </a:lnTo>
                  <a:lnTo>
                    <a:pt x="2355" y="1078"/>
                  </a:lnTo>
                  <a:lnTo>
                    <a:pt x="2357" y="931"/>
                  </a:lnTo>
                  <a:lnTo>
                    <a:pt x="2445" y="903"/>
                  </a:lnTo>
                  <a:lnTo>
                    <a:pt x="2528" y="769"/>
                  </a:lnTo>
                  <a:lnTo>
                    <a:pt x="2900" y="483"/>
                  </a:lnTo>
                  <a:lnTo>
                    <a:pt x="2865" y="388"/>
                  </a:lnTo>
                  <a:lnTo>
                    <a:pt x="3225" y="208"/>
                  </a:lnTo>
                  <a:lnTo>
                    <a:pt x="3296" y="113"/>
                  </a:lnTo>
                  <a:lnTo>
                    <a:pt x="3293" y="0"/>
                  </a:lnTo>
                  <a:lnTo>
                    <a:pt x="3152" y="65"/>
                  </a:lnTo>
                  <a:lnTo>
                    <a:pt x="2906" y="107"/>
                  </a:lnTo>
                  <a:lnTo>
                    <a:pt x="2590" y="182"/>
                  </a:lnTo>
                  <a:lnTo>
                    <a:pt x="2372" y="245"/>
                  </a:lnTo>
                  <a:lnTo>
                    <a:pt x="2086" y="292"/>
                  </a:lnTo>
                  <a:lnTo>
                    <a:pt x="1856" y="322"/>
                  </a:lnTo>
                  <a:lnTo>
                    <a:pt x="1472" y="400"/>
                  </a:lnTo>
                  <a:lnTo>
                    <a:pt x="1200" y="485"/>
                  </a:lnTo>
                  <a:lnTo>
                    <a:pt x="1017" y="479"/>
                  </a:lnTo>
                  <a:lnTo>
                    <a:pt x="689" y="613"/>
                  </a:lnTo>
                  <a:lnTo>
                    <a:pt x="549" y="617"/>
                  </a:lnTo>
                  <a:lnTo>
                    <a:pt x="435" y="649"/>
                  </a:lnTo>
                  <a:lnTo>
                    <a:pt x="315" y="632"/>
                  </a:lnTo>
                  <a:lnTo>
                    <a:pt x="228" y="671"/>
                  </a:lnTo>
                  <a:lnTo>
                    <a:pt x="189" y="761"/>
                  </a:lnTo>
                  <a:lnTo>
                    <a:pt x="140" y="853"/>
                  </a:lnTo>
                  <a:lnTo>
                    <a:pt x="170" y="943"/>
                  </a:lnTo>
                  <a:lnTo>
                    <a:pt x="140" y="1004"/>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7" name="Freeform 29"/>
            <p:cNvSpPr>
              <a:spLocks/>
            </p:cNvSpPr>
            <p:nvPr/>
          </p:nvSpPr>
          <p:spPr bwMode="auto">
            <a:xfrm>
              <a:off x="6480317" y="4850913"/>
              <a:ext cx="379140" cy="448893"/>
            </a:xfrm>
            <a:custGeom>
              <a:avLst/>
              <a:gdLst>
                <a:gd name="T0" fmla="*/ 74 w 1400"/>
                <a:gd name="T1" fmla="*/ 16 h 2439"/>
                <a:gd name="T2" fmla="*/ 63 w 1400"/>
                <a:gd name="T3" fmla="*/ 36 h 2439"/>
                <a:gd name="T4" fmla="*/ 46 w 1400"/>
                <a:gd name="T5" fmla="*/ 82 h 2439"/>
                <a:gd name="T6" fmla="*/ 25 w 1400"/>
                <a:gd name="T7" fmla="*/ 110 h 2439"/>
                <a:gd name="T8" fmla="*/ 17 w 1400"/>
                <a:gd name="T9" fmla="*/ 147 h 2439"/>
                <a:gd name="T10" fmla="*/ 20 w 1400"/>
                <a:gd name="T11" fmla="*/ 200 h 2439"/>
                <a:gd name="T12" fmla="*/ 17 w 1400"/>
                <a:gd name="T13" fmla="*/ 231 h 2439"/>
                <a:gd name="T14" fmla="*/ 26 w 1400"/>
                <a:gd name="T15" fmla="*/ 252 h 2439"/>
                <a:gd name="T16" fmla="*/ 34 w 1400"/>
                <a:gd name="T17" fmla="*/ 265 h 2439"/>
                <a:gd name="T18" fmla="*/ 29 w 1400"/>
                <a:gd name="T19" fmla="*/ 279 h 2439"/>
                <a:gd name="T20" fmla="*/ 34 w 1400"/>
                <a:gd name="T21" fmla="*/ 293 h 2439"/>
                <a:gd name="T22" fmla="*/ 23 w 1400"/>
                <a:gd name="T23" fmla="*/ 311 h 2439"/>
                <a:gd name="T24" fmla="*/ 23 w 1400"/>
                <a:gd name="T25" fmla="*/ 333 h 2439"/>
                <a:gd name="T26" fmla="*/ 5 w 1400"/>
                <a:gd name="T27" fmla="*/ 359 h 2439"/>
                <a:gd name="T28" fmla="*/ 0 w 1400"/>
                <a:gd name="T29" fmla="*/ 384 h 2439"/>
                <a:gd name="T30" fmla="*/ 1 w 1400"/>
                <a:gd name="T31" fmla="*/ 407 h 2439"/>
                <a:gd name="T32" fmla="*/ 84 w 1400"/>
                <a:gd name="T33" fmla="*/ 407 h 2439"/>
                <a:gd name="T34" fmla="*/ 111 w 1400"/>
                <a:gd name="T35" fmla="*/ 402 h 2439"/>
                <a:gd name="T36" fmla="*/ 139 w 1400"/>
                <a:gd name="T37" fmla="*/ 397 h 2439"/>
                <a:gd name="T38" fmla="*/ 154 w 1400"/>
                <a:gd name="T39" fmla="*/ 401 h 2439"/>
                <a:gd name="T40" fmla="*/ 151 w 1400"/>
                <a:gd name="T41" fmla="*/ 421 h 2439"/>
                <a:gd name="T42" fmla="*/ 161 w 1400"/>
                <a:gd name="T43" fmla="*/ 446 h 2439"/>
                <a:gd name="T44" fmla="*/ 173 w 1400"/>
                <a:gd name="T45" fmla="*/ 462 h 2439"/>
                <a:gd name="T46" fmla="*/ 218 w 1400"/>
                <a:gd name="T47" fmla="*/ 437 h 2439"/>
                <a:gd name="T48" fmla="*/ 258 w 1400"/>
                <a:gd name="T49" fmla="*/ 437 h 2439"/>
                <a:gd name="T50" fmla="*/ 264 w 1400"/>
                <a:gd name="T51" fmla="*/ 426 h 2439"/>
                <a:gd name="T52" fmla="*/ 266 w 1400"/>
                <a:gd name="T53" fmla="*/ 386 h 2439"/>
                <a:gd name="T54" fmla="*/ 259 w 1400"/>
                <a:gd name="T55" fmla="*/ 336 h 2439"/>
                <a:gd name="T56" fmla="*/ 252 w 1400"/>
                <a:gd name="T57" fmla="*/ 278 h 2439"/>
                <a:gd name="T58" fmla="*/ 243 w 1400"/>
                <a:gd name="T59" fmla="*/ 159 h 2439"/>
                <a:gd name="T60" fmla="*/ 235 w 1400"/>
                <a:gd name="T61" fmla="*/ 96 h 2439"/>
                <a:gd name="T62" fmla="*/ 236 w 1400"/>
                <a:gd name="T63" fmla="*/ 52 h 2439"/>
                <a:gd name="T64" fmla="*/ 218 w 1400"/>
                <a:gd name="T65" fmla="*/ 0 h 2439"/>
                <a:gd name="T66" fmla="*/ 188 w 1400"/>
                <a:gd name="T67" fmla="*/ 1 h 2439"/>
                <a:gd name="T68" fmla="*/ 171 w 1400"/>
                <a:gd name="T69" fmla="*/ 1 h 2439"/>
                <a:gd name="T70" fmla="*/ 149 w 1400"/>
                <a:gd name="T71" fmla="*/ 6 h 2439"/>
                <a:gd name="T72" fmla="*/ 118 w 1400"/>
                <a:gd name="T73" fmla="*/ 8 h 2439"/>
                <a:gd name="T74" fmla="*/ 84 w 1400"/>
                <a:gd name="T75" fmla="*/ 15 h 2439"/>
                <a:gd name="T76" fmla="*/ 74 w 1400"/>
                <a:gd name="T77" fmla="*/ 16 h 24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0" h="2439">
                  <a:moveTo>
                    <a:pt x="390" y="83"/>
                  </a:moveTo>
                  <a:lnTo>
                    <a:pt x="330" y="189"/>
                  </a:lnTo>
                  <a:lnTo>
                    <a:pt x="241" y="431"/>
                  </a:lnTo>
                  <a:lnTo>
                    <a:pt x="129" y="582"/>
                  </a:lnTo>
                  <a:lnTo>
                    <a:pt x="87" y="774"/>
                  </a:lnTo>
                  <a:lnTo>
                    <a:pt x="106" y="1056"/>
                  </a:lnTo>
                  <a:lnTo>
                    <a:pt x="90" y="1221"/>
                  </a:lnTo>
                  <a:lnTo>
                    <a:pt x="139" y="1329"/>
                  </a:lnTo>
                  <a:lnTo>
                    <a:pt x="180" y="1398"/>
                  </a:lnTo>
                  <a:lnTo>
                    <a:pt x="151" y="1472"/>
                  </a:lnTo>
                  <a:lnTo>
                    <a:pt x="180" y="1548"/>
                  </a:lnTo>
                  <a:lnTo>
                    <a:pt x="120" y="1640"/>
                  </a:lnTo>
                  <a:lnTo>
                    <a:pt x="121" y="1758"/>
                  </a:lnTo>
                  <a:lnTo>
                    <a:pt x="25" y="1893"/>
                  </a:lnTo>
                  <a:lnTo>
                    <a:pt x="0" y="2027"/>
                  </a:lnTo>
                  <a:lnTo>
                    <a:pt x="3" y="2147"/>
                  </a:lnTo>
                  <a:lnTo>
                    <a:pt x="444" y="2151"/>
                  </a:lnTo>
                  <a:lnTo>
                    <a:pt x="585" y="2121"/>
                  </a:lnTo>
                  <a:lnTo>
                    <a:pt x="732" y="2097"/>
                  </a:lnTo>
                  <a:lnTo>
                    <a:pt x="811" y="2117"/>
                  </a:lnTo>
                  <a:lnTo>
                    <a:pt x="793" y="2223"/>
                  </a:lnTo>
                  <a:lnTo>
                    <a:pt x="847" y="2357"/>
                  </a:lnTo>
                  <a:lnTo>
                    <a:pt x="910" y="2439"/>
                  </a:lnTo>
                  <a:lnTo>
                    <a:pt x="1148" y="2309"/>
                  </a:lnTo>
                  <a:lnTo>
                    <a:pt x="1358" y="2309"/>
                  </a:lnTo>
                  <a:lnTo>
                    <a:pt x="1388" y="2249"/>
                  </a:lnTo>
                  <a:lnTo>
                    <a:pt x="1400" y="2037"/>
                  </a:lnTo>
                  <a:lnTo>
                    <a:pt x="1363" y="1772"/>
                  </a:lnTo>
                  <a:lnTo>
                    <a:pt x="1327" y="1470"/>
                  </a:lnTo>
                  <a:lnTo>
                    <a:pt x="1281" y="839"/>
                  </a:lnTo>
                  <a:lnTo>
                    <a:pt x="1238" y="509"/>
                  </a:lnTo>
                  <a:lnTo>
                    <a:pt x="1244" y="272"/>
                  </a:lnTo>
                  <a:lnTo>
                    <a:pt x="1146" y="0"/>
                  </a:lnTo>
                  <a:lnTo>
                    <a:pt x="988" y="5"/>
                  </a:lnTo>
                  <a:lnTo>
                    <a:pt x="900" y="6"/>
                  </a:lnTo>
                  <a:lnTo>
                    <a:pt x="786" y="30"/>
                  </a:lnTo>
                  <a:lnTo>
                    <a:pt x="621" y="42"/>
                  </a:lnTo>
                  <a:lnTo>
                    <a:pt x="444" y="77"/>
                  </a:lnTo>
                  <a:lnTo>
                    <a:pt x="390" y="83"/>
                  </a:lnTo>
                  <a:close/>
                </a:path>
              </a:pathLst>
            </a:custGeom>
            <a:solidFill>
              <a:schemeClr val="accent2">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8" name="Freeform 30"/>
            <p:cNvSpPr>
              <a:spLocks/>
            </p:cNvSpPr>
            <p:nvPr/>
          </p:nvSpPr>
          <p:spPr bwMode="auto">
            <a:xfrm>
              <a:off x="6783630" y="4749960"/>
              <a:ext cx="379141" cy="566114"/>
            </a:xfrm>
            <a:custGeom>
              <a:avLst/>
              <a:gdLst>
                <a:gd name="T0" fmla="*/ 0 w 1649"/>
                <a:gd name="T1" fmla="*/ 44 h 2568"/>
                <a:gd name="T2" fmla="*/ 19 w 1649"/>
                <a:gd name="T3" fmla="*/ 96 h 2568"/>
                <a:gd name="T4" fmla="*/ 18 w 1649"/>
                <a:gd name="T5" fmla="*/ 141 h 2568"/>
                <a:gd name="T6" fmla="*/ 27 w 1649"/>
                <a:gd name="T7" fmla="*/ 212 h 2568"/>
                <a:gd name="T8" fmla="*/ 35 w 1649"/>
                <a:gd name="T9" fmla="*/ 326 h 2568"/>
                <a:gd name="T10" fmla="*/ 48 w 1649"/>
                <a:gd name="T11" fmla="*/ 432 h 2568"/>
                <a:gd name="T12" fmla="*/ 46 w 1649"/>
                <a:gd name="T13" fmla="*/ 471 h 2568"/>
                <a:gd name="T14" fmla="*/ 41 w 1649"/>
                <a:gd name="T15" fmla="*/ 482 h 2568"/>
                <a:gd name="T16" fmla="*/ 72 w 1649"/>
                <a:gd name="T17" fmla="*/ 469 h 2568"/>
                <a:gd name="T18" fmla="*/ 78 w 1649"/>
                <a:gd name="T19" fmla="*/ 446 h 2568"/>
                <a:gd name="T20" fmla="*/ 90 w 1649"/>
                <a:gd name="T21" fmla="*/ 461 h 2568"/>
                <a:gd name="T22" fmla="*/ 97 w 1649"/>
                <a:gd name="T23" fmla="*/ 478 h 2568"/>
                <a:gd name="T24" fmla="*/ 116 w 1649"/>
                <a:gd name="T25" fmla="*/ 487 h 2568"/>
                <a:gd name="T26" fmla="*/ 123 w 1649"/>
                <a:gd name="T27" fmla="*/ 469 h 2568"/>
                <a:gd name="T28" fmla="*/ 117 w 1649"/>
                <a:gd name="T29" fmla="*/ 435 h 2568"/>
                <a:gd name="T30" fmla="*/ 117 w 1649"/>
                <a:gd name="T31" fmla="*/ 412 h 2568"/>
                <a:gd name="T32" fmla="*/ 154 w 1649"/>
                <a:gd name="T33" fmla="*/ 404 h 2568"/>
                <a:gd name="T34" fmla="*/ 179 w 1649"/>
                <a:gd name="T35" fmla="*/ 401 h 2568"/>
                <a:gd name="T36" fmla="*/ 242 w 1649"/>
                <a:gd name="T37" fmla="*/ 381 h 2568"/>
                <a:gd name="T38" fmla="*/ 305 w 1649"/>
                <a:gd name="T39" fmla="*/ 366 h 2568"/>
                <a:gd name="T40" fmla="*/ 313 w 1649"/>
                <a:gd name="T41" fmla="*/ 338 h 2568"/>
                <a:gd name="T42" fmla="*/ 305 w 1649"/>
                <a:gd name="T43" fmla="*/ 314 h 2568"/>
                <a:gd name="T44" fmla="*/ 301 w 1649"/>
                <a:gd name="T45" fmla="*/ 281 h 2568"/>
                <a:gd name="T46" fmla="*/ 298 w 1649"/>
                <a:gd name="T47" fmla="*/ 262 h 2568"/>
                <a:gd name="T48" fmla="*/ 304 w 1649"/>
                <a:gd name="T49" fmla="*/ 232 h 2568"/>
                <a:gd name="T50" fmla="*/ 293 w 1649"/>
                <a:gd name="T51" fmla="*/ 212 h 2568"/>
                <a:gd name="T52" fmla="*/ 272 w 1649"/>
                <a:gd name="T53" fmla="*/ 176 h 2568"/>
                <a:gd name="T54" fmla="*/ 260 w 1649"/>
                <a:gd name="T55" fmla="*/ 127 h 2568"/>
                <a:gd name="T56" fmla="*/ 239 w 1649"/>
                <a:gd name="T57" fmla="*/ 52 h 2568"/>
                <a:gd name="T58" fmla="*/ 225 w 1649"/>
                <a:gd name="T59" fmla="*/ 27 h 2568"/>
                <a:gd name="T60" fmla="*/ 229 w 1649"/>
                <a:gd name="T61" fmla="*/ 0 h 2568"/>
                <a:gd name="T62" fmla="*/ 195 w 1649"/>
                <a:gd name="T63" fmla="*/ 1 h 2568"/>
                <a:gd name="T64" fmla="*/ 159 w 1649"/>
                <a:gd name="T65" fmla="*/ 13 h 2568"/>
                <a:gd name="T66" fmla="*/ 132 w 1649"/>
                <a:gd name="T67" fmla="*/ 17 h 2568"/>
                <a:gd name="T68" fmla="*/ 93 w 1649"/>
                <a:gd name="T69" fmla="*/ 28 h 2568"/>
                <a:gd name="T70" fmla="*/ 68 w 1649"/>
                <a:gd name="T71" fmla="*/ 33 h 2568"/>
                <a:gd name="T72" fmla="*/ 65 w 1649"/>
                <a:gd name="T73" fmla="*/ 20 h 2568"/>
                <a:gd name="T74" fmla="*/ 64 w 1649"/>
                <a:gd name="T75" fmla="*/ 20 h 2568"/>
                <a:gd name="T76" fmla="*/ 52 w 1649"/>
                <a:gd name="T77" fmla="*/ 17 h 2568"/>
                <a:gd name="T78" fmla="*/ 38 w 1649"/>
                <a:gd name="T79" fmla="*/ 27 h 2568"/>
                <a:gd name="T80" fmla="*/ 19 w 1649"/>
                <a:gd name="T81" fmla="*/ 22 h 2568"/>
                <a:gd name="T82" fmla="*/ 14 w 1649"/>
                <a:gd name="T83" fmla="*/ 34 h 2568"/>
                <a:gd name="T84" fmla="*/ 0 w 1649"/>
                <a:gd name="T85" fmla="*/ 44 h 2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649" h="2568">
                  <a:moveTo>
                    <a:pt x="0" y="234"/>
                  </a:moveTo>
                  <a:lnTo>
                    <a:pt x="99" y="506"/>
                  </a:lnTo>
                  <a:lnTo>
                    <a:pt x="95" y="741"/>
                  </a:lnTo>
                  <a:lnTo>
                    <a:pt x="141" y="1116"/>
                  </a:lnTo>
                  <a:lnTo>
                    <a:pt x="185" y="1721"/>
                  </a:lnTo>
                  <a:lnTo>
                    <a:pt x="255" y="2280"/>
                  </a:lnTo>
                  <a:lnTo>
                    <a:pt x="243" y="2483"/>
                  </a:lnTo>
                  <a:lnTo>
                    <a:pt x="216" y="2544"/>
                  </a:lnTo>
                  <a:lnTo>
                    <a:pt x="379" y="2472"/>
                  </a:lnTo>
                  <a:lnTo>
                    <a:pt x="409" y="2352"/>
                  </a:lnTo>
                  <a:lnTo>
                    <a:pt x="473" y="2432"/>
                  </a:lnTo>
                  <a:lnTo>
                    <a:pt x="513" y="2520"/>
                  </a:lnTo>
                  <a:lnTo>
                    <a:pt x="609" y="2568"/>
                  </a:lnTo>
                  <a:lnTo>
                    <a:pt x="649" y="2472"/>
                  </a:lnTo>
                  <a:lnTo>
                    <a:pt x="619" y="2292"/>
                  </a:lnTo>
                  <a:lnTo>
                    <a:pt x="619" y="2172"/>
                  </a:lnTo>
                  <a:lnTo>
                    <a:pt x="809" y="2128"/>
                  </a:lnTo>
                  <a:lnTo>
                    <a:pt x="945" y="2112"/>
                  </a:lnTo>
                  <a:lnTo>
                    <a:pt x="1273" y="2008"/>
                  </a:lnTo>
                  <a:lnTo>
                    <a:pt x="1609" y="1932"/>
                  </a:lnTo>
                  <a:lnTo>
                    <a:pt x="1649" y="1784"/>
                  </a:lnTo>
                  <a:lnTo>
                    <a:pt x="1609" y="1656"/>
                  </a:lnTo>
                  <a:lnTo>
                    <a:pt x="1585" y="1480"/>
                  </a:lnTo>
                  <a:lnTo>
                    <a:pt x="1569" y="1384"/>
                  </a:lnTo>
                  <a:lnTo>
                    <a:pt x="1601" y="1224"/>
                  </a:lnTo>
                  <a:lnTo>
                    <a:pt x="1545" y="1120"/>
                  </a:lnTo>
                  <a:lnTo>
                    <a:pt x="1433" y="928"/>
                  </a:lnTo>
                  <a:lnTo>
                    <a:pt x="1369" y="672"/>
                  </a:lnTo>
                  <a:lnTo>
                    <a:pt x="1257" y="272"/>
                  </a:lnTo>
                  <a:lnTo>
                    <a:pt x="1185" y="144"/>
                  </a:lnTo>
                  <a:lnTo>
                    <a:pt x="1209" y="0"/>
                  </a:lnTo>
                  <a:lnTo>
                    <a:pt x="1029" y="5"/>
                  </a:lnTo>
                  <a:lnTo>
                    <a:pt x="839" y="71"/>
                  </a:lnTo>
                  <a:lnTo>
                    <a:pt x="696" y="90"/>
                  </a:lnTo>
                  <a:lnTo>
                    <a:pt x="489" y="149"/>
                  </a:lnTo>
                  <a:lnTo>
                    <a:pt x="356" y="174"/>
                  </a:lnTo>
                  <a:lnTo>
                    <a:pt x="341" y="107"/>
                  </a:lnTo>
                  <a:lnTo>
                    <a:pt x="339" y="108"/>
                  </a:lnTo>
                  <a:lnTo>
                    <a:pt x="276" y="90"/>
                  </a:lnTo>
                  <a:lnTo>
                    <a:pt x="201" y="143"/>
                  </a:lnTo>
                  <a:lnTo>
                    <a:pt x="99" y="117"/>
                  </a:lnTo>
                  <a:lnTo>
                    <a:pt x="72" y="177"/>
                  </a:lnTo>
                  <a:lnTo>
                    <a:pt x="0" y="234"/>
                  </a:lnTo>
                  <a:close/>
                </a:path>
              </a:pathLst>
            </a:custGeom>
            <a:solidFill>
              <a:schemeClr val="accent2">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29" name="Freeform 31"/>
            <p:cNvSpPr>
              <a:spLocks/>
            </p:cNvSpPr>
            <p:nvPr/>
          </p:nvSpPr>
          <p:spPr bwMode="auto">
            <a:xfrm>
              <a:off x="7086943" y="4671410"/>
              <a:ext cx="530798" cy="549845"/>
            </a:xfrm>
            <a:custGeom>
              <a:avLst/>
              <a:gdLst>
                <a:gd name="T0" fmla="*/ 5 w 2113"/>
                <a:gd name="T1" fmla="*/ 43 h 2269"/>
                <a:gd name="T2" fmla="*/ 28 w 2113"/>
                <a:gd name="T3" fmla="*/ 31 h 2269"/>
                <a:gd name="T4" fmla="*/ 58 w 2113"/>
                <a:gd name="T5" fmla="*/ 33 h 2269"/>
                <a:gd name="T6" fmla="*/ 79 w 2113"/>
                <a:gd name="T7" fmla="*/ 19 h 2269"/>
                <a:gd name="T8" fmla="*/ 110 w 2113"/>
                <a:gd name="T9" fmla="*/ 16 h 2269"/>
                <a:gd name="T10" fmla="*/ 148 w 2113"/>
                <a:gd name="T11" fmla="*/ 3 h 2269"/>
                <a:gd name="T12" fmla="*/ 171 w 2113"/>
                <a:gd name="T13" fmla="*/ 0 h 2269"/>
                <a:gd name="T14" fmla="*/ 179 w 2113"/>
                <a:gd name="T15" fmla="*/ 26 h 2269"/>
                <a:gd name="T16" fmla="*/ 191 w 2113"/>
                <a:gd name="T17" fmla="*/ 45 h 2269"/>
                <a:gd name="T18" fmla="*/ 214 w 2113"/>
                <a:gd name="T19" fmla="*/ 54 h 2269"/>
                <a:gd name="T20" fmla="*/ 219 w 2113"/>
                <a:gd name="T21" fmla="*/ 72 h 2269"/>
                <a:gd name="T22" fmla="*/ 247 w 2113"/>
                <a:gd name="T23" fmla="*/ 83 h 2269"/>
                <a:gd name="T24" fmla="*/ 270 w 2113"/>
                <a:gd name="T25" fmla="*/ 97 h 2269"/>
                <a:gd name="T26" fmla="*/ 289 w 2113"/>
                <a:gd name="T27" fmla="*/ 116 h 2269"/>
                <a:gd name="T28" fmla="*/ 316 w 2113"/>
                <a:gd name="T29" fmla="*/ 129 h 2269"/>
                <a:gd name="T30" fmla="*/ 355 w 2113"/>
                <a:gd name="T31" fmla="*/ 163 h 2269"/>
                <a:gd name="T32" fmla="*/ 350 w 2113"/>
                <a:gd name="T33" fmla="*/ 180 h 2269"/>
                <a:gd name="T34" fmla="*/ 377 w 2113"/>
                <a:gd name="T35" fmla="*/ 204 h 2269"/>
                <a:gd name="T36" fmla="*/ 401 w 2113"/>
                <a:gd name="T37" fmla="*/ 231 h 2269"/>
                <a:gd name="T38" fmla="*/ 384 w 2113"/>
                <a:gd name="T39" fmla="*/ 263 h 2269"/>
                <a:gd name="T40" fmla="*/ 377 w 2113"/>
                <a:gd name="T41" fmla="*/ 303 h 2269"/>
                <a:gd name="T42" fmla="*/ 384 w 2113"/>
                <a:gd name="T43" fmla="*/ 334 h 2269"/>
                <a:gd name="T44" fmla="*/ 388 w 2113"/>
                <a:gd name="T45" fmla="*/ 367 h 2269"/>
                <a:gd name="T46" fmla="*/ 367 w 2113"/>
                <a:gd name="T47" fmla="*/ 378 h 2269"/>
                <a:gd name="T48" fmla="*/ 344 w 2113"/>
                <a:gd name="T49" fmla="*/ 373 h 2269"/>
                <a:gd name="T50" fmla="*/ 334 w 2113"/>
                <a:gd name="T51" fmla="*/ 388 h 2269"/>
                <a:gd name="T52" fmla="*/ 334 w 2113"/>
                <a:gd name="T53" fmla="*/ 402 h 2269"/>
                <a:gd name="T54" fmla="*/ 329 w 2113"/>
                <a:gd name="T55" fmla="*/ 417 h 2269"/>
                <a:gd name="T56" fmla="*/ 318 w 2113"/>
                <a:gd name="T57" fmla="*/ 409 h 2269"/>
                <a:gd name="T58" fmla="*/ 284 w 2113"/>
                <a:gd name="T59" fmla="*/ 414 h 2269"/>
                <a:gd name="T60" fmla="*/ 216 w 2113"/>
                <a:gd name="T61" fmla="*/ 417 h 2269"/>
                <a:gd name="T62" fmla="*/ 162 w 2113"/>
                <a:gd name="T63" fmla="*/ 426 h 2269"/>
                <a:gd name="T64" fmla="*/ 116 w 2113"/>
                <a:gd name="T65" fmla="*/ 430 h 2269"/>
                <a:gd name="T66" fmla="*/ 96 w 2113"/>
                <a:gd name="T67" fmla="*/ 423 h 2269"/>
                <a:gd name="T68" fmla="*/ 81 w 2113"/>
                <a:gd name="T69" fmla="*/ 409 h 2269"/>
                <a:gd name="T70" fmla="*/ 88 w 2113"/>
                <a:gd name="T71" fmla="*/ 380 h 2269"/>
                <a:gd name="T72" fmla="*/ 80 w 2113"/>
                <a:gd name="T73" fmla="*/ 356 h 2269"/>
                <a:gd name="T74" fmla="*/ 76 w 2113"/>
                <a:gd name="T75" fmla="*/ 326 h 2269"/>
                <a:gd name="T76" fmla="*/ 73 w 2113"/>
                <a:gd name="T77" fmla="*/ 305 h 2269"/>
                <a:gd name="T78" fmla="*/ 79 w 2113"/>
                <a:gd name="T79" fmla="*/ 274 h 2269"/>
                <a:gd name="T80" fmla="*/ 47 w 2113"/>
                <a:gd name="T81" fmla="*/ 218 h 2269"/>
                <a:gd name="T82" fmla="*/ 33 w 2113"/>
                <a:gd name="T83" fmla="*/ 162 h 2269"/>
                <a:gd name="T84" fmla="*/ 14 w 2113"/>
                <a:gd name="T85" fmla="*/ 95 h 2269"/>
                <a:gd name="T86" fmla="*/ 0 w 2113"/>
                <a:gd name="T87" fmla="*/ 70 h 2269"/>
                <a:gd name="T88" fmla="*/ 5 w 2113"/>
                <a:gd name="T89" fmla="*/ 43 h 2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13" h="2269">
                  <a:moveTo>
                    <a:pt x="26" y="225"/>
                  </a:moveTo>
                  <a:lnTo>
                    <a:pt x="150" y="164"/>
                  </a:lnTo>
                  <a:lnTo>
                    <a:pt x="308" y="176"/>
                  </a:lnTo>
                  <a:lnTo>
                    <a:pt x="416" y="102"/>
                  </a:lnTo>
                  <a:lnTo>
                    <a:pt x="579" y="82"/>
                  </a:lnTo>
                  <a:lnTo>
                    <a:pt x="781" y="18"/>
                  </a:lnTo>
                  <a:lnTo>
                    <a:pt x="899" y="0"/>
                  </a:lnTo>
                  <a:lnTo>
                    <a:pt x="943" y="139"/>
                  </a:lnTo>
                  <a:lnTo>
                    <a:pt x="1009" y="238"/>
                  </a:lnTo>
                  <a:lnTo>
                    <a:pt x="1128" y="283"/>
                  </a:lnTo>
                  <a:lnTo>
                    <a:pt x="1153" y="379"/>
                  </a:lnTo>
                  <a:lnTo>
                    <a:pt x="1302" y="439"/>
                  </a:lnTo>
                  <a:lnTo>
                    <a:pt x="1421" y="512"/>
                  </a:lnTo>
                  <a:lnTo>
                    <a:pt x="1521" y="612"/>
                  </a:lnTo>
                  <a:lnTo>
                    <a:pt x="1663" y="679"/>
                  </a:lnTo>
                  <a:lnTo>
                    <a:pt x="1873" y="859"/>
                  </a:lnTo>
                  <a:lnTo>
                    <a:pt x="1843" y="949"/>
                  </a:lnTo>
                  <a:lnTo>
                    <a:pt x="1987" y="1079"/>
                  </a:lnTo>
                  <a:lnTo>
                    <a:pt x="2113" y="1219"/>
                  </a:lnTo>
                  <a:lnTo>
                    <a:pt x="2024" y="1390"/>
                  </a:lnTo>
                  <a:lnTo>
                    <a:pt x="1987" y="1600"/>
                  </a:lnTo>
                  <a:lnTo>
                    <a:pt x="2024" y="1764"/>
                  </a:lnTo>
                  <a:lnTo>
                    <a:pt x="2042" y="1938"/>
                  </a:lnTo>
                  <a:lnTo>
                    <a:pt x="1933" y="1993"/>
                  </a:lnTo>
                  <a:lnTo>
                    <a:pt x="1813" y="1969"/>
                  </a:lnTo>
                  <a:lnTo>
                    <a:pt x="1759" y="2048"/>
                  </a:lnTo>
                  <a:lnTo>
                    <a:pt x="1759" y="2121"/>
                  </a:lnTo>
                  <a:lnTo>
                    <a:pt x="1731" y="2203"/>
                  </a:lnTo>
                  <a:lnTo>
                    <a:pt x="1677" y="2158"/>
                  </a:lnTo>
                  <a:lnTo>
                    <a:pt x="1494" y="2185"/>
                  </a:lnTo>
                  <a:lnTo>
                    <a:pt x="1137" y="2203"/>
                  </a:lnTo>
                  <a:lnTo>
                    <a:pt x="854" y="2249"/>
                  </a:lnTo>
                  <a:lnTo>
                    <a:pt x="613" y="2269"/>
                  </a:lnTo>
                  <a:lnTo>
                    <a:pt x="506" y="2231"/>
                  </a:lnTo>
                  <a:lnTo>
                    <a:pt x="426" y="2156"/>
                  </a:lnTo>
                  <a:lnTo>
                    <a:pt x="464" y="2007"/>
                  </a:lnTo>
                  <a:lnTo>
                    <a:pt x="423" y="1877"/>
                  </a:lnTo>
                  <a:lnTo>
                    <a:pt x="402" y="1718"/>
                  </a:lnTo>
                  <a:lnTo>
                    <a:pt x="383" y="1610"/>
                  </a:lnTo>
                  <a:lnTo>
                    <a:pt x="416" y="1448"/>
                  </a:lnTo>
                  <a:lnTo>
                    <a:pt x="246" y="1148"/>
                  </a:lnTo>
                  <a:lnTo>
                    <a:pt x="173" y="857"/>
                  </a:lnTo>
                  <a:lnTo>
                    <a:pt x="72" y="500"/>
                  </a:lnTo>
                  <a:lnTo>
                    <a:pt x="0" y="369"/>
                  </a:lnTo>
                  <a:lnTo>
                    <a:pt x="26" y="225"/>
                  </a:lnTo>
                  <a:close/>
                </a:path>
              </a:pathLst>
            </a:custGeom>
            <a:solidFill>
              <a:schemeClr val="accent2">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0" name="Freeform 32"/>
            <p:cNvSpPr>
              <a:spLocks/>
            </p:cNvSpPr>
            <p:nvPr/>
          </p:nvSpPr>
          <p:spPr bwMode="auto">
            <a:xfrm>
              <a:off x="6935286" y="5142707"/>
              <a:ext cx="967697" cy="538342"/>
            </a:xfrm>
            <a:custGeom>
              <a:avLst/>
              <a:gdLst>
                <a:gd name="T0" fmla="*/ 33 w 3573"/>
                <a:gd name="T1" fmla="*/ 131 h 2793"/>
                <a:gd name="T2" fmla="*/ 62 w 3573"/>
                <a:gd name="T3" fmla="*/ 131 h 2793"/>
                <a:gd name="T4" fmla="*/ 118 w 3573"/>
                <a:gd name="T5" fmla="*/ 129 h 2793"/>
                <a:gd name="T6" fmla="*/ 175 w 3573"/>
                <a:gd name="T7" fmla="*/ 153 h 2793"/>
                <a:gd name="T8" fmla="*/ 221 w 3573"/>
                <a:gd name="T9" fmla="*/ 160 h 2793"/>
                <a:gd name="T10" fmla="*/ 257 w 3573"/>
                <a:gd name="T11" fmla="*/ 136 h 2793"/>
                <a:gd name="T12" fmla="*/ 301 w 3573"/>
                <a:gd name="T13" fmla="*/ 113 h 2793"/>
                <a:gd name="T14" fmla="*/ 339 w 3573"/>
                <a:gd name="T15" fmla="*/ 148 h 2793"/>
                <a:gd name="T16" fmla="*/ 380 w 3573"/>
                <a:gd name="T17" fmla="*/ 177 h 2793"/>
                <a:gd name="T18" fmla="*/ 414 w 3573"/>
                <a:gd name="T19" fmla="*/ 220 h 2793"/>
                <a:gd name="T20" fmla="*/ 419 w 3573"/>
                <a:gd name="T21" fmla="*/ 266 h 2793"/>
                <a:gd name="T22" fmla="*/ 426 w 3573"/>
                <a:gd name="T23" fmla="*/ 308 h 2793"/>
                <a:gd name="T24" fmla="*/ 448 w 3573"/>
                <a:gd name="T25" fmla="*/ 296 h 2793"/>
                <a:gd name="T26" fmla="*/ 448 w 3573"/>
                <a:gd name="T27" fmla="*/ 319 h 2793"/>
                <a:gd name="T28" fmla="*/ 461 w 3573"/>
                <a:gd name="T29" fmla="*/ 369 h 2793"/>
                <a:gd name="T30" fmla="*/ 500 w 3573"/>
                <a:gd name="T31" fmla="*/ 370 h 2793"/>
                <a:gd name="T32" fmla="*/ 537 w 3573"/>
                <a:gd name="T33" fmla="*/ 429 h 2793"/>
                <a:gd name="T34" fmla="*/ 551 w 3573"/>
                <a:gd name="T35" fmla="*/ 472 h 2793"/>
                <a:gd name="T36" fmla="*/ 596 w 3573"/>
                <a:gd name="T37" fmla="*/ 501 h 2793"/>
                <a:gd name="T38" fmla="*/ 602 w 3573"/>
                <a:gd name="T39" fmla="*/ 529 h 2793"/>
                <a:gd name="T40" fmla="*/ 638 w 3573"/>
                <a:gd name="T41" fmla="*/ 525 h 2793"/>
                <a:gd name="T42" fmla="*/ 659 w 3573"/>
                <a:gd name="T43" fmla="*/ 518 h 2793"/>
                <a:gd name="T44" fmla="*/ 662 w 3573"/>
                <a:gd name="T45" fmla="*/ 474 h 2793"/>
                <a:gd name="T46" fmla="*/ 677 w 3573"/>
                <a:gd name="T47" fmla="*/ 429 h 2793"/>
                <a:gd name="T48" fmla="*/ 670 w 3573"/>
                <a:gd name="T49" fmla="*/ 353 h 2793"/>
                <a:gd name="T50" fmla="*/ 591 w 3573"/>
                <a:gd name="T51" fmla="*/ 222 h 2793"/>
                <a:gd name="T52" fmla="*/ 591 w 3573"/>
                <a:gd name="T53" fmla="*/ 188 h 2793"/>
                <a:gd name="T54" fmla="*/ 613 w 3573"/>
                <a:gd name="T55" fmla="*/ 227 h 2793"/>
                <a:gd name="T56" fmla="*/ 596 w 3573"/>
                <a:gd name="T57" fmla="*/ 182 h 2793"/>
                <a:gd name="T58" fmla="*/ 551 w 3573"/>
                <a:gd name="T59" fmla="*/ 137 h 2793"/>
                <a:gd name="T60" fmla="*/ 528 w 3573"/>
                <a:gd name="T61" fmla="*/ 93 h 2793"/>
                <a:gd name="T62" fmla="*/ 513 w 3573"/>
                <a:gd name="T63" fmla="*/ 43 h 2793"/>
                <a:gd name="T64" fmla="*/ 492 w 3573"/>
                <a:gd name="T65" fmla="*/ 50 h 2793"/>
                <a:gd name="T66" fmla="*/ 483 w 3573"/>
                <a:gd name="T67" fmla="*/ 69 h 2793"/>
                <a:gd name="T68" fmla="*/ 494 w 3573"/>
                <a:gd name="T69" fmla="*/ 18 h 2793"/>
                <a:gd name="T70" fmla="*/ 474 w 3573"/>
                <a:gd name="T71" fmla="*/ 10 h 2793"/>
                <a:gd name="T72" fmla="*/ 441 w 3573"/>
                <a:gd name="T73" fmla="*/ 21 h 2793"/>
                <a:gd name="T74" fmla="*/ 435 w 3573"/>
                <a:gd name="T75" fmla="*/ 51 h 2793"/>
                <a:gd name="T76" fmla="*/ 388 w 3573"/>
                <a:gd name="T77" fmla="*/ 47 h 2793"/>
                <a:gd name="T78" fmla="*/ 271 w 3573"/>
                <a:gd name="T79" fmla="*/ 59 h 2793"/>
                <a:gd name="T80" fmla="*/ 204 w 3573"/>
                <a:gd name="T81" fmla="*/ 56 h 2793"/>
                <a:gd name="T82" fmla="*/ 124 w 3573"/>
                <a:gd name="T83" fmla="*/ 56 h 2793"/>
                <a:gd name="T84" fmla="*/ 37 w 3573"/>
                <a:gd name="T85" fmla="*/ 78 h 2793"/>
                <a:gd name="T86" fmla="*/ 0 w 3573"/>
                <a:gd name="T87" fmla="*/ 110 h 27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573" h="2793">
                  <a:moveTo>
                    <a:pt x="32" y="756"/>
                  </a:moveTo>
                  <a:lnTo>
                    <a:pt x="176" y="693"/>
                  </a:lnTo>
                  <a:lnTo>
                    <a:pt x="206" y="633"/>
                  </a:lnTo>
                  <a:lnTo>
                    <a:pt x="326" y="693"/>
                  </a:lnTo>
                  <a:lnTo>
                    <a:pt x="441" y="616"/>
                  </a:lnTo>
                  <a:lnTo>
                    <a:pt x="621" y="682"/>
                  </a:lnTo>
                  <a:lnTo>
                    <a:pt x="795" y="646"/>
                  </a:lnTo>
                  <a:lnTo>
                    <a:pt x="921" y="808"/>
                  </a:lnTo>
                  <a:lnTo>
                    <a:pt x="1016" y="873"/>
                  </a:lnTo>
                  <a:lnTo>
                    <a:pt x="1166" y="843"/>
                  </a:lnTo>
                  <a:lnTo>
                    <a:pt x="1269" y="820"/>
                  </a:lnTo>
                  <a:lnTo>
                    <a:pt x="1359" y="718"/>
                  </a:lnTo>
                  <a:lnTo>
                    <a:pt x="1443" y="628"/>
                  </a:lnTo>
                  <a:lnTo>
                    <a:pt x="1587" y="598"/>
                  </a:lnTo>
                  <a:lnTo>
                    <a:pt x="1676" y="663"/>
                  </a:lnTo>
                  <a:lnTo>
                    <a:pt x="1791" y="784"/>
                  </a:lnTo>
                  <a:lnTo>
                    <a:pt x="1827" y="873"/>
                  </a:lnTo>
                  <a:lnTo>
                    <a:pt x="2007" y="934"/>
                  </a:lnTo>
                  <a:lnTo>
                    <a:pt x="2127" y="994"/>
                  </a:lnTo>
                  <a:lnTo>
                    <a:pt x="2187" y="1162"/>
                  </a:lnTo>
                  <a:lnTo>
                    <a:pt x="2187" y="1263"/>
                  </a:lnTo>
                  <a:lnTo>
                    <a:pt x="2211" y="1402"/>
                  </a:lnTo>
                  <a:lnTo>
                    <a:pt x="2211" y="1516"/>
                  </a:lnTo>
                  <a:lnTo>
                    <a:pt x="2247" y="1624"/>
                  </a:lnTo>
                  <a:lnTo>
                    <a:pt x="2289" y="1582"/>
                  </a:lnTo>
                  <a:lnTo>
                    <a:pt x="2367" y="1563"/>
                  </a:lnTo>
                  <a:lnTo>
                    <a:pt x="2391" y="1636"/>
                  </a:lnTo>
                  <a:lnTo>
                    <a:pt x="2367" y="1683"/>
                  </a:lnTo>
                  <a:lnTo>
                    <a:pt x="2349" y="1786"/>
                  </a:lnTo>
                  <a:lnTo>
                    <a:pt x="2433" y="1948"/>
                  </a:lnTo>
                  <a:lnTo>
                    <a:pt x="2565" y="2050"/>
                  </a:lnTo>
                  <a:lnTo>
                    <a:pt x="2637" y="1953"/>
                  </a:lnTo>
                  <a:lnTo>
                    <a:pt x="2715" y="2152"/>
                  </a:lnTo>
                  <a:lnTo>
                    <a:pt x="2835" y="2266"/>
                  </a:lnTo>
                  <a:lnTo>
                    <a:pt x="2883" y="2404"/>
                  </a:lnTo>
                  <a:lnTo>
                    <a:pt x="2907" y="2493"/>
                  </a:lnTo>
                  <a:lnTo>
                    <a:pt x="3057" y="2493"/>
                  </a:lnTo>
                  <a:lnTo>
                    <a:pt x="3147" y="2643"/>
                  </a:lnTo>
                  <a:lnTo>
                    <a:pt x="3237" y="2703"/>
                  </a:lnTo>
                  <a:lnTo>
                    <a:pt x="3177" y="2793"/>
                  </a:lnTo>
                  <a:lnTo>
                    <a:pt x="3267" y="2793"/>
                  </a:lnTo>
                  <a:lnTo>
                    <a:pt x="3369" y="2770"/>
                  </a:lnTo>
                  <a:lnTo>
                    <a:pt x="3387" y="2703"/>
                  </a:lnTo>
                  <a:lnTo>
                    <a:pt x="3477" y="2733"/>
                  </a:lnTo>
                  <a:lnTo>
                    <a:pt x="3537" y="2583"/>
                  </a:lnTo>
                  <a:lnTo>
                    <a:pt x="3495" y="2500"/>
                  </a:lnTo>
                  <a:lnTo>
                    <a:pt x="3549" y="2428"/>
                  </a:lnTo>
                  <a:lnTo>
                    <a:pt x="3573" y="2266"/>
                  </a:lnTo>
                  <a:lnTo>
                    <a:pt x="3573" y="2086"/>
                  </a:lnTo>
                  <a:lnTo>
                    <a:pt x="3537" y="1863"/>
                  </a:lnTo>
                  <a:lnTo>
                    <a:pt x="3387" y="1503"/>
                  </a:lnTo>
                  <a:lnTo>
                    <a:pt x="3117" y="1173"/>
                  </a:lnTo>
                  <a:lnTo>
                    <a:pt x="3027" y="993"/>
                  </a:lnTo>
                  <a:lnTo>
                    <a:pt x="3117" y="993"/>
                  </a:lnTo>
                  <a:lnTo>
                    <a:pt x="3183" y="1096"/>
                  </a:lnTo>
                  <a:lnTo>
                    <a:pt x="3237" y="1198"/>
                  </a:lnTo>
                  <a:lnTo>
                    <a:pt x="3273" y="1198"/>
                  </a:lnTo>
                  <a:lnTo>
                    <a:pt x="3147" y="963"/>
                  </a:lnTo>
                  <a:lnTo>
                    <a:pt x="3021" y="832"/>
                  </a:lnTo>
                  <a:lnTo>
                    <a:pt x="2907" y="723"/>
                  </a:lnTo>
                  <a:lnTo>
                    <a:pt x="2865" y="604"/>
                  </a:lnTo>
                  <a:lnTo>
                    <a:pt x="2787" y="490"/>
                  </a:lnTo>
                  <a:lnTo>
                    <a:pt x="2733" y="370"/>
                  </a:lnTo>
                  <a:lnTo>
                    <a:pt x="2709" y="226"/>
                  </a:lnTo>
                  <a:lnTo>
                    <a:pt x="2637" y="183"/>
                  </a:lnTo>
                  <a:lnTo>
                    <a:pt x="2595" y="262"/>
                  </a:lnTo>
                  <a:lnTo>
                    <a:pt x="2643" y="448"/>
                  </a:lnTo>
                  <a:lnTo>
                    <a:pt x="2547" y="364"/>
                  </a:lnTo>
                  <a:lnTo>
                    <a:pt x="2547" y="213"/>
                  </a:lnTo>
                  <a:lnTo>
                    <a:pt x="2607" y="93"/>
                  </a:lnTo>
                  <a:lnTo>
                    <a:pt x="2609" y="0"/>
                  </a:lnTo>
                  <a:lnTo>
                    <a:pt x="2499" y="55"/>
                  </a:lnTo>
                  <a:lnTo>
                    <a:pt x="2379" y="31"/>
                  </a:lnTo>
                  <a:lnTo>
                    <a:pt x="2325" y="112"/>
                  </a:lnTo>
                  <a:lnTo>
                    <a:pt x="2325" y="184"/>
                  </a:lnTo>
                  <a:lnTo>
                    <a:pt x="2298" y="268"/>
                  </a:lnTo>
                  <a:lnTo>
                    <a:pt x="2246" y="220"/>
                  </a:lnTo>
                  <a:lnTo>
                    <a:pt x="2049" y="249"/>
                  </a:lnTo>
                  <a:lnTo>
                    <a:pt x="1703" y="265"/>
                  </a:lnTo>
                  <a:lnTo>
                    <a:pt x="1430" y="310"/>
                  </a:lnTo>
                  <a:lnTo>
                    <a:pt x="1185" y="333"/>
                  </a:lnTo>
                  <a:lnTo>
                    <a:pt x="1076" y="295"/>
                  </a:lnTo>
                  <a:lnTo>
                    <a:pt x="992" y="220"/>
                  </a:lnTo>
                  <a:lnTo>
                    <a:pt x="653" y="297"/>
                  </a:lnTo>
                  <a:lnTo>
                    <a:pt x="329" y="400"/>
                  </a:lnTo>
                  <a:lnTo>
                    <a:pt x="195" y="414"/>
                  </a:lnTo>
                  <a:lnTo>
                    <a:pt x="2" y="459"/>
                  </a:lnTo>
                  <a:lnTo>
                    <a:pt x="0" y="580"/>
                  </a:lnTo>
                  <a:lnTo>
                    <a:pt x="32" y="756"/>
                  </a:lnTo>
                  <a:close/>
                </a:path>
              </a:pathLst>
            </a:custGeom>
            <a:solidFill>
              <a:schemeClr val="accent2">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000000"/>
                </a:solidFill>
                <a:effectLst/>
                <a:uLnTx/>
                <a:uFillTx/>
                <a:latin typeface="Arial" charset="0"/>
                <a:ea typeface="宋体" panose="02010600030101010101" pitchFamily="2" charset="-122"/>
                <a:cs typeface="+mn-cs"/>
              </a:endParaRPr>
            </a:p>
          </p:txBody>
        </p:sp>
        <p:sp>
          <p:nvSpPr>
            <p:cNvPr id="31" name="Freeform 33"/>
            <p:cNvSpPr>
              <a:spLocks/>
            </p:cNvSpPr>
            <p:nvPr/>
          </p:nvSpPr>
          <p:spPr bwMode="auto">
            <a:xfrm>
              <a:off x="7314427" y="4615264"/>
              <a:ext cx="454970" cy="348735"/>
            </a:xfrm>
            <a:custGeom>
              <a:avLst/>
              <a:gdLst>
                <a:gd name="T0" fmla="*/ 0 w 1978"/>
                <a:gd name="T1" fmla="*/ 68 h 1580"/>
                <a:gd name="T2" fmla="*/ 67 w 1978"/>
                <a:gd name="T3" fmla="*/ 37 h 1580"/>
                <a:gd name="T4" fmla="*/ 114 w 1978"/>
                <a:gd name="T5" fmla="*/ 23 h 1580"/>
                <a:gd name="T6" fmla="*/ 150 w 1978"/>
                <a:gd name="T7" fmla="*/ 13 h 1580"/>
                <a:gd name="T8" fmla="*/ 182 w 1978"/>
                <a:gd name="T9" fmla="*/ 17 h 1580"/>
                <a:gd name="T10" fmla="*/ 199 w 1978"/>
                <a:gd name="T11" fmla="*/ 34 h 1580"/>
                <a:gd name="T12" fmla="*/ 234 w 1978"/>
                <a:gd name="T13" fmla="*/ 23 h 1580"/>
                <a:gd name="T14" fmla="*/ 279 w 1978"/>
                <a:gd name="T15" fmla="*/ 0 h 1580"/>
                <a:gd name="T16" fmla="*/ 325 w 1978"/>
                <a:gd name="T17" fmla="*/ 40 h 1580"/>
                <a:gd name="T18" fmla="*/ 364 w 1978"/>
                <a:gd name="T19" fmla="*/ 63 h 1580"/>
                <a:gd name="T20" fmla="*/ 375 w 1978"/>
                <a:gd name="T21" fmla="*/ 85 h 1580"/>
                <a:gd name="T22" fmla="*/ 359 w 1978"/>
                <a:gd name="T23" fmla="*/ 119 h 1580"/>
                <a:gd name="T24" fmla="*/ 330 w 1978"/>
                <a:gd name="T25" fmla="*/ 148 h 1580"/>
                <a:gd name="T26" fmla="*/ 330 w 1978"/>
                <a:gd name="T27" fmla="*/ 176 h 1580"/>
                <a:gd name="T28" fmla="*/ 307 w 1978"/>
                <a:gd name="T29" fmla="*/ 193 h 1580"/>
                <a:gd name="T30" fmla="*/ 296 w 1978"/>
                <a:gd name="T31" fmla="*/ 222 h 1580"/>
                <a:gd name="T32" fmla="*/ 273 w 1978"/>
                <a:gd name="T33" fmla="*/ 249 h 1580"/>
                <a:gd name="T34" fmla="*/ 247 w 1978"/>
                <a:gd name="T35" fmla="*/ 246 h 1580"/>
                <a:gd name="T36" fmla="*/ 237 w 1978"/>
                <a:gd name="T37" fmla="*/ 257 h 1580"/>
                <a:gd name="T38" fmla="*/ 234 w 1978"/>
                <a:gd name="T39" fmla="*/ 275 h 1580"/>
                <a:gd name="T40" fmla="*/ 230 w 1978"/>
                <a:gd name="T41" fmla="*/ 300 h 1580"/>
                <a:gd name="T42" fmla="*/ 206 w 1978"/>
                <a:gd name="T43" fmla="*/ 274 h 1580"/>
                <a:gd name="T44" fmla="*/ 178 w 1978"/>
                <a:gd name="T45" fmla="*/ 249 h 1580"/>
                <a:gd name="T46" fmla="*/ 184 w 1978"/>
                <a:gd name="T47" fmla="*/ 232 h 1580"/>
                <a:gd name="T48" fmla="*/ 145 w 1978"/>
                <a:gd name="T49" fmla="*/ 198 h 1580"/>
                <a:gd name="T50" fmla="*/ 118 w 1978"/>
                <a:gd name="T51" fmla="*/ 185 h 1580"/>
                <a:gd name="T52" fmla="*/ 99 w 1978"/>
                <a:gd name="T53" fmla="*/ 166 h 1580"/>
                <a:gd name="T54" fmla="*/ 75 w 1978"/>
                <a:gd name="T55" fmla="*/ 152 h 1580"/>
                <a:gd name="T56" fmla="*/ 48 w 1978"/>
                <a:gd name="T57" fmla="*/ 141 h 1580"/>
                <a:gd name="T58" fmla="*/ 43 w 1978"/>
                <a:gd name="T59" fmla="*/ 122 h 1580"/>
                <a:gd name="T60" fmla="*/ 21 w 1978"/>
                <a:gd name="T61" fmla="*/ 114 h 1580"/>
                <a:gd name="T62" fmla="*/ 8 w 1978"/>
                <a:gd name="T63" fmla="*/ 95 h 1580"/>
                <a:gd name="T64" fmla="*/ 0 w 1978"/>
                <a:gd name="T65" fmla="*/ 68 h 15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78" h="1580">
                  <a:moveTo>
                    <a:pt x="0" y="359"/>
                  </a:moveTo>
                  <a:lnTo>
                    <a:pt x="352" y="195"/>
                  </a:lnTo>
                  <a:lnTo>
                    <a:pt x="599" y="120"/>
                  </a:lnTo>
                  <a:lnTo>
                    <a:pt x="793" y="67"/>
                  </a:lnTo>
                  <a:lnTo>
                    <a:pt x="960" y="90"/>
                  </a:lnTo>
                  <a:lnTo>
                    <a:pt x="1050" y="180"/>
                  </a:lnTo>
                  <a:lnTo>
                    <a:pt x="1233" y="123"/>
                  </a:lnTo>
                  <a:lnTo>
                    <a:pt x="1470" y="0"/>
                  </a:lnTo>
                  <a:lnTo>
                    <a:pt x="1714" y="211"/>
                  </a:lnTo>
                  <a:lnTo>
                    <a:pt x="1921" y="330"/>
                  </a:lnTo>
                  <a:lnTo>
                    <a:pt x="1978" y="450"/>
                  </a:lnTo>
                  <a:lnTo>
                    <a:pt x="1891" y="629"/>
                  </a:lnTo>
                  <a:lnTo>
                    <a:pt x="1741" y="779"/>
                  </a:lnTo>
                  <a:lnTo>
                    <a:pt x="1741" y="929"/>
                  </a:lnTo>
                  <a:lnTo>
                    <a:pt x="1621" y="1019"/>
                  </a:lnTo>
                  <a:lnTo>
                    <a:pt x="1561" y="1169"/>
                  </a:lnTo>
                  <a:lnTo>
                    <a:pt x="1441" y="1309"/>
                  </a:lnTo>
                  <a:lnTo>
                    <a:pt x="1305" y="1297"/>
                  </a:lnTo>
                  <a:lnTo>
                    <a:pt x="1249" y="1353"/>
                  </a:lnTo>
                  <a:lnTo>
                    <a:pt x="1233" y="1449"/>
                  </a:lnTo>
                  <a:lnTo>
                    <a:pt x="1211" y="1580"/>
                  </a:lnTo>
                  <a:lnTo>
                    <a:pt x="1088" y="1442"/>
                  </a:lnTo>
                  <a:lnTo>
                    <a:pt x="941" y="1311"/>
                  </a:lnTo>
                  <a:lnTo>
                    <a:pt x="971" y="1220"/>
                  </a:lnTo>
                  <a:lnTo>
                    <a:pt x="765" y="1042"/>
                  </a:lnTo>
                  <a:lnTo>
                    <a:pt x="621" y="973"/>
                  </a:lnTo>
                  <a:lnTo>
                    <a:pt x="521" y="874"/>
                  </a:lnTo>
                  <a:lnTo>
                    <a:pt x="397" y="798"/>
                  </a:lnTo>
                  <a:lnTo>
                    <a:pt x="253" y="742"/>
                  </a:lnTo>
                  <a:lnTo>
                    <a:pt x="228" y="641"/>
                  </a:lnTo>
                  <a:lnTo>
                    <a:pt x="109" y="598"/>
                  </a:lnTo>
                  <a:lnTo>
                    <a:pt x="43" y="500"/>
                  </a:lnTo>
                  <a:lnTo>
                    <a:pt x="0" y="359"/>
                  </a:lnTo>
                  <a:close/>
                </a:path>
              </a:pathLst>
            </a:custGeom>
            <a:solidFill>
              <a:schemeClr val="accent2">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2" name="Freeform 34"/>
            <p:cNvSpPr>
              <a:spLocks/>
            </p:cNvSpPr>
            <p:nvPr/>
          </p:nvSpPr>
          <p:spPr bwMode="auto">
            <a:xfrm>
              <a:off x="6935286" y="4379616"/>
              <a:ext cx="754252" cy="387096"/>
            </a:xfrm>
            <a:custGeom>
              <a:avLst/>
              <a:gdLst>
                <a:gd name="T0" fmla="*/ 0 w 3422"/>
                <a:gd name="T1" fmla="*/ 333 h 1760"/>
                <a:gd name="T2" fmla="*/ 32 w 3422"/>
                <a:gd name="T3" fmla="*/ 329 h 1760"/>
                <a:gd name="T4" fmla="*/ 70 w 3422"/>
                <a:gd name="T5" fmla="*/ 317 h 1760"/>
                <a:gd name="T6" fmla="*/ 92 w 3422"/>
                <a:gd name="T7" fmla="*/ 314 h 1760"/>
                <a:gd name="T8" fmla="*/ 161 w 3422"/>
                <a:gd name="T9" fmla="*/ 282 h 1760"/>
                <a:gd name="T10" fmla="*/ 205 w 3422"/>
                <a:gd name="T11" fmla="*/ 268 h 1760"/>
                <a:gd name="T12" fmla="*/ 243 w 3422"/>
                <a:gd name="T13" fmla="*/ 258 h 1760"/>
                <a:gd name="T14" fmla="*/ 275 w 3422"/>
                <a:gd name="T15" fmla="*/ 262 h 1760"/>
                <a:gd name="T16" fmla="*/ 292 w 3422"/>
                <a:gd name="T17" fmla="*/ 280 h 1760"/>
                <a:gd name="T18" fmla="*/ 327 w 3422"/>
                <a:gd name="T19" fmla="*/ 268 h 1760"/>
                <a:gd name="T20" fmla="*/ 371 w 3422"/>
                <a:gd name="T21" fmla="*/ 246 h 1760"/>
                <a:gd name="T22" fmla="*/ 418 w 3422"/>
                <a:gd name="T23" fmla="*/ 286 h 1760"/>
                <a:gd name="T24" fmla="*/ 457 w 3422"/>
                <a:gd name="T25" fmla="*/ 308 h 1760"/>
                <a:gd name="T26" fmla="*/ 467 w 3422"/>
                <a:gd name="T27" fmla="*/ 331 h 1760"/>
                <a:gd name="T28" fmla="*/ 506 w 3422"/>
                <a:gd name="T29" fmla="*/ 301 h 1760"/>
                <a:gd name="T30" fmla="*/ 525 w 3422"/>
                <a:gd name="T31" fmla="*/ 276 h 1760"/>
                <a:gd name="T32" fmla="*/ 537 w 3422"/>
                <a:gd name="T33" fmla="*/ 246 h 1760"/>
                <a:gd name="T34" fmla="*/ 554 w 3422"/>
                <a:gd name="T35" fmla="*/ 217 h 1760"/>
                <a:gd name="T36" fmla="*/ 582 w 3422"/>
                <a:gd name="T37" fmla="*/ 202 h 1760"/>
                <a:gd name="T38" fmla="*/ 603 w 3422"/>
                <a:gd name="T39" fmla="*/ 187 h 1760"/>
                <a:gd name="T40" fmla="*/ 614 w 3422"/>
                <a:gd name="T41" fmla="*/ 176 h 1760"/>
                <a:gd name="T42" fmla="*/ 603 w 3422"/>
                <a:gd name="T43" fmla="*/ 165 h 1760"/>
                <a:gd name="T44" fmla="*/ 568 w 3422"/>
                <a:gd name="T45" fmla="*/ 182 h 1760"/>
                <a:gd name="T46" fmla="*/ 563 w 3422"/>
                <a:gd name="T47" fmla="*/ 165 h 1760"/>
                <a:gd name="T48" fmla="*/ 582 w 3422"/>
                <a:gd name="T49" fmla="*/ 160 h 1760"/>
                <a:gd name="T50" fmla="*/ 592 w 3422"/>
                <a:gd name="T51" fmla="*/ 148 h 1760"/>
                <a:gd name="T52" fmla="*/ 591 w 3422"/>
                <a:gd name="T53" fmla="*/ 125 h 1760"/>
                <a:gd name="T54" fmla="*/ 625 w 3422"/>
                <a:gd name="T55" fmla="*/ 114 h 1760"/>
                <a:gd name="T56" fmla="*/ 645 w 3422"/>
                <a:gd name="T57" fmla="*/ 90 h 1760"/>
                <a:gd name="T58" fmla="*/ 648 w 3422"/>
                <a:gd name="T59" fmla="*/ 68 h 1760"/>
                <a:gd name="T60" fmla="*/ 625 w 3422"/>
                <a:gd name="T61" fmla="*/ 45 h 1760"/>
                <a:gd name="T62" fmla="*/ 620 w 3422"/>
                <a:gd name="T63" fmla="*/ 68 h 1760"/>
                <a:gd name="T64" fmla="*/ 602 w 3422"/>
                <a:gd name="T65" fmla="*/ 63 h 1760"/>
                <a:gd name="T66" fmla="*/ 570 w 3422"/>
                <a:gd name="T67" fmla="*/ 70 h 1760"/>
                <a:gd name="T68" fmla="*/ 551 w 3422"/>
                <a:gd name="T69" fmla="*/ 51 h 1760"/>
                <a:gd name="T70" fmla="*/ 564 w 3422"/>
                <a:gd name="T71" fmla="*/ 39 h 1760"/>
                <a:gd name="T72" fmla="*/ 586 w 3422"/>
                <a:gd name="T73" fmla="*/ 49 h 1760"/>
                <a:gd name="T74" fmla="*/ 599 w 3422"/>
                <a:gd name="T75" fmla="*/ 34 h 1760"/>
                <a:gd name="T76" fmla="*/ 620 w 3422"/>
                <a:gd name="T77" fmla="*/ 28 h 1760"/>
                <a:gd name="T78" fmla="*/ 591 w 3422"/>
                <a:gd name="T79" fmla="*/ 0 h 1760"/>
                <a:gd name="T80" fmla="*/ 554 w 3422"/>
                <a:gd name="T81" fmla="*/ 17 h 1760"/>
                <a:gd name="T82" fmla="*/ 512 w 3422"/>
                <a:gd name="T83" fmla="*/ 23 h 1760"/>
                <a:gd name="T84" fmla="*/ 351 w 3422"/>
                <a:gd name="T85" fmla="*/ 70 h 1760"/>
                <a:gd name="T86" fmla="*/ 280 w 3422"/>
                <a:gd name="T87" fmla="*/ 101 h 1760"/>
                <a:gd name="T88" fmla="*/ 178 w 3422"/>
                <a:gd name="T89" fmla="*/ 129 h 1760"/>
                <a:gd name="T90" fmla="*/ 178 w 3422"/>
                <a:gd name="T91" fmla="*/ 151 h 1760"/>
                <a:gd name="T92" fmla="*/ 165 w 3422"/>
                <a:gd name="T93" fmla="*/ 169 h 1760"/>
                <a:gd name="T94" fmla="*/ 97 w 3422"/>
                <a:gd name="T95" fmla="*/ 202 h 1760"/>
                <a:gd name="T96" fmla="*/ 103 w 3422"/>
                <a:gd name="T97" fmla="*/ 220 h 1760"/>
                <a:gd name="T98" fmla="*/ 32 w 3422"/>
                <a:gd name="T99" fmla="*/ 275 h 1760"/>
                <a:gd name="T100" fmla="*/ 18 w 3422"/>
                <a:gd name="T101" fmla="*/ 300 h 1760"/>
                <a:gd name="T102" fmla="*/ 1 w 3422"/>
                <a:gd name="T103" fmla="*/ 305 h 1760"/>
                <a:gd name="T104" fmla="*/ 0 w 3422"/>
                <a:gd name="T105" fmla="*/ 333 h 17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422" h="1760">
                  <a:moveTo>
                    <a:pt x="0" y="1760"/>
                  </a:moveTo>
                  <a:lnTo>
                    <a:pt x="168" y="1738"/>
                  </a:lnTo>
                  <a:lnTo>
                    <a:pt x="369" y="1675"/>
                  </a:lnTo>
                  <a:lnTo>
                    <a:pt x="487" y="1657"/>
                  </a:lnTo>
                  <a:lnTo>
                    <a:pt x="848" y="1490"/>
                  </a:lnTo>
                  <a:lnTo>
                    <a:pt x="1082" y="1419"/>
                  </a:lnTo>
                  <a:lnTo>
                    <a:pt x="1283" y="1365"/>
                  </a:lnTo>
                  <a:lnTo>
                    <a:pt x="1452" y="1386"/>
                  </a:lnTo>
                  <a:lnTo>
                    <a:pt x="1542" y="1478"/>
                  </a:lnTo>
                  <a:lnTo>
                    <a:pt x="1726" y="1418"/>
                  </a:lnTo>
                  <a:lnTo>
                    <a:pt x="1961" y="1298"/>
                  </a:lnTo>
                  <a:lnTo>
                    <a:pt x="2209" y="1511"/>
                  </a:lnTo>
                  <a:lnTo>
                    <a:pt x="2411" y="1626"/>
                  </a:lnTo>
                  <a:lnTo>
                    <a:pt x="2468" y="1748"/>
                  </a:lnTo>
                  <a:lnTo>
                    <a:pt x="2672" y="1590"/>
                  </a:lnTo>
                  <a:lnTo>
                    <a:pt x="2772" y="1460"/>
                  </a:lnTo>
                  <a:lnTo>
                    <a:pt x="2836" y="1300"/>
                  </a:lnTo>
                  <a:lnTo>
                    <a:pt x="2924" y="1148"/>
                  </a:lnTo>
                  <a:lnTo>
                    <a:pt x="3076" y="1068"/>
                  </a:lnTo>
                  <a:lnTo>
                    <a:pt x="3182" y="990"/>
                  </a:lnTo>
                  <a:lnTo>
                    <a:pt x="3244" y="932"/>
                  </a:lnTo>
                  <a:lnTo>
                    <a:pt x="3182" y="870"/>
                  </a:lnTo>
                  <a:lnTo>
                    <a:pt x="3002" y="960"/>
                  </a:lnTo>
                  <a:lnTo>
                    <a:pt x="2972" y="870"/>
                  </a:lnTo>
                  <a:lnTo>
                    <a:pt x="3076" y="844"/>
                  </a:lnTo>
                  <a:lnTo>
                    <a:pt x="3124" y="780"/>
                  </a:lnTo>
                  <a:lnTo>
                    <a:pt x="3122" y="660"/>
                  </a:lnTo>
                  <a:lnTo>
                    <a:pt x="3302" y="600"/>
                  </a:lnTo>
                  <a:lnTo>
                    <a:pt x="3404" y="476"/>
                  </a:lnTo>
                  <a:lnTo>
                    <a:pt x="3422" y="360"/>
                  </a:lnTo>
                  <a:lnTo>
                    <a:pt x="3302" y="240"/>
                  </a:lnTo>
                  <a:lnTo>
                    <a:pt x="3272" y="360"/>
                  </a:lnTo>
                  <a:lnTo>
                    <a:pt x="3180" y="332"/>
                  </a:lnTo>
                  <a:lnTo>
                    <a:pt x="3012" y="372"/>
                  </a:lnTo>
                  <a:lnTo>
                    <a:pt x="2912" y="270"/>
                  </a:lnTo>
                  <a:lnTo>
                    <a:pt x="2980" y="204"/>
                  </a:lnTo>
                  <a:lnTo>
                    <a:pt x="3092" y="260"/>
                  </a:lnTo>
                  <a:lnTo>
                    <a:pt x="3164" y="180"/>
                  </a:lnTo>
                  <a:lnTo>
                    <a:pt x="3272" y="150"/>
                  </a:lnTo>
                  <a:lnTo>
                    <a:pt x="3122" y="0"/>
                  </a:lnTo>
                  <a:lnTo>
                    <a:pt x="2924" y="92"/>
                  </a:lnTo>
                  <a:lnTo>
                    <a:pt x="2702" y="120"/>
                  </a:lnTo>
                  <a:lnTo>
                    <a:pt x="1852" y="372"/>
                  </a:lnTo>
                  <a:lnTo>
                    <a:pt x="1477" y="532"/>
                  </a:lnTo>
                  <a:lnTo>
                    <a:pt x="939" y="683"/>
                  </a:lnTo>
                  <a:lnTo>
                    <a:pt x="942" y="797"/>
                  </a:lnTo>
                  <a:lnTo>
                    <a:pt x="871" y="892"/>
                  </a:lnTo>
                  <a:lnTo>
                    <a:pt x="513" y="1070"/>
                  </a:lnTo>
                  <a:lnTo>
                    <a:pt x="545" y="1164"/>
                  </a:lnTo>
                  <a:lnTo>
                    <a:pt x="171" y="1451"/>
                  </a:lnTo>
                  <a:lnTo>
                    <a:pt x="93" y="1583"/>
                  </a:lnTo>
                  <a:lnTo>
                    <a:pt x="3" y="1614"/>
                  </a:lnTo>
                  <a:lnTo>
                    <a:pt x="0" y="1760"/>
                  </a:lnTo>
                  <a:close/>
                </a:path>
              </a:pathLst>
            </a:custGeom>
            <a:solidFill>
              <a:schemeClr val="accent2">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3" name="Freeform 35"/>
            <p:cNvSpPr>
              <a:spLocks/>
            </p:cNvSpPr>
            <p:nvPr/>
          </p:nvSpPr>
          <p:spPr bwMode="auto">
            <a:xfrm>
              <a:off x="6215453" y="3181424"/>
              <a:ext cx="510981" cy="371984"/>
            </a:xfrm>
            <a:custGeom>
              <a:avLst/>
              <a:gdLst>
                <a:gd name="T0" fmla="*/ 0 w 2320"/>
                <a:gd name="T1" fmla="*/ 115 h 1689"/>
                <a:gd name="T2" fmla="*/ 21 w 2320"/>
                <a:gd name="T3" fmla="*/ 97 h 1689"/>
                <a:gd name="T4" fmla="*/ 45 w 2320"/>
                <a:gd name="T5" fmla="*/ 98 h 1689"/>
                <a:gd name="T6" fmla="*/ 118 w 2320"/>
                <a:gd name="T7" fmla="*/ 74 h 1689"/>
                <a:gd name="T8" fmla="*/ 226 w 2320"/>
                <a:gd name="T9" fmla="*/ 38 h 1689"/>
                <a:gd name="T10" fmla="*/ 350 w 2320"/>
                <a:gd name="T11" fmla="*/ 0 h 1689"/>
                <a:gd name="T12" fmla="*/ 399 w 2320"/>
                <a:gd name="T13" fmla="*/ 33 h 1689"/>
                <a:gd name="T14" fmla="*/ 417 w 2320"/>
                <a:gd name="T15" fmla="*/ 41 h 1689"/>
                <a:gd name="T16" fmla="*/ 402 w 2320"/>
                <a:gd name="T17" fmla="*/ 64 h 1689"/>
                <a:gd name="T18" fmla="*/ 392 w 2320"/>
                <a:gd name="T19" fmla="*/ 92 h 1689"/>
                <a:gd name="T20" fmla="*/ 412 w 2320"/>
                <a:gd name="T21" fmla="*/ 124 h 1689"/>
                <a:gd name="T22" fmla="*/ 438 w 2320"/>
                <a:gd name="T23" fmla="*/ 143 h 1689"/>
                <a:gd name="T24" fmla="*/ 439 w 2320"/>
                <a:gd name="T25" fmla="*/ 159 h 1689"/>
                <a:gd name="T26" fmla="*/ 429 w 2320"/>
                <a:gd name="T27" fmla="*/ 177 h 1689"/>
                <a:gd name="T28" fmla="*/ 422 w 2320"/>
                <a:gd name="T29" fmla="*/ 196 h 1689"/>
                <a:gd name="T30" fmla="*/ 408 w 2320"/>
                <a:gd name="T31" fmla="*/ 211 h 1689"/>
                <a:gd name="T32" fmla="*/ 386 w 2320"/>
                <a:gd name="T33" fmla="*/ 213 h 1689"/>
                <a:gd name="T34" fmla="*/ 374 w 2320"/>
                <a:gd name="T35" fmla="*/ 221 h 1689"/>
                <a:gd name="T36" fmla="*/ 362 w 2320"/>
                <a:gd name="T37" fmla="*/ 225 h 1689"/>
                <a:gd name="T38" fmla="*/ 338 w 2320"/>
                <a:gd name="T39" fmla="*/ 224 h 1689"/>
                <a:gd name="T40" fmla="*/ 325 w 2320"/>
                <a:gd name="T41" fmla="*/ 225 h 1689"/>
                <a:gd name="T42" fmla="*/ 298 w 2320"/>
                <a:gd name="T43" fmla="*/ 237 h 1689"/>
                <a:gd name="T44" fmla="*/ 277 w 2320"/>
                <a:gd name="T45" fmla="*/ 242 h 1689"/>
                <a:gd name="T46" fmla="*/ 262 w 2320"/>
                <a:gd name="T47" fmla="*/ 259 h 1689"/>
                <a:gd name="T48" fmla="*/ 229 w 2320"/>
                <a:gd name="T49" fmla="*/ 265 h 1689"/>
                <a:gd name="T50" fmla="*/ 204 w 2320"/>
                <a:gd name="T51" fmla="*/ 274 h 1689"/>
                <a:gd name="T52" fmla="*/ 164 w 2320"/>
                <a:gd name="T53" fmla="*/ 285 h 1689"/>
                <a:gd name="T54" fmla="*/ 130 w 2320"/>
                <a:gd name="T55" fmla="*/ 297 h 1689"/>
                <a:gd name="T56" fmla="*/ 113 w 2320"/>
                <a:gd name="T57" fmla="*/ 297 h 1689"/>
                <a:gd name="T58" fmla="*/ 93 w 2320"/>
                <a:gd name="T59" fmla="*/ 313 h 1689"/>
                <a:gd name="T60" fmla="*/ 56 w 2320"/>
                <a:gd name="T61" fmla="*/ 320 h 1689"/>
                <a:gd name="T62" fmla="*/ 44 w 2320"/>
                <a:gd name="T63" fmla="*/ 300 h 1689"/>
                <a:gd name="T64" fmla="*/ 39 w 2320"/>
                <a:gd name="T65" fmla="*/ 248 h 1689"/>
                <a:gd name="T66" fmla="*/ 26 w 2320"/>
                <a:gd name="T67" fmla="*/ 252 h 1689"/>
                <a:gd name="T68" fmla="*/ 23 w 2320"/>
                <a:gd name="T69" fmla="*/ 196 h 1689"/>
                <a:gd name="T70" fmla="*/ 0 w 2320"/>
                <a:gd name="T71" fmla="*/ 115 h 16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320" h="1689">
                  <a:moveTo>
                    <a:pt x="0" y="606"/>
                  </a:moveTo>
                  <a:lnTo>
                    <a:pt x="112" y="510"/>
                  </a:lnTo>
                  <a:lnTo>
                    <a:pt x="238" y="516"/>
                  </a:lnTo>
                  <a:lnTo>
                    <a:pt x="622" y="390"/>
                  </a:lnTo>
                  <a:lnTo>
                    <a:pt x="1192" y="198"/>
                  </a:lnTo>
                  <a:lnTo>
                    <a:pt x="1852" y="0"/>
                  </a:lnTo>
                  <a:lnTo>
                    <a:pt x="2110" y="174"/>
                  </a:lnTo>
                  <a:lnTo>
                    <a:pt x="2206" y="216"/>
                  </a:lnTo>
                  <a:lnTo>
                    <a:pt x="2122" y="336"/>
                  </a:lnTo>
                  <a:lnTo>
                    <a:pt x="2071" y="486"/>
                  </a:lnTo>
                  <a:lnTo>
                    <a:pt x="2176" y="654"/>
                  </a:lnTo>
                  <a:lnTo>
                    <a:pt x="2314" y="756"/>
                  </a:lnTo>
                  <a:lnTo>
                    <a:pt x="2320" y="840"/>
                  </a:lnTo>
                  <a:lnTo>
                    <a:pt x="2266" y="935"/>
                  </a:lnTo>
                  <a:lnTo>
                    <a:pt x="2230" y="1037"/>
                  </a:lnTo>
                  <a:lnTo>
                    <a:pt x="2156" y="1115"/>
                  </a:lnTo>
                  <a:lnTo>
                    <a:pt x="2042" y="1125"/>
                  </a:lnTo>
                  <a:lnTo>
                    <a:pt x="1978" y="1167"/>
                  </a:lnTo>
                  <a:lnTo>
                    <a:pt x="1912" y="1189"/>
                  </a:lnTo>
                  <a:lnTo>
                    <a:pt x="1786" y="1181"/>
                  </a:lnTo>
                  <a:lnTo>
                    <a:pt x="1718" y="1187"/>
                  </a:lnTo>
                  <a:lnTo>
                    <a:pt x="1574" y="1251"/>
                  </a:lnTo>
                  <a:lnTo>
                    <a:pt x="1462" y="1275"/>
                  </a:lnTo>
                  <a:lnTo>
                    <a:pt x="1382" y="1367"/>
                  </a:lnTo>
                  <a:lnTo>
                    <a:pt x="1208" y="1397"/>
                  </a:lnTo>
                  <a:lnTo>
                    <a:pt x="1080" y="1445"/>
                  </a:lnTo>
                  <a:lnTo>
                    <a:pt x="866" y="1505"/>
                  </a:lnTo>
                  <a:lnTo>
                    <a:pt x="687" y="1568"/>
                  </a:lnTo>
                  <a:lnTo>
                    <a:pt x="597" y="1568"/>
                  </a:lnTo>
                  <a:lnTo>
                    <a:pt x="489" y="1653"/>
                  </a:lnTo>
                  <a:lnTo>
                    <a:pt x="297" y="1689"/>
                  </a:lnTo>
                  <a:lnTo>
                    <a:pt x="234" y="1581"/>
                  </a:lnTo>
                  <a:lnTo>
                    <a:pt x="208" y="1307"/>
                  </a:lnTo>
                  <a:lnTo>
                    <a:pt x="136" y="1329"/>
                  </a:lnTo>
                  <a:lnTo>
                    <a:pt x="122" y="1035"/>
                  </a:lnTo>
                  <a:lnTo>
                    <a:pt x="0" y="606"/>
                  </a:lnTo>
                  <a:close/>
                </a:path>
              </a:pathLst>
            </a:custGeom>
            <a:solidFill>
              <a:schemeClr val="accent4">
                <a:lumMod val="20000"/>
                <a:lumOff val="8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4" name="Freeform 36"/>
            <p:cNvSpPr>
              <a:spLocks/>
            </p:cNvSpPr>
            <p:nvPr/>
          </p:nvSpPr>
          <p:spPr bwMode="auto">
            <a:xfrm rot="21420593">
              <a:off x="6300756" y="2883349"/>
              <a:ext cx="606626" cy="392747"/>
            </a:xfrm>
            <a:custGeom>
              <a:avLst/>
              <a:gdLst>
                <a:gd name="T0" fmla="*/ 0 w 2597"/>
                <a:gd name="T1" fmla="*/ 421 h 2224"/>
                <a:gd name="T2" fmla="*/ 24 w 2597"/>
                <a:gd name="T3" fmla="*/ 422 h 2224"/>
                <a:gd name="T4" fmla="*/ 207 w 2597"/>
                <a:gd name="T5" fmla="*/ 361 h 2224"/>
                <a:gd name="T6" fmla="*/ 330 w 2597"/>
                <a:gd name="T7" fmla="*/ 324 h 2224"/>
                <a:gd name="T8" fmla="*/ 380 w 2597"/>
                <a:gd name="T9" fmla="*/ 357 h 2224"/>
                <a:gd name="T10" fmla="*/ 398 w 2597"/>
                <a:gd name="T11" fmla="*/ 365 h 2224"/>
                <a:gd name="T12" fmla="*/ 436 w 2597"/>
                <a:gd name="T13" fmla="*/ 367 h 2224"/>
                <a:gd name="T14" fmla="*/ 474 w 2597"/>
                <a:gd name="T15" fmla="*/ 373 h 2224"/>
                <a:gd name="T16" fmla="*/ 493 w 2597"/>
                <a:gd name="T17" fmla="*/ 346 h 2224"/>
                <a:gd name="T18" fmla="*/ 483 w 2597"/>
                <a:gd name="T19" fmla="*/ 334 h 2224"/>
                <a:gd name="T20" fmla="*/ 482 w 2597"/>
                <a:gd name="T21" fmla="*/ 314 h 2224"/>
                <a:gd name="T22" fmla="*/ 465 w 2597"/>
                <a:gd name="T23" fmla="*/ 301 h 2224"/>
                <a:gd name="T24" fmla="*/ 459 w 2597"/>
                <a:gd name="T25" fmla="*/ 278 h 2224"/>
                <a:gd name="T26" fmla="*/ 454 w 2597"/>
                <a:gd name="T27" fmla="*/ 241 h 2224"/>
                <a:gd name="T28" fmla="*/ 447 w 2597"/>
                <a:gd name="T29" fmla="*/ 198 h 2224"/>
                <a:gd name="T30" fmla="*/ 439 w 2597"/>
                <a:gd name="T31" fmla="*/ 170 h 2224"/>
                <a:gd name="T32" fmla="*/ 433 w 2597"/>
                <a:gd name="T33" fmla="*/ 132 h 2224"/>
                <a:gd name="T34" fmla="*/ 396 w 2597"/>
                <a:gd name="T35" fmla="*/ 73 h 2224"/>
                <a:gd name="T36" fmla="*/ 385 w 2597"/>
                <a:gd name="T37" fmla="*/ 28 h 2224"/>
                <a:gd name="T38" fmla="*/ 377 w 2597"/>
                <a:gd name="T39" fmla="*/ 11 h 2224"/>
                <a:gd name="T40" fmla="*/ 362 w 2597"/>
                <a:gd name="T41" fmla="*/ 0 h 2224"/>
                <a:gd name="T42" fmla="*/ 351 w 2597"/>
                <a:gd name="T43" fmla="*/ 11 h 2224"/>
                <a:gd name="T44" fmla="*/ 328 w 2597"/>
                <a:gd name="T45" fmla="*/ 16 h 2224"/>
                <a:gd name="T46" fmla="*/ 301 w 2597"/>
                <a:gd name="T47" fmla="*/ 29 h 2224"/>
                <a:gd name="T48" fmla="*/ 260 w 2597"/>
                <a:gd name="T49" fmla="*/ 39 h 2224"/>
                <a:gd name="T50" fmla="*/ 243 w 2597"/>
                <a:gd name="T51" fmla="*/ 61 h 2224"/>
                <a:gd name="T52" fmla="*/ 225 w 2597"/>
                <a:gd name="T53" fmla="*/ 85 h 2224"/>
                <a:gd name="T54" fmla="*/ 227 w 2597"/>
                <a:gd name="T55" fmla="*/ 108 h 2224"/>
                <a:gd name="T56" fmla="*/ 233 w 2597"/>
                <a:gd name="T57" fmla="*/ 123 h 2224"/>
                <a:gd name="T58" fmla="*/ 197 w 2597"/>
                <a:gd name="T59" fmla="*/ 159 h 2224"/>
                <a:gd name="T60" fmla="*/ 211 w 2597"/>
                <a:gd name="T61" fmla="*/ 165 h 2224"/>
                <a:gd name="T62" fmla="*/ 225 w 2597"/>
                <a:gd name="T63" fmla="*/ 159 h 2224"/>
                <a:gd name="T64" fmla="*/ 228 w 2597"/>
                <a:gd name="T65" fmla="*/ 173 h 2224"/>
                <a:gd name="T66" fmla="*/ 214 w 2597"/>
                <a:gd name="T67" fmla="*/ 187 h 2224"/>
                <a:gd name="T68" fmla="*/ 237 w 2597"/>
                <a:gd name="T69" fmla="*/ 198 h 2224"/>
                <a:gd name="T70" fmla="*/ 242 w 2597"/>
                <a:gd name="T71" fmla="*/ 216 h 2224"/>
                <a:gd name="T72" fmla="*/ 213 w 2597"/>
                <a:gd name="T73" fmla="*/ 225 h 2224"/>
                <a:gd name="T74" fmla="*/ 183 w 2597"/>
                <a:gd name="T75" fmla="*/ 243 h 2224"/>
                <a:gd name="T76" fmla="*/ 151 w 2597"/>
                <a:gd name="T77" fmla="*/ 267 h 2224"/>
                <a:gd name="T78" fmla="*/ 120 w 2597"/>
                <a:gd name="T79" fmla="*/ 261 h 2224"/>
                <a:gd name="T80" fmla="*/ 88 w 2597"/>
                <a:gd name="T81" fmla="*/ 273 h 2224"/>
                <a:gd name="T82" fmla="*/ 60 w 2597"/>
                <a:gd name="T83" fmla="*/ 291 h 2224"/>
                <a:gd name="T84" fmla="*/ 58 w 2597"/>
                <a:gd name="T85" fmla="*/ 310 h 2224"/>
                <a:gd name="T86" fmla="*/ 77 w 2597"/>
                <a:gd name="T87" fmla="*/ 329 h 2224"/>
                <a:gd name="T88" fmla="*/ 76 w 2597"/>
                <a:gd name="T89" fmla="*/ 351 h 2224"/>
                <a:gd name="T90" fmla="*/ 60 w 2597"/>
                <a:gd name="T91" fmla="*/ 369 h 2224"/>
                <a:gd name="T92" fmla="*/ 0 w 2597"/>
                <a:gd name="T93" fmla="*/ 421 h 22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97" h="2224">
                  <a:moveTo>
                    <a:pt x="0" y="2218"/>
                  </a:moveTo>
                  <a:lnTo>
                    <a:pt x="128" y="2224"/>
                  </a:lnTo>
                  <a:lnTo>
                    <a:pt x="1088" y="1905"/>
                  </a:lnTo>
                  <a:lnTo>
                    <a:pt x="1737" y="1708"/>
                  </a:lnTo>
                  <a:lnTo>
                    <a:pt x="2003" y="1884"/>
                  </a:lnTo>
                  <a:lnTo>
                    <a:pt x="2094" y="1924"/>
                  </a:lnTo>
                  <a:lnTo>
                    <a:pt x="2298" y="1936"/>
                  </a:lnTo>
                  <a:lnTo>
                    <a:pt x="2498" y="1968"/>
                  </a:lnTo>
                  <a:lnTo>
                    <a:pt x="2597" y="1826"/>
                  </a:lnTo>
                  <a:lnTo>
                    <a:pt x="2546" y="1760"/>
                  </a:lnTo>
                  <a:lnTo>
                    <a:pt x="2538" y="1656"/>
                  </a:lnTo>
                  <a:lnTo>
                    <a:pt x="2450" y="1584"/>
                  </a:lnTo>
                  <a:lnTo>
                    <a:pt x="2417" y="1466"/>
                  </a:lnTo>
                  <a:lnTo>
                    <a:pt x="2394" y="1272"/>
                  </a:lnTo>
                  <a:lnTo>
                    <a:pt x="2357" y="1046"/>
                  </a:lnTo>
                  <a:lnTo>
                    <a:pt x="2314" y="896"/>
                  </a:lnTo>
                  <a:lnTo>
                    <a:pt x="2282" y="696"/>
                  </a:lnTo>
                  <a:lnTo>
                    <a:pt x="2087" y="386"/>
                  </a:lnTo>
                  <a:lnTo>
                    <a:pt x="2027" y="146"/>
                  </a:lnTo>
                  <a:lnTo>
                    <a:pt x="1986" y="56"/>
                  </a:lnTo>
                  <a:lnTo>
                    <a:pt x="1906" y="0"/>
                  </a:lnTo>
                  <a:lnTo>
                    <a:pt x="1847" y="56"/>
                  </a:lnTo>
                  <a:lnTo>
                    <a:pt x="1727" y="86"/>
                  </a:lnTo>
                  <a:lnTo>
                    <a:pt x="1586" y="152"/>
                  </a:lnTo>
                  <a:lnTo>
                    <a:pt x="1367" y="206"/>
                  </a:lnTo>
                  <a:lnTo>
                    <a:pt x="1282" y="320"/>
                  </a:lnTo>
                  <a:lnTo>
                    <a:pt x="1186" y="446"/>
                  </a:lnTo>
                  <a:lnTo>
                    <a:pt x="1194" y="568"/>
                  </a:lnTo>
                  <a:lnTo>
                    <a:pt x="1226" y="648"/>
                  </a:lnTo>
                  <a:lnTo>
                    <a:pt x="1036" y="836"/>
                  </a:lnTo>
                  <a:lnTo>
                    <a:pt x="1114" y="872"/>
                  </a:lnTo>
                  <a:lnTo>
                    <a:pt x="1186" y="836"/>
                  </a:lnTo>
                  <a:lnTo>
                    <a:pt x="1202" y="912"/>
                  </a:lnTo>
                  <a:lnTo>
                    <a:pt x="1126" y="986"/>
                  </a:lnTo>
                  <a:lnTo>
                    <a:pt x="1247" y="1046"/>
                  </a:lnTo>
                  <a:lnTo>
                    <a:pt x="1277" y="1136"/>
                  </a:lnTo>
                  <a:lnTo>
                    <a:pt x="1122" y="1184"/>
                  </a:lnTo>
                  <a:lnTo>
                    <a:pt x="962" y="1280"/>
                  </a:lnTo>
                  <a:lnTo>
                    <a:pt x="796" y="1406"/>
                  </a:lnTo>
                  <a:lnTo>
                    <a:pt x="634" y="1376"/>
                  </a:lnTo>
                  <a:lnTo>
                    <a:pt x="466" y="1440"/>
                  </a:lnTo>
                  <a:lnTo>
                    <a:pt x="314" y="1536"/>
                  </a:lnTo>
                  <a:lnTo>
                    <a:pt x="306" y="1632"/>
                  </a:lnTo>
                  <a:lnTo>
                    <a:pt x="406" y="1736"/>
                  </a:lnTo>
                  <a:lnTo>
                    <a:pt x="402" y="1848"/>
                  </a:lnTo>
                  <a:lnTo>
                    <a:pt x="316" y="1946"/>
                  </a:lnTo>
                  <a:lnTo>
                    <a:pt x="0" y="2218"/>
                  </a:lnTo>
                  <a:close/>
                </a:path>
              </a:pathLst>
            </a:custGeom>
            <a:solidFill>
              <a:srgbClr val="7030A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000000"/>
                </a:solidFill>
                <a:effectLst/>
                <a:uLnTx/>
                <a:uFillTx/>
                <a:latin typeface="Arial" charset="0"/>
                <a:ea typeface="宋体" panose="02010600030101010101" pitchFamily="2" charset="-122"/>
                <a:cs typeface="+mn-cs"/>
              </a:endParaRPr>
            </a:p>
          </p:txBody>
        </p:sp>
        <p:sp>
          <p:nvSpPr>
            <p:cNvPr id="35" name="Freeform 37"/>
            <p:cNvSpPr>
              <a:spLocks/>
            </p:cNvSpPr>
            <p:nvPr/>
          </p:nvSpPr>
          <p:spPr bwMode="auto">
            <a:xfrm>
              <a:off x="6746250" y="2788677"/>
              <a:ext cx="151657" cy="314198"/>
            </a:xfrm>
            <a:custGeom>
              <a:avLst/>
              <a:gdLst>
                <a:gd name="T0" fmla="*/ 0 w 734"/>
                <a:gd name="T1" fmla="*/ 48 h 1311"/>
                <a:gd name="T2" fmla="*/ 68 w 734"/>
                <a:gd name="T3" fmla="*/ 27 h 1311"/>
                <a:gd name="T4" fmla="*/ 106 w 734"/>
                <a:gd name="T5" fmla="*/ 4 h 1311"/>
                <a:gd name="T6" fmla="*/ 124 w 734"/>
                <a:gd name="T7" fmla="*/ 0 h 1311"/>
                <a:gd name="T8" fmla="*/ 136 w 734"/>
                <a:gd name="T9" fmla="*/ 34 h 1311"/>
                <a:gd name="T10" fmla="*/ 140 w 734"/>
                <a:gd name="T11" fmla="*/ 56 h 1311"/>
                <a:gd name="T12" fmla="*/ 124 w 734"/>
                <a:gd name="T13" fmla="*/ 80 h 1311"/>
                <a:gd name="T14" fmla="*/ 122 w 734"/>
                <a:gd name="T15" fmla="*/ 126 h 1311"/>
                <a:gd name="T16" fmla="*/ 124 w 734"/>
                <a:gd name="T17" fmla="*/ 154 h 1311"/>
                <a:gd name="T18" fmla="*/ 126 w 734"/>
                <a:gd name="T19" fmla="*/ 182 h 1311"/>
                <a:gd name="T20" fmla="*/ 134 w 734"/>
                <a:gd name="T21" fmla="*/ 217 h 1311"/>
                <a:gd name="T22" fmla="*/ 140 w 734"/>
                <a:gd name="T23" fmla="*/ 231 h 1311"/>
                <a:gd name="T24" fmla="*/ 87 w 734"/>
                <a:gd name="T25" fmla="*/ 249 h 1311"/>
                <a:gd name="T26" fmla="*/ 77 w 734"/>
                <a:gd name="T27" fmla="*/ 219 h 1311"/>
                <a:gd name="T28" fmla="*/ 71 w 734"/>
                <a:gd name="T29" fmla="*/ 181 h 1311"/>
                <a:gd name="T30" fmla="*/ 34 w 734"/>
                <a:gd name="T31" fmla="*/ 121 h 1311"/>
                <a:gd name="T32" fmla="*/ 23 w 734"/>
                <a:gd name="T33" fmla="*/ 78 h 1311"/>
                <a:gd name="T34" fmla="*/ 16 w 734"/>
                <a:gd name="T35" fmla="*/ 60 h 1311"/>
                <a:gd name="T36" fmla="*/ 0 w 734"/>
                <a:gd name="T37" fmla="*/ 48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4" h="1311">
                  <a:moveTo>
                    <a:pt x="0" y="255"/>
                  </a:moveTo>
                  <a:lnTo>
                    <a:pt x="358" y="143"/>
                  </a:lnTo>
                  <a:lnTo>
                    <a:pt x="558" y="23"/>
                  </a:lnTo>
                  <a:lnTo>
                    <a:pt x="651" y="0"/>
                  </a:lnTo>
                  <a:lnTo>
                    <a:pt x="711" y="180"/>
                  </a:lnTo>
                  <a:lnTo>
                    <a:pt x="734" y="295"/>
                  </a:lnTo>
                  <a:lnTo>
                    <a:pt x="651" y="420"/>
                  </a:lnTo>
                  <a:lnTo>
                    <a:pt x="638" y="663"/>
                  </a:lnTo>
                  <a:lnTo>
                    <a:pt x="651" y="810"/>
                  </a:lnTo>
                  <a:lnTo>
                    <a:pt x="662" y="959"/>
                  </a:lnTo>
                  <a:lnTo>
                    <a:pt x="702" y="1143"/>
                  </a:lnTo>
                  <a:lnTo>
                    <a:pt x="734" y="1215"/>
                  </a:lnTo>
                  <a:lnTo>
                    <a:pt x="454" y="1311"/>
                  </a:lnTo>
                  <a:lnTo>
                    <a:pt x="406" y="1155"/>
                  </a:lnTo>
                  <a:lnTo>
                    <a:pt x="374" y="953"/>
                  </a:lnTo>
                  <a:lnTo>
                    <a:pt x="180" y="639"/>
                  </a:lnTo>
                  <a:lnTo>
                    <a:pt x="122" y="409"/>
                  </a:lnTo>
                  <a:lnTo>
                    <a:pt x="82" y="315"/>
                  </a:lnTo>
                  <a:lnTo>
                    <a:pt x="0" y="255"/>
                  </a:lnTo>
                  <a:close/>
                </a:path>
              </a:pathLst>
            </a:custGeom>
            <a:solidFill>
              <a:schemeClr val="accent4">
                <a:lumMod val="40000"/>
                <a:lumOff val="6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6" name="Freeform 38"/>
            <p:cNvSpPr>
              <a:spLocks/>
            </p:cNvSpPr>
            <p:nvPr/>
          </p:nvSpPr>
          <p:spPr bwMode="auto">
            <a:xfrm>
              <a:off x="6670422" y="3181424"/>
              <a:ext cx="227485" cy="346603"/>
            </a:xfrm>
            <a:custGeom>
              <a:avLst/>
              <a:gdLst>
                <a:gd name="T0" fmla="*/ 10 w 601"/>
                <a:gd name="T1" fmla="*/ 23 h 1190"/>
                <a:gd name="T2" fmla="*/ 0 w 601"/>
                <a:gd name="T3" fmla="*/ 51 h 1190"/>
                <a:gd name="T4" fmla="*/ 20 w 601"/>
                <a:gd name="T5" fmla="*/ 84 h 1190"/>
                <a:gd name="T6" fmla="*/ 46 w 601"/>
                <a:gd name="T7" fmla="*/ 103 h 1190"/>
                <a:gd name="T8" fmla="*/ 47 w 601"/>
                <a:gd name="T9" fmla="*/ 119 h 1190"/>
                <a:gd name="T10" fmla="*/ 38 w 601"/>
                <a:gd name="T11" fmla="*/ 136 h 1190"/>
                <a:gd name="T12" fmla="*/ 30 w 601"/>
                <a:gd name="T13" fmla="*/ 156 h 1190"/>
                <a:gd name="T14" fmla="*/ 17 w 601"/>
                <a:gd name="T15" fmla="*/ 171 h 1190"/>
                <a:gd name="T16" fmla="*/ 27 w 601"/>
                <a:gd name="T17" fmla="*/ 201 h 1190"/>
                <a:gd name="T18" fmla="*/ 48 w 601"/>
                <a:gd name="T19" fmla="*/ 198 h 1190"/>
                <a:gd name="T20" fmla="*/ 66 w 601"/>
                <a:gd name="T21" fmla="*/ 216 h 1190"/>
                <a:gd name="T22" fmla="*/ 85 w 601"/>
                <a:gd name="T23" fmla="*/ 226 h 1190"/>
                <a:gd name="T24" fmla="*/ 91 w 601"/>
                <a:gd name="T25" fmla="*/ 188 h 1190"/>
                <a:gd name="T26" fmla="*/ 97 w 601"/>
                <a:gd name="T27" fmla="*/ 165 h 1190"/>
                <a:gd name="T28" fmla="*/ 102 w 601"/>
                <a:gd name="T29" fmla="*/ 137 h 1190"/>
                <a:gd name="T30" fmla="*/ 114 w 601"/>
                <a:gd name="T31" fmla="*/ 108 h 1190"/>
                <a:gd name="T32" fmla="*/ 108 w 601"/>
                <a:gd name="T33" fmla="*/ 74 h 1190"/>
                <a:gd name="T34" fmla="*/ 86 w 601"/>
                <a:gd name="T35" fmla="*/ 57 h 1190"/>
                <a:gd name="T36" fmla="*/ 86 w 601"/>
                <a:gd name="T37" fmla="*/ 33 h 1190"/>
                <a:gd name="T38" fmla="*/ 102 w 601"/>
                <a:gd name="T39" fmla="*/ 9 h 1190"/>
                <a:gd name="T40" fmla="*/ 64 w 601"/>
                <a:gd name="T41" fmla="*/ 2 h 1190"/>
                <a:gd name="T42" fmla="*/ 26 w 601"/>
                <a:gd name="T43" fmla="*/ 0 h 1190"/>
                <a:gd name="T44" fmla="*/ 10 w 601"/>
                <a:gd name="T45" fmla="*/ 23 h 119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1" h="1190">
                  <a:moveTo>
                    <a:pt x="54" y="119"/>
                  </a:moveTo>
                  <a:lnTo>
                    <a:pt x="0" y="269"/>
                  </a:lnTo>
                  <a:lnTo>
                    <a:pt x="106" y="440"/>
                  </a:lnTo>
                  <a:lnTo>
                    <a:pt x="244" y="540"/>
                  </a:lnTo>
                  <a:lnTo>
                    <a:pt x="250" y="624"/>
                  </a:lnTo>
                  <a:lnTo>
                    <a:pt x="199" y="716"/>
                  </a:lnTo>
                  <a:lnTo>
                    <a:pt x="159" y="821"/>
                  </a:lnTo>
                  <a:lnTo>
                    <a:pt x="87" y="902"/>
                  </a:lnTo>
                  <a:lnTo>
                    <a:pt x="141" y="1059"/>
                  </a:lnTo>
                  <a:lnTo>
                    <a:pt x="254" y="1044"/>
                  </a:lnTo>
                  <a:lnTo>
                    <a:pt x="346" y="1135"/>
                  </a:lnTo>
                  <a:lnTo>
                    <a:pt x="446" y="1190"/>
                  </a:lnTo>
                  <a:lnTo>
                    <a:pt x="481" y="989"/>
                  </a:lnTo>
                  <a:lnTo>
                    <a:pt x="511" y="869"/>
                  </a:lnTo>
                  <a:lnTo>
                    <a:pt x="538" y="724"/>
                  </a:lnTo>
                  <a:lnTo>
                    <a:pt x="601" y="569"/>
                  </a:lnTo>
                  <a:lnTo>
                    <a:pt x="571" y="389"/>
                  </a:lnTo>
                  <a:lnTo>
                    <a:pt x="451" y="299"/>
                  </a:lnTo>
                  <a:lnTo>
                    <a:pt x="455" y="175"/>
                  </a:lnTo>
                  <a:lnTo>
                    <a:pt x="540" y="45"/>
                  </a:lnTo>
                  <a:lnTo>
                    <a:pt x="340" y="12"/>
                  </a:lnTo>
                  <a:lnTo>
                    <a:pt x="135" y="0"/>
                  </a:lnTo>
                  <a:lnTo>
                    <a:pt x="54" y="119"/>
                  </a:lnTo>
                  <a:close/>
                </a:path>
              </a:pathLst>
            </a:custGeom>
            <a:solidFill>
              <a:schemeClr val="accent4">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7" name="Freeform 39"/>
            <p:cNvSpPr>
              <a:spLocks/>
            </p:cNvSpPr>
            <p:nvPr/>
          </p:nvSpPr>
          <p:spPr bwMode="auto">
            <a:xfrm>
              <a:off x="6822079" y="3181424"/>
              <a:ext cx="378313" cy="170241"/>
            </a:xfrm>
            <a:custGeom>
              <a:avLst/>
              <a:gdLst>
                <a:gd name="T0" fmla="*/ 34 w 700"/>
                <a:gd name="T1" fmla="*/ 119 h 630"/>
                <a:gd name="T2" fmla="*/ 93 w 700"/>
                <a:gd name="T3" fmla="*/ 80 h 630"/>
                <a:gd name="T4" fmla="*/ 133 w 700"/>
                <a:gd name="T5" fmla="*/ 55 h 630"/>
                <a:gd name="T6" fmla="*/ 130 w 700"/>
                <a:gd name="T7" fmla="*/ 24 h 630"/>
                <a:gd name="T8" fmla="*/ 104 w 700"/>
                <a:gd name="T9" fmla="*/ 0 h 630"/>
                <a:gd name="T10" fmla="*/ 0 w 700"/>
                <a:gd name="T11" fmla="*/ 52 h 630"/>
                <a:gd name="T12" fmla="*/ 6 w 700"/>
                <a:gd name="T13" fmla="*/ 73 h 630"/>
                <a:gd name="T14" fmla="*/ 23 w 700"/>
                <a:gd name="T15" fmla="*/ 87 h 630"/>
                <a:gd name="T16" fmla="*/ 25 w 700"/>
                <a:gd name="T17" fmla="*/ 108 h 630"/>
                <a:gd name="T18" fmla="*/ 34 w 700"/>
                <a:gd name="T19" fmla="*/ 119 h 6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0" h="630">
                  <a:moveTo>
                    <a:pt x="181" y="630"/>
                  </a:moveTo>
                  <a:lnTo>
                    <a:pt x="490" y="421"/>
                  </a:lnTo>
                  <a:lnTo>
                    <a:pt x="700" y="293"/>
                  </a:lnTo>
                  <a:lnTo>
                    <a:pt x="682" y="128"/>
                  </a:lnTo>
                  <a:lnTo>
                    <a:pt x="545" y="0"/>
                  </a:lnTo>
                  <a:lnTo>
                    <a:pt x="0" y="276"/>
                  </a:lnTo>
                  <a:lnTo>
                    <a:pt x="31" y="388"/>
                  </a:lnTo>
                  <a:lnTo>
                    <a:pt x="120" y="463"/>
                  </a:lnTo>
                  <a:lnTo>
                    <a:pt x="130" y="570"/>
                  </a:lnTo>
                  <a:lnTo>
                    <a:pt x="181" y="630"/>
                  </a:lnTo>
                  <a:close/>
                </a:path>
              </a:pathLst>
            </a:custGeom>
            <a:solidFill>
              <a:srgbClr val="7030A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8" name="Freeform 40"/>
            <p:cNvSpPr>
              <a:spLocks/>
            </p:cNvSpPr>
            <p:nvPr/>
          </p:nvSpPr>
          <p:spPr bwMode="auto">
            <a:xfrm rot="498235">
              <a:off x="6838966" y="2995337"/>
              <a:ext cx="683140" cy="293622"/>
            </a:xfrm>
            <a:custGeom>
              <a:avLst/>
              <a:gdLst>
                <a:gd name="T0" fmla="*/ 142 w 1383"/>
                <a:gd name="T1" fmla="*/ 17 h 850"/>
                <a:gd name="T2" fmla="*/ 131 w 1383"/>
                <a:gd name="T3" fmla="*/ 40 h 850"/>
                <a:gd name="T4" fmla="*/ 53 w 1383"/>
                <a:gd name="T5" fmla="*/ 64 h 850"/>
                <a:gd name="T6" fmla="*/ 0 w 1383"/>
                <a:gd name="T7" fmla="*/ 83 h 850"/>
                <a:gd name="T8" fmla="*/ 6 w 1383"/>
                <a:gd name="T9" fmla="*/ 122 h 850"/>
                <a:gd name="T10" fmla="*/ 11 w 1383"/>
                <a:gd name="T11" fmla="*/ 161 h 850"/>
                <a:gd name="T12" fmla="*/ 113 w 1383"/>
                <a:gd name="T13" fmla="*/ 109 h 850"/>
                <a:gd name="T14" fmla="*/ 156 w 1383"/>
                <a:gd name="T15" fmla="*/ 96 h 850"/>
                <a:gd name="T16" fmla="*/ 172 w 1383"/>
                <a:gd name="T17" fmla="*/ 128 h 850"/>
                <a:gd name="T18" fmla="*/ 193 w 1383"/>
                <a:gd name="T19" fmla="*/ 142 h 850"/>
                <a:gd name="T20" fmla="*/ 201 w 1383"/>
                <a:gd name="T21" fmla="*/ 125 h 850"/>
                <a:gd name="T22" fmla="*/ 233 w 1383"/>
                <a:gd name="T23" fmla="*/ 102 h 850"/>
                <a:gd name="T24" fmla="*/ 261 w 1383"/>
                <a:gd name="T25" fmla="*/ 85 h 850"/>
                <a:gd name="T26" fmla="*/ 252 w 1383"/>
                <a:gd name="T27" fmla="*/ 73 h 850"/>
                <a:gd name="T28" fmla="*/ 250 w 1383"/>
                <a:gd name="T29" fmla="*/ 62 h 850"/>
                <a:gd name="T30" fmla="*/ 245 w 1383"/>
                <a:gd name="T31" fmla="*/ 44 h 850"/>
                <a:gd name="T32" fmla="*/ 240 w 1383"/>
                <a:gd name="T33" fmla="*/ 50 h 850"/>
                <a:gd name="T34" fmla="*/ 243 w 1383"/>
                <a:gd name="T35" fmla="*/ 60 h 850"/>
                <a:gd name="T36" fmla="*/ 240 w 1383"/>
                <a:gd name="T37" fmla="*/ 70 h 850"/>
                <a:gd name="T38" fmla="*/ 245 w 1383"/>
                <a:gd name="T39" fmla="*/ 82 h 850"/>
                <a:gd name="T40" fmla="*/ 227 w 1383"/>
                <a:gd name="T41" fmla="*/ 97 h 850"/>
                <a:gd name="T42" fmla="*/ 204 w 1383"/>
                <a:gd name="T43" fmla="*/ 85 h 850"/>
                <a:gd name="T44" fmla="*/ 176 w 1383"/>
                <a:gd name="T45" fmla="*/ 51 h 850"/>
                <a:gd name="T46" fmla="*/ 168 w 1383"/>
                <a:gd name="T47" fmla="*/ 23 h 850"/>
                <a:gd name="T48" fmla="*/ 142 w 1383"/>
                <a:gd name="T49" fmla="*/ 0 h 850"/>
                <a:gd name="T50" fmla="*/ 142 w 1383"/>
                <a:gd name="T51" fmla="*/ 17 h 8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83" h="850">
                  <a:moveTo>
                    <a:pt x="753" y="90"/>
                  </a:moveTo>
                  <a:lnTo>
                    <a:pt x="693" y="210"/>
                  </a:lnTo>
                  <a:lnTo>
                    <a:pt x="281" y="340"/>
                  </a:lnTo>
                  <a:lnTo>
                    <a:pt x="0" y="436"/>
                  </a:lnTo>
                  <a:lnTo>
                    <a:pt x="30" y="645"/>
                  </a:lnTo>
                  <a:lnTo>
                    <a:pt x="57" y="850"/>
                  </a:lnTo>
                  <a:lnTo>
                    <a:pt x="597" y="573"/>
                  </a:lnTo>
                  <a:lnTo>
                    <a:pt x="825" y="507"/>
                  </a:lnTo>
                  <a:lnTo>
                    <a:pt x="913" y="675"/>
                  </a:lnTo>
                  <a:lnTo>
                    <a:pt x="1023" y="750"/>
                  </a:lnTo>
                  <a:lnTo>
                    <a:pt x="1065" y="659"/>
                  </a:lnTo>
                  <a:lnTo>
                    <a:pt x="1233" y="540"/>
                  </a:lnTo>
                  <a:lnTo>
                    <a:pt x="1383" y="450"/>
                  </a:lnTo>
                  <a:lnTo>
                    <a:pt x="1337" y="383"/>
                  </a:lnTo>
                  <a:lnTo>
                    <a:pt x="1325" y="325"/>
                  </a:lnTo>
                  <a:lnTo>
                    <a:pt x="1297" y="233"/>
                  </a:lnTo>
                  <a:lnTo>
                    <a:pt x="1273" y="263"/>
                  </a:lnTo>
                  <a:lnTo>
                    <a:pt x="1285" y="319"/>
                  </a:lnTo>
                  <a:lnTo>
                    <a:pt x="1273" y="371"/>
                  </a:lnTo>
                  <a:lnTo>
                    <a:pt x="1297" y="435"/>
                  </a:lnTo>
                  <a:lnTo>
                    <a:pt x="1203" y="510"/>
                  </a:lnTo>
                  <a:lnTo>
                    <a:pt x="1081" y="451"/>
                  </a:lnTo>
                  <a:lnTo>
                    <a:pt x="933" y="270"/>
                  </a:lnTo>
                  <a:lnTo>
                    <a:pt x="889" y="123"/>
                  </a:lnTo>
                  <a:lnTo>
                    <a:pt x="753" y="0"/>
                  </a:lnTo>
                  <a:lnTo>
                    <a:pt x="753" y="90"/>
                  </a:lnTo>
                  <a:close/>
                </a:path>
              </a:pathLst>
            </a:custGeom>
            <a:solidFill>
              <a:schemeClr val="accent4">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39" name="Freeform 41"/>
            <p:cNvSpPr>
              <a:spLocks/>
            </p:cNvSpPr>
            <p:nvPr/>
          </p:nvSpPr>
          <p:spPr bwMode="auto">
            <a:xfrm rot="489791">
              <a:off x="6911685" y="2791174"/>
              <a:ext cx="311007" cy="290302"/>
            </a:xfrm>
            <a:custGeom>
              <a:avLst/>
              <a:gdLst>
                <a:gd name="T0" fmla="*/ 66 w 615"/>
                <a:gd name="T1" fmla="*/ 233 h 1311"/>
                <a:gd name="T2" fmla="*/ 96 w 615"/>
                <a:gd name="T3" fmla="*/ 224 h 1311"/>
                <a:gd name="T4" fmla="*/ 107 w 615"/>
                <a:gd name="T5" fmla="*/ 201 h 1311"/>
                <a:gd name="T6" fmla="*/ 107 w 615"/>
                <a:gd name="T7" fmla="*/ 184 h 1311"/>
                <a:gd name="T8" fmla="*/ 116 w 615"/>
                <a:gd name="T9" fmla="*/ 170 h 1311"/>
                <a:gd name="T10" fmla="*/ 96 w 615"/>
                <a:gd name="T11" fmla="*/ 162 h 1311"/>
                <a:gd name="T12" fmla="*/ 89 w 615"/>
                <a:gd name="T13" fmla="*/ 136 h 1311"/>
                <a:gd name="T14" fmla="*/ 54 w 615"/>
                <a:gd name="T15" fmla="*/ 74 h 1311"/>
                <a:gd name="T16" fmla="*/ 25 w 615"/>
                <a:gd name="T17" fmla="*/ 0 h 1311"/>
                <a:gd name="T18" fmla="*/ 9 w 615"/>
                <a:gd name="T19" fmla="*/ 6 h 1311"/>
                <a:gd name="T20" fmla="*/ 2 w 615"/>
                <a:gd name="T21" fmla="*/ 18 h 1311"/>
                <a:gd name="T22" fmla="*/ 14 w 615"/>
                <a:gd name="T23" fmla="*/ 52 h 1311"/>
                <a:gd name="T24" fmla="*/ 18 w 615"/>
                <a:gd name="T25" fmla="*/ 74 h 1311"/>
                <a:gd name="T26" fmla="*/ 2 w 615"/>
                <a:gd name="T27" fmla="*/ 97 h 1311"/>
                <a:gd name="T28" fmla="*/ 0 w 615"/>
                <a:gd name="T29" fmla="*/ 145 h 1311"/>
                <a:gd name="T30" fmla="*/ 5 w 615"/>
                <a:gd name="T31" fmla="*/ 200 h 1311"/>
                <a:gd name="T32" fmla="*/ 12 w 615"/>
                <a:gd name="T33" fmla="*/ 234 h 1311"/>
                <a:gd name="T34" fmla="*/ 18 w 615"/>
                <a:gd name="T35" fmla="*/ 248 h 1311"/>
                <a:gd name="T36" fmla="*/ 66 w 615"/>
                <a:gd name="T37" fmla="*/ 233 h 13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5" h="1311">
                  <a:moveTo>
                    <a:pt x="349" y="1231"/>
                  </a:moveTo>
                  <a:lnTo>
                    <a:pt x="507" y="1183"/>
                  </a:lnTo>
                  <a:lnTo>
                    <a:pt x="567" y="1063"/>
                  </a:lnTo>
                  <a:lnTo>
                    <a:pt x="567" y="975"/>
                  </a:lnTo>
                  <a:lnTo>
                    <a:pt x="615" y="900"/>
                  </a:lnTo>
                  <a:lnTo>
                    <a:pt x="508" y="859"/>
                  </a:lnTo>
                  <a:lnTo>
                    <a:pt x="472" y="721"/>
                  </a:lnTo>
                  <a:lnTo>
                    <a:pt x="285" y="390"/>
                  </a:lnTo>
                  <a:lnTo>
                    <a:pt x="135" y="0"/>
                  </a:lnTo>
                  <a:lnTo>
                    <a:pt x="46" y="31"/>
                  </a:lnTo>
                  <a:lnTo>
                    <a:pt x="13" y="97"/>
                  </a:lnTo>
                  <a:lnTo>
                    <a:pt x="75" y="277"/>
                  </a:lnTo>
                  <a:lnTo>
                    <a:pt x="96" y="393"/>
                  </a:lnTo>
                  <a:lnTo>
                    <a:pt x="12" y="514"/>
                  </a:lnTo>
                  <a:lnTo>
                    <a:pt x="0" y="766"/>
                  </a:lnTo>
                  <a:lnTo>
                    <a:pt x="24" y="1056"/>
                  </a:lnTo>
                  <a:lnTo>
                    <a:pt x="64" y="1239"/>
                  </a:lnTo>
                  <a:lnTo>
                    <a:pt x="96" y="1311"/>
                  </a:lnTo>
                  <a:lnTo>
                    <a:pt x="349" y="1231"/>
                  </a:lnTo>
                  <a:close/>
                </a:path>
              </a:pathLst>
            </a:custGeom>
            <a:solidFill>
              <a:schemeClr val="accent4">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0" name="Freeform 42"/>
            <p:cNvSpPr>
              <a:spLocks/>
            </p:cNvSpPr>
            <p:nvPr/>
          </p:nvSpPr>
          <p:spPr bwMode="auto">
            <a:xfrm rot="21193473">
              <a:off x="7015298" y="2424713"/>
              <a:ext cx="503630" cy="570832"/>
            </a:xfrm>
            <a:custGeom>
              <a:avLst/>
              <a:gdLst>
                <a:gd name="T0" fmla="*/ 0 w 1386"/>
                <a:gd name="T1" fmla="*/ 249 h 2211"/>
                <a:gd name="T2" fmla="*/ 29 w 1386"/>
                <a:gd name="T3" fmla="*/ 323 h 2211"/>
                <a:gd name="T4" fmla="*/ 64 w 1386"/>
                <a:gd name="T5" fmla="*/ 385 h 2211"/>
                <a:gd name="T6" fmla="*/ 71 w 1386"/>
                <a:gd name="T7" fmla="*/ 411 h 2211"/>
                <a:gd name="T8" fmla="*/ 92 w 1386"/>
                <a:gd name="T9" fmla="*/ 419 h 2211"/>
                <a:gd name="T10" fmla="*/ 109 w 1386"/>
                <a:gd name="T11" fmla="*/ 374 h 2211"/>
                <a:gd name="T12" fmla="*/ 109 w 1386"/>
                <a:gd name="T13" fmla="*/ 351 h 2211"/>
                <a:gd name="T14" fmla="*/ 125 w 1386"/>
                <a:gd name="T15" fmla="*/ 333 h 2211"/>
                <a:gd name="T16" fmla="*/ 143 w 1386"/>
                <a:gd name="T17" fmla="*/ 318 h 2211"/>
                <a:gd name="T18" fmla="*/ 166 w 1386"/>
                <a:gd name="T19" fmla="*/ 289 h 2211"/>
                <a:gd name="T20" fmla="*/ 172 w 1386"/>
                <a:gd name="T21" fmla="*/ 266 h 2211"/>
                <a:gd name="T22" fmla="*/ 164 w 1386"/>
                <a:gd name="T23" fmla="*/ 260 h 2211"/>
                <a:gd name="T24" fmla="*/ 178 w 1386"/>
                <a:gd name="T25" fmla="*/ 245 h 2211"/>
                <a:gd name="T26" fmla="*/ 189 w 1386"/>
                <a:gd name="T27" fmla="*/ 266 h 2211"/>
                <a:gd name="T28" fmla="*/ 195 w 1386"/>
                <a:gd name="T29" fmla="*/ 261 h 2211"/>
                <a:gd name="T30" fmla="*/ 195 w 1386"/>
                <a:gd name="T31" fmla="*/ 232 h 2211"/>
                <a:gd name="T32" fmla="*/ 229 w 1386"/>
                <a:gd name="T33" fmla="*/ 215 h 2211"/>
                <a:gd name="T34" fmla="*/ 245 w 1386"/>
                <a:gd name="T35" fmla="*/ 200 h 2211"/>
                <a:gd name="T36" fmla="*/ 263 w 1386"/>
                <a:gd name="T37" fmla="*/ 181 h 2211"/>
                <a:gd name="T38" fmla="*/ 263 w 1386"/>
                <a:gd name="T39" fmla="*/ 158 h 2211"/>
                <a:gd name="T40" fmla="*/ 248 w 1386"/>
                <a:gd name="T41" fmla="*/ 150 h 2211"/>
                <a:gd name="T42" fmla="*/ 246 w 1386"/>
                <a:gd name="T43" fmla="*/ 136 h 2211"/>
                <a:gd name="T44" fmla="*/ 226 w 1386"/>
                <a:gd name="T45" fmla="*/ 138 h 2211"/>
                <a:gd name="T46" fmla="*/ 212 w 1386"/>
                <a:gd name="T47" fmla="*/ 130 h 2211"/>
                <a:gd name="T48" fmla="*/ 202 w 1386"/>
                <a:gd name="T49" fmla="*/ 114 h 2211"/>
                <a:gd name="T50" fmla="*/ 183 w 1386"/>
                <a:gd name="T51" fmla="*/ 113 h 2211"/>
                <a:gd name="T52" fmla="*/ 170 w 1386"/>
                <a:gd name="T53" fmla="*/ 100 h 2211"/>
                <a:gd name="T54" fmla="*/ 167 w 1386"/>
                <a:gd name="T55" fmla="*/ 76 h 2211"/>
                <a:gd name="T56" fmla="*/ 152 w 1386"/>
                <a:gd name="T57" fmla="*/ 56 h 2211"/>
                <a:gd name="T58" fmla="*/ 144 w 1386"/>
                <a:gd name="T59" fmla="*/ 35 h 2211"/>
                <a:gd name="T60" fmla="*/ 129 w 1386"/>
                <a:gd name="T61" fmla="*/ 0 h 2211"/>
                <a:gd name="T62" fmla="*/ 109 w 1386"/>
                <a:gd name="T63" fmla="*/ 2 h 2211"/>
                <a:gd name="T64" fmla="*/ 90 w 1386"/>
                <a:gd name="T65" fmla="*/ 2 h 2211"/>
                <a:gd name="T66" fmla="*/ 70 w 1386"/>
                <a:gd name="T67" fmla="*/ 24 h 2211"/>
                <a:gd name="T68" fmla="*/ 52 w 1386"/>
                <a:gd name="T69" fmla="*/ 33 h 2211"/>
                <a:gd name="T70" fmla="*/ 35 w 1386"/>
                <a:gd name="T71" fmla="*/ 23 h 2211"/>
                <a:gd name="T72" fmla="*/ 30 w 1386"/>
                <a:gd name="T73" fmla="*/ 11 h 2211"/>
                <a:gd name="T74" fmla="*/ 15 w 1386"/>
                <a:gd name="T75" fmla="*/ 41 h 2211"/>
                <a:gd name="T76" fmla="*/ 21 w 1386"/>
                <a:gd name="T77" fmla="*/ 56 h 2211"/>
                <a:gd name="T78" fmla="*/ 18 w 1386"/>
                <a:gd name="T79" fmla="*/ 74 h 2211"/>
                <a:gd name="T80" fmla="*/ 11 w 1386"/>
                <a:gd name="T81" fmla="*/ 104 h 2211"/>
                <a:gd name="T82" fmla="*/ 15 w 1386"/>
                <a:gd name="T83" fmla="*/ 133 h 2211"/>
                <a:gd name="T84" fmla="*/ 24 w 1386"/>
                <a:gd name="T85" fmla="*/ 163 h 2211"/>
                <a:gd name="T86" fmla="*/ 18 w 1386"/>
                <a:gd name="T87" fmla="*/ 187 h 2211"/>
                <a:gd name="T88" fmla="*/ 11 w 1386"/>
                <a:gd name="T89" fmla="*/ 224 h 2211"/>
                <a:gd name="T90" fmla="*/ 0 w 1386"/>
                <a:gd name="T91" fmla="*/ 249 h 221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86" h="2211">
                  <a:moveTo>
                    <a:pt x="0" y="1313"/>
                  </a:moveTo>
                  <a:lnTo>
                    <a:pt x="153" y="1703"/>
                  </a:lnTo>
                  <a:lnTo>
                    <a:pt x="337" y="2030"/>
                  </a:lnTo>
                  <a:lnTo>
                    <a:pt x="373" y="2169"/>
                  </a:lnTo>
                  <a:lnTo>
                    <a:pt x="483" y="2211"/>
                  </a:lnTo>
                  <a:lnTo>
                    <a:pt x="576" y="1976"/>
                  </a:lnTo>
                  <a:lnTo>
                    <a:pt x="577" y="1853"/>
                  </a:lnTo>
                  <a:lnTo>
                    <a:pt x="657" y="1757"/>
                  </a:lnTo>
                  <a:lnTo>
                    <a:pt x="753" y="1677"/>
                  </a:lnTo>
                  <a:lnTo>
                    <a:pt x="876" y="1526"/>
                  </a:lnTo>
                  <a:lnTo>
                    <a:pt x="906" y="1406"/>
                  </a:lnTo>
                  <a:lnTo>
                    <a:pt x="865" y="1373"/>
                  </a:lnTo>
                  <a:lnTo>
                    <a:pt x="937" y="1293"/>
                  </a:lnTo>
                  <a:lnTo>
                    <a:pt x="996" y="1406"/>
                  </a:lnTo>
                  <a:lnTo>
                    <a:pt x="1026" y="1376"/>
                  </a:lnTo>
                  <a:lnTo>
                    <a:pt x="1026" y="1226"/>
                  </a:lnTo>
                  <a:lnTo>
                    <a:pt x="1206" y="1136"/>
                  </a:lnTo>
                  <a:lnTo>
                    <a:pt x="1289" y="1056"/>
                  </a:lnTo>
                  <a:lnTo>
                    <a:pt x="1386" y="956"/>
                  </a:lnTo>
                  <a:lnTo>
                    <a:pt x="1386" y="836"/>
                  </a:lnTo>
                  <a:lnTo>
                    <a:pt x="1305" y="792"/>
                  </a:lnTo>
                  <a:lnTo>
                    <a:pt x="1296" y="716"/>
                  </a:lnTo>
                  <a:lnTo>
                    <a:pt x="1193" y="728"/>
                  </a:lnTo>
                  <a:lnTo>
                    <a:pt x="1116" y="686"/>
                  </a:lnTo>
                  <a:lnTo>
                    <a:pt x="1065" y="600"/>
                  </a:lnTo>
                  <a:lnTo>
                    <a:pt x="966" y="596"/>
                  </a:lnTo>
                  <a:lnTo>
                    <a:pt x="897" y="528"/>
                  </a:lnTo>
                  <a:lnTo>
                    <a:pt x="881" y="400"/>
                  </a:lnTo>
                  <a:lnTo>
                    <a:pt x="801" y="296"/>
                  </a:lnTo>
                  <a:lnTo>
                    <a:pt x="761" y="184"/>
                  </a:lnTo>
                  <a:lnTo>
                    <a:pt x="681" y="0"/>
                  </a:lnTo>
                  <a:lnTo>
                    <a:pt x="577" y="8"/>
                  </a:lnTo>
                  <a:lnTo>
                    <a:pt x="473" y="8"/>
                  </a:lnTo>
                  <a:lnTo>
                    <a:pt x="369" y="128"/>
                  </a:lnTo>
                  <a:lnTo>
                    <a:pt x="276" y="176"/>
                  </a:lnTo>
                  <a:lnTo>
                    <a:pt x="185" y="120"/>
                  </a:lnTo>
                  <a:lnTo>
                    <a:pt x="156" y="56"/>
                  </a:lnTo>
                  <a:lnTo>
                    <a:pt x="81" y="216"/>
                  </a:lnTo>
                  <a:lnTo>
                    <a:pt x="113" y="296"/>
                  </a:lnTo>
                  <a:lnTo>
                    <a:pt x="97" y="392"/>
                  </a:lnTo>
                  <a:lnTo>
                    <a:pt x="57" y="549"/>
                  </a:lnTo>
                  <a:lnTo>
                    <a:pt x="81" y="704"/>
                  </a:lnTo>
                  <a:lnTo>
                    <a:pt x="129" y="861"/>
                  </a:lnTo>
                  <a:lnTo>
                    <a:pt x="96" y="986"/>
                  </a:lnTo>
                  <a:lnTo>
                    <a:pt x="57" y="1184"/>
                  </a:lnTo>
                  <a:lnTo>
                    <a:pt x="0" y="1313"/>
                  </a:lnTo>
                  <a:close/>
                </a:path>
              </a:pathLst>
            </a:custGeom>
            <a:solidFill>
              <a:schemeClr val="accent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1" name="Freeform 43"/>
            <p:cNvSpPr>
              <a:spLocks/>
            </p:cNvSpPr>
            <p:nvPr/>
          </p:nvSpPr>
          <p:spPr bwMode="auto">
            <a:xfrm rot="1656419">
              <a:off x="6991657" y="3303716"/>
              <a:ext cx="214183" cy="134636"/>
            </a:xfrm>
            <a:custGeom>
              <a:avLst/>
              <a:gdLst>
                <a:gd name="T0" fmla="*/ 11 w 622"/>
                <a:gd name="T1" fmla="*/ 61 h 519"/>
                <a:gd name="T2" fmla="*/ 28 w 622"/>
                <a:gd name="T3" fmla="*/ 46 h 519"/>
                <a:gd name="T4" fmla="*/ 53 w 622"/>
                <a:gd name="T5" fmla="*/ 36 h 519"/>
                <a:gd name="T6" fmla="*/ 83 w 622"/>
                <a:gd name="T7" fmla="*/ 19 h 519"/>
                <a:gd name="T8" fmla="*/ 101 w 622"/>
                <a:gd name="T9" fmla="*/ 6 h 519"/>
                <a:gd name="T10" fmla="*/ 115 w 622"/>
                <a:gd name="T11" fmla="*/ 0 h 519"/>
                <a:gd name="T12" fmla="*/ 118 w 622"/>
                <a:gd name="T13" fmla="*/ 6 h 519"/>
                <a:gd name="T14" fmla="*/ 111 w 622"/>
                <a:gd name="T15" fmla="*/ 16 h 519"/>
                <a:gd name="T16" fmla="*/ 85 w 622"/>
                <a:gd name="T17" fmla="*/ 39 h 519"/>
                <a:gd name="T18" fmla="*/ 50 w 622"/>
                <a:gd name="T19" fmla="*/ 68 h 519"/>
                <a:gd name="T20" fmla="*/ 27 w 622"/>
                <a:gd name="T21" fmla="*/ 84 h 519"/>
                <a:gd name="T22" fmla="*/ 17 w 622"/>
                <a:gd name="T23" fmla="*/ 94 h 519"/>
                <a:gd name="T24" fmla="*/ 2 w 622"/>
                <a:gd name="T25" fmla="*/ 99 h 519"/>
                <a:gd name="T26" fmla="*/ 0 w 622"/>
                <a:gd name="T27" fmla="*/ 84 h 519"/>
                <a:gd name="T28" fmla="*/ 11 w 622"/>
                <a:gd name="T29" fmla="*/ 61 h 5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22" h="519">
                  <a:moveTo>
                    <a:pt x="60" y="322"/>
                  </a:moveTo>
                  <a:lnTo>
                    <a:pt x="147" y="240"/>
                  </a:lnTo>
                  <a:lnTo>
                    <a:pt x="281" y="187"/>
                  </a:lnTo>
                  <a:lnTo>
                    <a:pt x="435" y="101"/>
                  </a:lnTo>
                  <a:lnTo>
                    <a:pt x="531" y="34"/>
                  </a:lnTo>
                  <a:lnTo>
                    <a:pt x="608" y="0"/>
                  </a:lnTo>
                  <a:lnTo>
                    <a:pt x="622" y="34"/>
                  </a:lnTo>
                  <a:lnTo>
                    <a:pt x="584" y="82"/>
                  </a:lnTo>
                  <a:lnTo>
                    <a:pt x="450" y="202"/>
                  </a:lnTo>
                  <a:lnTo>
                    <a:pt x="262" y="355"/>
                  </a:lnTo>
                  <a:lnTo>
                    <a:pt x="142" y="442"/>
                  </a:lnTo>
                  <a:lnTo>
                    <a:pt x="89" y="495"/>
                  </a:lnTo>
                  <a:lnTo>
                    <a:pt x="8" y="519"/>
                  </a:lnTo>
                  <a:lnTo>
                    <a:pt x="0" y="442"/>
                  </a:lnTo>
                  <a:lnTo>
                    <a:pt x="60" y="322"/>
                  </a:lnTo>
                  <a:close/>
                </a:path>
              </a:pathLst>
            </a:custGeom>
            <a:solidFill>
              <a:schemeClr val="accent4">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000000"/>
                </a:solidFill>
                <a:effectLst/>
                <a:uLnTx/>
                <a:uFillTx/>
                <a:latin typeface="Arial" charset="0"/>
                <a:ea typeface="宋体" panose="02010600030101010101" pitchFamily="2" charset="-122"/>
                <a:cs typeface="+mn-cs"/>
              </a:endParaRPr>
            </a:p>
          </p:txBody>
        </p:sp>
        <p:sp>
          <p:nvSpPr>
            <p:cNvPr id="42" name="Freeform 45"/>
            <p:cNvSpPr>
              <a:spLocks/>
            </p:cNvSpPr>
            <p:nvPr/>
          </p:nvSpPr>
          <p:spPr bwMode="auto">
            <a:xfrm>
              <a:off x="4296692" y="2493026"/>
              <a:ext cx="481883" cy="223191"/>
            </a:xfrm>
            <a:custGeom>
              <a:avLst/>
              <a:gdLst>
                <a:gd name="T0" fmla="*/ 0 w 2182"/>
                <a:gd name="T1" fmla="*/ 106 h 1010"/>
                <a:gd name="T2" fmla="*/ 28 w 2182"/>
                <a:gd name="T3" fmla="*/ 92 h 1010"/>
                <a:gd name="T4" fmla="*/ 59 w 2182"/>
                <a:gd name="T5" fmla="*/ 67 h 1010"/>
                <a:gd name="T6" fmla="*/ 77 w 2182"/>
                <a:gd name="T7" fmla="*/ 47 h 1010"/>
                <a:gd name="T8" fmla="*/ 104 w 2182"/>
                <a:gd name="T9" fmla="*/ 17 h 1010"/>
                <a:gd name="T10" fmla="*/ 147 w 2182"/>
                <a:gd name="T11" fmla="*/ 0 h 1010"/>
                <a:gd name="T12" fmla="*/ 148 w 2182"/>
                <a:gd name="T13" fmla="*/ 20 h 1010"/>
                <a:gd name="T14" fmla="*/ 132 w 2182"/>
                <a:gd name="T15" fmla="*/ 30 h 1010"/>
                <a:gd name="T16" fmla="*/ 113 w 2182"/>
                <a:gd name="T17" fmla="*/ 39 h 1010"/>
                <a:gd name="T18" fmla="*/ 120 w 2182"/>
                <a:gd name="T19" fmla="*/ 52 h 1010"/>
                <a:gd name="T20" fmla="*/ 117 w 2182"/>
                <a:gd name="T21" fmla="*/ 55 h 1010"/>
                <a:gd name="T22" fmla="*/ 121 w 2182"/>
                <a:gd name="T23" fmla="*/ 69 h 1010"/>
                <a:gd name="T24" fmla="*/ 141 w 2182"/>
                <a:gd name="T25" fmla="*/ 57 h 1010"/>
                <a:gd name="T26" fmla="*/ 160 w 2182"/>
                <a:gd name="T27" fmla="*/ 56 h 1010"/>
                <a:gd name="T28" fmla="*/ 190 w 2182"/>
                <a:gd name="T29" fmla="*/ 78 h 1010"/>
                <a:gd name="T30" fmla="*/ 213 w 2182"/>
                <a:gd name="T31" fmla="*/ 77 h 1010"/>
                <a:gd name="T32" fmla="*/ 233 w 2182"/>
                <a:gd name="T33" fmla="*/ 86 h 1010"/>
                <a:gd name="T34" fmla="*/ 249 w 2182"/>
                <a:gd name="T35" fmla="*/ 78 h 1010"/>
                <a:gd name="T36" fmla="*/ 259 w 2182"/>
                <a:gd name="T37" fmla="*/ 69 h 1010"/>
                <a:gd name="T38" fmla="*/ 282 w 2182"/>
                <a:gd name="T39" fmla="*/ 53 h 1010"/>
                <a:gd name="T40" fmla="*/ 311 w 2182"/>
                <a:gd name="T41" fmla="*/ 43 h 1010"/>
                <a:gd name="T42" fmla="*/ 327 w 2182"/>
                <a:gd name="T43" fmla="*/ 36 h 1010"/>
                <a:gd name="T44" fmla="*/ 335 w 2182"/>
                <a:gd name="T45" fmla="*/ 53 h 1010"/>
                <a:gd name="T46" fmla="*/ 345 w 2182"/>
                <a:gd name="T47" fmla="*/ 69 h 1010"/>
                <a:gd name="T48" fmla="*/ 366 w 2182"/>
                <a:gd name="T49" fmla="*/ 68 h 1010"/>
                <a:gd name="T50" fmla="*/ 382 w 2182"/>
                <a:gd name="T51" fmla="*/ 59 h 1010"/>
                <a:gd name="T52" fmla="*/ 406 w 2182"/>
                <a:gd name="T53" fmla="*/ 62 h 1010"/>
                <a:gd name="T54" fmla="*/ 414 w 2182"/>
                <a:gd name="T55" fmla="*/ 78 h 1010"/>
                <a:gd name="T56" fmla="*/ 414 w 2182"/>
                <a:gd name="T57" fmla="*/ 95 h 1010"/>
                <a:gd name="T58" fmla="*/ 404 w 2182"/>
                <a:gd name="T59" fmla="*/ 88 h 1010"/>
                <a:gd name="T60" fmla="*/ 388 w 2182"/>
                <a:gd name="T61" fmla="*/ 86 h 1010"/>
                <a:gd name="T62" fmla="*/ 371 w 2182"/>
                <a:gd name="T63" fmla="*/ 103 h 1010"/>
                <a:gd name="T64" fmla="*/ 354 w 2182"/>
                <a:gd name="T65" fmla="*/ 95 h 1010"/>
                <a:gd name="T66" fmla="*/ 338 w 2182"/>
                <a:gd name="T67" fmla="*/ 92 h 1010"/>
                <a:gd name="T68" fmla="*/ 319 w 2182"/>
                <a:gd name="T69" fmla="*/ 95 h 1010"/>
                <a:gd name="T70" fmla="*/ 302 w 2182"/>
                <a:gd name="T71" fmla="*/ 112 h 1010"/>
                <a:gd name="T72" fmla="*/ 268 w 2182"/>
                <a:gd name="T73" fmla="*/ 138 h 1010"/>
                <a:gd name="T74" fmla="*/ 259 w 2182"/>
                <a:gd name="T75" fmla="*/ 155 h 1010"/>
                <a:gd name="T76" fmla="*/ 250 w 2182"/>
                <a:gd name="T77" fmla="*/ 155 h 1010"/>
                <a:gd name="T78" fmla="*/ 250 w 2182"/>
                <a:gd name="T79" fmla="*/ 138 h 1010"/>
                <a:gd name="T80" fmla="*/ 234 w 2182"/>
                <a:gd name="T81" fmla="*/ 133 h 1010"/>
                <a:gd name="T82" fmla="*/ 224 w 2182"/>
                <a:gd name="T83" fmla="*/ 135 h 1010"/>
                <a:gd name="T84" fmla="*/ 220 w 2182"/>
                <a:gd name="T85" fmla="*/ 145 h 1010"/>
                <a:gd name="T86" fmla="*/ 213 w 2182"/>
                <a:gd name="T87" fmla="*/ 174 h 1010"/>
                <a:gd name="T88" fmla="*/ 194 w 2182"/>
                <a:gd name="T89" fmla="*/ 192 h 1010"/>
                <a:gd name="T90" fmla="*/ 176 w 2182"/>
                <a:gd name="T91" fmla="*/ 174 h 1010"/>
                <a:gd name="T92" fmla="*/ 175 w 2182"/>
                <a:gd name="T93" fmla="*/ 162 h 1010"/>
                <a:gd name="T94" fmla="*/ 147 w 2182"/>
                <a:gd name="T95" fmla="*/ 140 h 1010"/>
                <a:gd name="T96" fmla="*/ 113 w 2182"/>
                <a:gd name="T97" fmla="*/ 146 h 1010"/>
                <a:gd name="T98" fmla="*/ 108 w 2182"/>
                <a:gd name="T99" fmla="*/ 134 h 1010"/>
                <a:gd name="T100" fmla="*/ 84 w 2182"/>
                <a:gd name="T101" fmla="*/ 135 h 1010"/>
                <a:gd name="T102" fmla="*/ 61 w 2182"/>
                <a:gd name="T103" fmla="*/ 134 h 1010"/>
                <a:gd name="T104" fmla="*/ 28 w 2182"/>
                <a:gd name="T105" fmla="*/ 134 h 1010"/>
                <a:gd name="T106" fmla="*/ 11 w 2182"/>
                <a:gd name="T107" fmla="*/ 121 h 1010"/>
                <a:gd name="T108" fmla="*/ 0 w 2182"/>
                <a:gd name="T109" fmla="*/ 106 h 10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82" h="1010">
                  <a:moveTo>
                    <a:pt x="0" y="557"/>
                  </a:moveTo>
                  <a:lnTo>
                    <a:pt x="148" y="482"/>
                  </a:lnTo>
                  <a:lnTo>
                    <a:pt x="310" y="350"/>
                  </a:lnTo>
                  <a:lnTo>
                    <a:pt x="406" y="248"/>
                  </a:lnTo>
                  <a:lnTo>
                    <a:pt x="549" y="90"/>
                  </a:lnTo>
                  <a:lnTo>
                    <a:pt x="776" y="0"/>
                  </a:lnTo>
                  <a:lnTo>
                    <a:pt x="778" y="104"/>
                  </a:lnTo>
                  <a:lnTo>
                    <a:pt x="694" y="158"/>
                  </a:lnTo>
                  <a:lnTo>
                    <a:pt x="598" y="206"/>
                  </a:lnTo>
                  <a:lnTo>
                    <a:pt x="634" y="272"/>
                  </a:lnTo>
                  <a:lnTo>
                    <a:pt x="616" y="290"/>
                  </a:lnTo>
                  <a:lnTo>
                    <a:pt x="640" y="363"/>
                  </a:lnTo>
                  <a:lnTo>
                    <a:pt x="742" y="302"/>
                  </a:lnTo>
                  <a:lnTo>
                    <a:pt x="844" y="297"/>
                  </a:lnTo>
                  <a:lnTo>
                    <a:pt x="1003" y="408"/>
                  </a:lnTo>
                  <a:lnTo>
                    <a:pt x="1120" y="404"/>
                  </a:lnTo>
                  <a:lnTo>
                    <a:pt x="1229" y="453"/>
                  </a:lnTo>
                  <a:lnTo>
                    <a:pt x="1312" y="410"/>
                  </a:lnTo>
                  <a:lnTo>
                    <a:pt x="1366" y="362"/>
                  </a:lnTo>
                  <a:lnTo>
                    <a:pt x="1486" y="278"/>
                  </a:lnTo>
                  <a:lnTo>
                    <a:pt x="1638" y="227"/>
                  </a:lnTo>
                  <a:lnTo>
                    <a:pt x="1726" y="188"/>
                  </a:lnTo>
                  <a:lnTo>
                    <a:pt x="1768" y="278"/>
                  </a:lnTo>
                  <a:lnTo>
                    <a:pt x="1819" y="363"/>
                  </a:lnTo>
                  <a:lnTo>
                    <a:pt x="1930" y="356"/>
                  </a:lnTo>
                  <a:lnTo>
                    <a:pt x="2014" y="308"/>
                  </a:lnTo>
                  <a:lnTo>
                    <a:pt x="2140" y="326"/>
                  </a:lnTo>
                  <a:lnTo>
                    <a:pt x="2182" y="408"/>
                  </a:lnTo>
                  <a:lnTo>
                    <a:pt x="2182" y="499"/>
                  </a:lnTo>
                  <a:lnTo>
                    <a:pt x="2128" y="464"/>
                  </a:lnTo>
                  <a:lnTo>
                    <a:pt x="2046" y="453"/>
                  </a:lnTo>
                  <a:lnTo>
                    <a:pt x="1955" y="544"/>
                  </a:lnTo>
                  <a:lnTo>
                    <a:pt x="1865" y="499"/>
                  </a:lnTo>
                  <a:lnTo>
                    <a:pt x="1780" y="482"/>
                  </a:lnTo>
                  <a:lnTo>
                    <a:pt x="1683" y="499"/>
                  </a:lnTo>
                  <a:lnTo>
                    <a:pt x="1592" y="589"/>
                  </a:lnTo>
                  <a:lnTo>
                    <a:pt x="1411" y="725"/>
                  </a:lnTo>
                  <a:lnTo>
                    <a:pt x="1366" y="816"/>
                  </a:lnTo>
                  <a:lnTo>
                    <a:pt x="1320" y="816"/>
                  </a:lnTo>
                  <a:lnTo>
                    <a:pt x="1320" y="725"/>
                  </a:lnTo>
                  <a:lnTo>
                    <a:pt x="1234" y="698"/>
                  </a:lnTo>
                  <a:lnTo>
                    <a:pt x="1180" y="710"/>
                  </a:lnTo>
                  <a:lnTo>
                    <a:pt x="1162" y="764"/>
                  </a:lnTo>
                  <a:lnTo>
                    <a:pt x="1120" y="914"/>
                  </a:lnTo>
                  <a:lnTo>
                    <a:pt x="1020" y="1010"/>
                  </a:lnTo>
                  <a:lnTo>
                    <a:pt x="928" y="914"/>
                  </a:lnTo>
                  <a:lnTo>
                    <a:pt x="924" y="853"/>
                  </a:lnTo>
                  <a:lnTo>
                    <a:pt x="777" y="736"/>
                  </a:lnTo>
                  <a:lnTo>
                    <a:pt x="598" y="767"/>
                  </a:lnTo>
                  <a:lnTo>
                    <a:pt x="568" y="707"/>
                  </a:lnTo>
                  <a:lnTo>
                    <a:pt x="442" y="710"/>
                  </a:lnTo>
                  <a:lnTo>
                    <a:pt x="321" y="703"/>
                  </a:lnTo>
                  <a:lnTo>
                    <a:pt x="147" y="706"/>
                  </a:lnTo>
                  <a:lnTo>
                    <a:pt x="58" y="637"/>
                  </a:lnTo>
                  <a:lnTo>
                    <a:pt x="0" y="557"/>
                  </a:lnTo>
                  <a:close/>
                </a:path>
              </a:pathLst>
            </a:custGeom>
            <a:solidFill>
              <a:schemeClr val="accent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3" name="Freeform 46"/>
            <p:cNvSpPr>
              <a:spLocks/>
            </p:cNvSpPr>
            <p:nvPr/>
          </p:nvSpPr>
          <p:spPr bwMode="auto">
            <a:xfrm>
              <a:off x="4648207" y="2542528"/>
              <a:ext cx="349191" cy="471296"/>
            </a:xfrm>
            <a:custGeom>
              <a:avLst/>
              <a:gdLst>
                <a:gd name="T0" fmla="*/ 96 w 1586"/>
                <a:gd name="T1" fmla="*/ 0 h 2040"/>
                <a:gd name="T2" fmla="*/ 74 w 1586"/>
                <a:gd name="T3" fmla="*/ 9 h 2040"/>
                <a:gd name="T4" fmla="*/ 70 w 1586"/>
                <a:gd name="T5" fmla="*/ 25 h 2040"/>
                <a:gd name="T6" fmla="*/ 82 w 1586"/>
                <a:gd name="T7" fmla="*/ 39 h 2040"/>
                <a:gd name="T8" fmla="*/ 69 w 1586"/>
                <a:gd name="T9" fmla="*/ 56 h 2040"/>
                <a:gd name="T10" fmla="*/ 73 w 1586"/>
                <a:gd name="T11" fmla="*/ 72 h 2040"/>
                <a:gd name="T12" fmla="*/ 63 w 1586"/>
                <a:gd name="T13" fmla="*/ 89 h 2040"/>
                <a:gd name="T14" fmla="*/ 50 w 1586"/>
                <a:gd name="T15" fmla="*/ 79 h 2040"/>
                <a:gd name="T16" fmla="*/ 42 w 1586"/>
                <a:gd name="T17" fmla="*/ 63 h 2040"/>
                <a:gd name="T18" fmla="*/ 24 w 1586"/>
                <a:gd name="T19" fmla="*/ 88 h 2040"/>
                <a:gd name="T20" fmla="*/ 13 w 1586"/>
                <a:gd name="T21" fmla="*/ 91 h 2040"/>
                <a:gd name="T22" fmla="*/ 5 w 1586"/>
                <a:gd name="T23" fmla="*/ 123 h 2040"/>
                <a:gd name="T24" fmla="*/ 13 w 1586"/>
                <a:gd name="T25" fmla="*/ 142 h 2040"/>
                <a:gd name="T26" fmla="*/ 0 w 1586"/>
                <a:gd name="T27" fmla="*/ 168 h 2040"/>
                <a:gd name="T28" fmla="*/ 7 w 1586"/>
                <a:gd name="T29" fmla="*/ 186 h 2040"/>
                <a:gd name="T30" fmla="*/ 12 w 1586"/>
                <a:gd name="T31" fmla="*/ 213 h 2040"/>
                <a:gd name="T32" fmla="*/ 34 w 1586"/>
                <a:gd name="T33" fmla="*/ 241 h 2040"/>
                <a:gd name="T34" fmla="*/ 40 w 1586"/>
                <a:gd name="T35" fmla="*/ 271 h 2040"/>
                <a:gd name="T36" fmla="*/ 45 w 1586"/>
                <a:gd name="T37" fmla="*/ 300 h 2040"/>
                <a:gd name="T38" fmla="*/ 26 w 1586"/>
                <a:gd name="T39" fmla="*/ 387 h 2040"/>
                <a:gd name="T40" fmla="*/ 58 w 1586"/>
                <a:gd name="T41" fmla="*/ 382 h 2040"/>
                <a:gd name="T42" fmla="*/ 145 w 1586"/>
                <a:gd name="T43" fmla="*/ 365 h 2040"/>
                <a:gd name="T44" fmla="*/ 161 w 1586"/>
                <a:gd name="T45" fmla="*/ 376 h 2040"/>
                <a:gd name="T46" fmla="*/ 184 w 1586"/>
                <a:gd name="T47" fmla="*/ 361 h 2040"/>
                <a:gd name="T48" fmla="*/ 221 w 1586"/>
                <a:gd name="T49" fmla="*/ 359 h 2040"/>
                <a:gd name="T50" fmla="*/ 221 w 1586"/>
                <a:gd name="T51" fmla="*/ 352 h 2040"/>
                <a:gd name="T52" fmla="*/ 257 w 1586"/>
                <a:gd name="T53" fmla="*/ 349 h 2040"/>
                <a:gd name="T54" fmla="*/ 266 w 1586"/>
                <a:gd name="T55" fmla="*/ 332 h 2040"/>
                <a:gd name="T56" fmla="*/ 276 w 1586"/>
                <a:gd name="T57" fmla="*/ 323 h 2040"/>
                <a:gd name="T58" fmla="*/ 277 w 1586"/>
                <a:gd name="T59" fmla="*/ 313 h 2040"/>
                <a:gd name="T60" fmla="*/ 267 w 1586"/>
                <a:gd name="T61" fmla="*/ 308 h 2040"/>
                <a:gd name="T62" fmla="*/ 278 w 1586"/>
                <a:gd name="T63" fmla="*/ 278 h 2040"/>
                <a:gd name="T64" fmla="*/ 292 w 1586"/>
                <a:gd name="T65" fmla="*/ 266 h 2040"/>
                <a:gd name="T66" fmla="*/ 298 w 1586"/>
                <a:gd name="T67" fmla="*/ 246 h 2040"/>
                <a:gd name="T68" fmla="*/ 300 w 1586"/>
                <a:gd name="T69" fmla="*/ 201 h 2040"/>
                <a:gd name="T70" fmla="*/ 284 w 1586"/>
                <a:gd name="T71" fmla="*/ 171 h 2040"/>
                <a:gd name="T72" fmla="*/ 272 w 1586"/>
                <a:gd name="T73" fmla="*/ 140 h 2040"/>
                <a:gd name="T74" fmla="*/ 250 w 1586"/>
                <a:gd name="T75" fmla="*/ 132 h 2040"/>
                <a:gd name="T76" fmla="*/ 230 w 1586"/>
                <a:gd name="T77" fmla="*/ 134 h 2040"/>
                <a:gd name="T78" fmla="*/ 221 w 1586"/>
                <a:gd name="T79" fmla="*/ 149 h 2040"/>
                <a:gd name="T80" fmla="*/ 215 w 1586"/>
                <a:gd name="T81" fmla="*/ 168 h 2040"/>
                <a:gd name="T82" fmla="*/ 197 w 1586"/>
                <a:gd name="T83" fmla="*/ 174 h 2040"/>
                <a:gd name="T84" fmla="*/ 180 w 1586"/>
                <a:gd name="T85" fmla="*/ 159 h 2040"/>
                <a:gd name="T86" fmla="*/ 193 w 1586"/>
                <a:gd name="T87" fmla="*/ 143 h 2040"/>
                <a:gd name="T88" fmla="*/ 201 w 1586"/>
                <a:gd name="T89" fmla="*/ 126 h 2040"/>
                <a:gd name="T90" fmla="*/ 209 w 1586"/>
                <a:gd name="T91" fmla="*/ 94 h 2040"/>
                <a:gd name="T92" fmla="*/ 201 w 1586"/>
                <a:gd name="T93" fmla="*/ 66 h 2040"/>
                <a:gd name="T94" fmla="*/ 187 w 1586"/>
                <a:gd name="T95" fmla="*/ 47 h 2040"/>
                <a:gd name="T96" fmla="*/ 197 w 1586"/>
                <a:gd name="T97" fmla="*/ 30 h 2040"/>
                <a:gd name="T98" fmla="*/ 162 w 1586"/>
                <a:gd name="T99" fmla="*/ 15 h 2040"/>
                <a:gd name="T100" fmla="*/ 134 w 1586"/>
                <a:gd name="T101" fmla="*/ 9 h 2040"/>
                <a:gd name="T102" fmla="*/ 114 w 1586"/>
                <a:gd name="T103" fmla="*/ 7 h 2040"/>
                <a:gd name="T104" fmla="*/ 96 w 1586"/>
                <a:gd name="T105" fmla="*/ 0 h 20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86" h="2040">
                  <a:moveTo>
                    <a:pt x="506" y="0"/>
                  </a:moveTo>
                  <a:lnTo>
                    <a:pt x="392" y="48"/>
                  </a:lnTo>
                  <a:lnTo>
                    <a:pt x="368" y="132"/>
                  </a:lnTo>
                  <a:lnTo>
                    <a:pt x="434" y="204"/>
                  </a:lnTo>
                  <a:lnTo>
                    <a:pt x="363" y="293"/>
                  </a:lnTo>
                  <a:lnTo>
                    <a:pt x="386" y="378"/>
                  </a:lnTo>
                  <a:lnTo>
                    <a:pt x="332" y="468"/>
                  </a:lnTo>
                  <a:lnTo>
                    <a:pt x="266" y="414"/>
                  </a:lnTo>
                  <a:lnTo>
                    <a:pt x="224" y="330"/>
                  </a:lnTo>
                  <a:lnTo>
                    <a:pt x="128" y="462"/>
                  </a:lnTo>
                  <a:lnTo>
                    <a:pt x="68" y="480"/>
                  </a:lnTo>
                  <a:lnTo>
                    <a:pt x="26" y="648"/>
                  </a:lnTo>
                  <a:lnTo>
                    <a:pt x="68" y="750"/>
                  </a:lnTo>
                  <a:lnTo>
                    <a:pt x="0" y="883"/>
                  </a:lnTo>
                  <a:lnTo>
                    <a:pt x="38" y="978"/>
                  </a:lnTo>
                  <a:lnTo>
                    <a:pt x="62" y="1122"/>
                  </a:lnTo>
                  <a:lnTo>
                    <a:pt x="182" y="1272"/>
                  </a:lnTo>
                  <a:lnTo>
                    <a:pt x="212" y="1428"/>
                  </a:lnTo>
                  <a:lnTo>
                    <a:pt x="236" y="1584"/>
                  </a:lnTo>
                  <a:lnTo>
                    <a:pt x="137" y="2040"/>
                  </a:lnTo>
                  <a:lnTo>
                    <a:pt x="304" y="2013"/>
                  </a:lnTo>
                  <a:lnTo>
                    <a:pt x="766" y="1926"/>
                  </a:lnTo>
                  <a:lnTo>
                    <a:pt x="851" y="1983"/>
                  </a:lnTo>
                  <a:lnTo>
                    <a:pt x="973" y="1905"/>
                  </a:lnTo>
                  <a:lnTo>
                    <a:pt x="1166" y="1895"/>
                  </a:lnTo>
                  <a:lnTo>
                    <a:pt x="1166" y="1857"/>
                  </a:lnTo>
                  <a:lnTo>
                    <a:pt x="1360" y="1841"/>
                  </a:lnTo>
                  <a:lnTo>
                    <a:pt x="1406" y="1752"/>
                  </a:lnTo>
                  <a:lnTo>
                    <a:pt x="1460" y="1704"/>
                  </a:lnTo>
                  <a:lnTo>
                    <a:pt x="1466" y="1650"/>
                  </a:lnTo>
                  <a:lnTo>
                    <a:pt x="1409" y="1626"/>
                  </a:lnTo>
                  <a:lnTo>
                    <a:pt x="1472" y="1464"/>
                  </a:lnTo>
                  <a:lnTo>
                    <a:pt x="1544" y="1404"/>
                  </a:lnTo>
                  <a:lnTo>
                    <a:pt x="1574" y="1296"/>
                  </a:lnTo>
                  <a:lnTo>
                    <a:pt x="1586" y="1062"/>
                  </a:lnTo>
                  <a:lnTo>
                    <a:pt x="1502" y="900"/>
                  </a:lnTo>
                  <a:lnTo>
                    <a:pt x="1436" y="738"/>
                  </a:lnTo>
                  <a:lnTo>
                    <a:pt x="1322" y="696"/>
                  </a:lnTo>
                  <a:lnTo>
                    <a:pt x="1214" y="708"/>
                  </a:lnTo>
                  <a:lnTo>
                    <a:pt x="1166" y="786"/>
                  </a:lnTo>
                  <a:lnTo>
                    <a:pt x="1136" y="888"/>
                  </a:lnTo>
                  <a:lnTo>
                    <a:pt x="1040" y="918"/>
                  </a:lnTo>
                  <a:lnTo>
                    <a:pt x="952" y="837"/>
                  </a:lnTo>
                  <a:lnTo>
                    <a:pt x="1022" y="756"/>
                  </a:lnTo>
                  <a:lnTo>
                    <a:pt x="1064" y="666"/>
                  </a:lnTo>
                  <a:lnTo>
                    <a:pt x="1106" y="498"/>
                  </a:lnTo>
                  <a:lnTo>
                    <a:pt x="1064" y="348"/>
                  </a:lnTo>
                  <a:lnTo>
                    <a:pt x="986" y="246"/>
                  </a:lnTo>
                  <a:lnTo>
                    <a:pt x="1040" y="156"/>
                  </a:lnTo>
                  <a:lnTo>
                    <a:pt x="854" y="78"/>
                  </a:lnTo>
                  <a:lnTo>
                    <a:pt x="710" y="48"/>
                  </a:lnTo>
                  <a:lnTo>
                    <a:pt x="602" y="36"/>
                  </a:lnTo>
                  <a:lnTo>
                    <a:pt x="506" y="0"/>
                  </a:lnTo>
                  <a:close/>
                </a:path>
              </a:pathLst>
            </a:custGeom>
            <a:solidFill>
              <a:schemeClr val="accent6">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79646">
                    <a:lumMod val="75000"/>
                  </a:srgbClr>
                </a:solidFill>
                <a:effectLst/>
                <a:uLnTx/>
                <a:uFillTx/>
                <a:latin typeface="Calibri"/>
                <a:ea typeface="宋体" panose="02010600030101010101" pitchFamily="2" charset="-122"/>
                <a:cs typeface="+mn-cs"/>
              </a:endParaRPr>
            </a:p>
          </p:txBody>
        </p:sp>
        <p:sp>
          <p:nvSpPr>
            <p:cNvPr id="44" name="Freeform 47"/>
            <p:cNvSpPr>
              <a:spLocks/>
            </p:cNvSpPr>
            <p:nvPr/>
          </p:nvSpPr>
          <p:spPr bwMode="auto">
            <a:xfrm>
              <a:off x="565712" y="2841304"/>
              <a:ext cx="669452" cy="589531"/>
            </a:xfrm>
            <a:custGeom>
              <a:avLst/>
              <a:gdLst>
                <a:gd name="T0" fmla="*/ 17 w 2687"/>
                <a:gd name="T1" fmla="*/ 25 h 1962"/>
                <a:gd name="T2" fmla="*/ 0 w 2687"/>
                <a:gd name="T3" fmla="*/ 48 h 1962"/>
                <a:gd name="T4" fmla="*/ 11 w 2687"/>
                <a:gd name="T5" fmla="*/ 93 h 1962"/>
                <a:gd name="T6" fmla="*/ 15 w 2687"/>
                <a:gd name="T7" fmla="*/ 130 h 1962"/>
                <a:gd name="T8" fmla="*/ 6 w 2687"/>
                <a:gd name="T9" fmla="*/ 150 h 1962"/>
                <a:gd name="T10" fmla="*/ 22 w 2687"/>
                <a:gd name="T11" fmla="*/ 166 h 1962"/>
                <a:gd name="T12" fmla="*/ 6 w 2687"/>
                <a:gd name="T13" fmla="*/ 173 h 1962"/>
                <a:gd name="T14" fmla="*/ 23 w 2687"/>
                <a:gd name="T15" fmla="*/ 196 h 1962"/>
                <a:gd name="T16" fmla="*/ 0 w 2687"/>
                <a:gd name="T17" fmla="*/ 213 h 1962"/>
                <a:gd name="T18" fmla="*/ 6 w 2687"/>
                <a:gd name="T19" fmla="*/ 230 h 1962"/>
                <a:gd name="T20" fmla="*/ 28 w 2687"/>
                <a:gd name="T21" fmla="*/ 236 h 1962"/>
                <a:gd name="T22" fmla="*/ 47 w 2687"/>
                <a:gd name="T23" fmla="*/ 246 h 1962"/>
                <a:gd name="T24" fmla="*/ 63 w 2687"/>
                <a:gd name="T25" fmla="*/ 264 h 1962"/>
                <a:gd name="T26" fmla="*/ 74 w 2687"/>
                <a:gd name="T27" fmla="*/ 309 h 1962"/>
                <a:gd name="T28" fmla="*/ 106 w 2687"/>
                <a:gd name="T29" fmla="*/ 310 h 1962"/>
                <a:gd name="T30" fmla="*/ 142 w 2687"/>
                <a:gd name="T31" fmla="*/ 309 h 1962"/>
                <a:gd name="T32" fmla="*/ 171 w 2687"/>
                <a:gd name="T33" fmla="*/ 338 h 1962"/>
                <a:gd name="T34" fmla="*/ 194 w 2687"/>
                <a:gd name="T35" fmla="*/ 321 h 1962"/>
                <a:gd name="T36" fmla="*/ 233 w 2687"/>
                <a:gd name="T37" fmla="*/ 344 h 1962"/>
                <a:gd name="T38" fmla="*/ 285 w 2687"/>
                <a:gd name="T39" fmla="*/ 338 h 1962"/>
                <a:gd name="T40" fmla="*/ 302 w 2687"/>
                <a:gd name="T41" fmla="*/ 349 h 1962"/>
                <a:gd name="T42" fmla="*/ 322 w 2687"/>
                <a:gd name="T43" fmla="*/ 341 h 1962"/>
                <a:gd name="T44" fmla="*/ 352 w 2687"/>
                <a:gd name="T45" fmla="*/ 341 h 1962"/>
                <a:gd name="T46" fmla="*/ 371 w 2687"/>
                <a:gd name="T47" fmla="*/ 354 h 1962"/>
                <a:gd name="T48" fmla="*/ 427 w 2687"/>
                <a:gd name="T49" fmla="*/ 372 h 1962"/>
                <a:gd name="T50" fmla="*/ 456 w 2687"/>
                <a:gd name="T51" fmla="*/ 372 h 1962"/>
                <a:gd name="T52" fmla="*/ 456 w 2687"/>
                <a:gd name="T53" fmla="*/ 338 h 1962"/>
                <a:gd name="T54" fmla="*/ 467 w 2687"/>
                <a:gd name="T55" fmla="*/ 298 h 1962"/>
                <a:gd name="T56" fmla="*/ 478 w 2687"/>
                <a:gd name="T57" fmla="*/ 258 h 1962"/>
                <a:gd name="T58" fmla="*/ 484 w 2687"/>
                <a:gd name="T59" fmla="*/ 232 h 1962"/>
                <a:gd name="T60" fmla="*/ 482 w 2687"/>
                <a:gd name="T61" fmla="*/ 196 h 1962"/>
                <a:gd name="T62" fmla="*/ 494 w 2687"/>
                <a:gd name="T63" fmla="*/ 159 h 1962"/>
                <a:gd name="T64" fmla="*/ 501 w 2687"/>
                <a:gd name="T65" fmla="*/ 120 h 1962"/>
                <a:gd name="T66" fmla="*/ 510 w 2687"/>
                <a:gd name="T67" fmla="*/ 102 h 1962"/>
                <a:gd name="T68" fmla="*/ 439 w 2687"/>
                <a:gd name="T69" fmla="*/ 78 h 1962"/>
                <a:gd name="T70" fmla="*/ 389 w 2687"/>
                <a:gd name="T71" fmla="*/ 66 h 1962"/>
                <a:gd name="T72" fmla="*/ 321 w 2687"/>
                <a:gd name="T73" fmla="*/ 54 h 1962"/>
                <a:gd name="T74" fmla="*/ 234 w 2687"/>
                <a:gd name="T75" fmla="*/ 35 h 1962"/>
                <a:gd name="T76" fmla="*/ 137 w 2687"/>
                <a:gd name="T77" fmla="*/ 0 h 1962"/>
                <a:gd name="T78" fmla="*/ 144 w 2687"/>
                <a:gd name="T79" fmla="*/ 26 h 1962"/>
                <a:gd name="T80" fmla="*/ 165 w 2687"/>
                <a:gd name="T81" fmla="*/ 42 h 1962"/>
                <a:gd name="T82" fmla="*/ 142 w 2687"/>
                <a:gd name="T83" fmla="*/ 53 h 1962"/>
                <a:gd name="T84" fmla="*/ 159 w 2687"/>
                <a:gd name="T85" fmla="*/ 71 h 1962"/>
                <a:gd name="T86" fmla="*/ 154 w 2687"/>
                <a:gd name="T87" fmla="*/ 116 h 1962"/>
                <a:gd name="T88" fmla="*/ 137 w 2687"/>
                <a:gd name="T89" fmla="*/ 162 h 1962"/>
                <a:gd name="T90" fmla="*/ 108 w 2687"/>
                <a:gd name="T91" fmla="*/ 179 h 1962"/>
                <a:gd name="T92" fmla="*/ 120 w 2687"/>
                <a:gd name="T93" fmla="*/ 156 h 1962"/>
                <a:gd name="T94" fmla="*/ 125 w 2687"/>
                <a:gd name="T95" fmla="*/ 156 h 1962"/>
                <a:gd name="T96" fmla="*/ 125 w 2687"/>
                <a:gd name="T97" fmla="*/ 110 h 1962"/>
                <a:gd name="T98" fmla="*/ 114 w 2687"/>
                <a:gd name="T99" fmla="*/ 105 h 1962"/>
                <a:gd name="T100" fmla="*/ 125 w 2687"/>
                <a:gd name="T101" fmla="*/ 93 h 1962"/>
                <a:gd name="T102" fmla="*/ 104 w 2687"/>
                <a:gd name="T103" fmla="*/ 73 h 1962"/>
                <a:gd name="T104" fmla="*/ 80 w 2687"/>
                <a:gd name="T105" fmla="*/ 62 h 1962"/>
                <a:gd name="T106" fmla="*/ 54 w 2687"/>
                <a:gd name="T107" fmla="*/ 50 h 1962"/>
                <a:gd name="T108" fmla="*/ 17 w 2687"/>
                <a:gd name="T109" fmla="*/ 25 h 19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87" h="1962">
                  <a:moveTo>
                    <a:pt x="90" y="132"/>
                  </a:moveTo>
                  <a:lnTo>
                    <a:pt x="0" y="252"/>
                  </a:lnTo>
                  <a:lnTo>
                    <a:pt x="60" y="492"/>
                  </a:lnTo>
                  <a:lnTo>
                    <a:pt x="81" y="686"/>
                  </a:lnTo>
                  <a:lnTo>
                    <a:pt x="30" y="792"/>
                  </a:lnTo>
                  <a:lnTo>
                    <a:pt x="118" y="878"/>
                  </a:lnTo>
                  <a:lnTo>
                    <a:pt x="30" y="912"/>
                  </a:lnTo>
                  <a:lnTo>
                    <a:pt x="120" y="1032"/>
                  </a:lnTo>
                  <a:lnTo>
                    <a:pt x="0" y="1122"/>
                  </a:lnTo>
                  <a:lnTo>
                    <a:pt x="30" y="1212"/>
                  </a:lnTo>
                  <a:lnTo>
                    <a:pt x="145" y="1243"/>
                  </a:lnTo>
                  <a:lnTo>
                    <a:pt x="246" y="1298"/>
                  </a:lnTo>
                  <a:lnTo>
                    <a:pt x="330" y="1392"/>
                  </a:lnTo>
                  <a:lnTo>
                    <a:pt x="390" y="1632"/>
                  </a:lnTo>
                  <a:lnTo>
                    <a:pt x="556" y="1637"/>
                  </a:lnTo>
                  <a:lnTo>
                    <a:pt x="750" y="1632"/>
                  </a:lnTo>
                  <a:lnTo>
                    <a:pt x="900" y="1782"/>
                  </a:lnTo>
                  <a:lnTo>
                    <a:pt x="1020" y="1692"/>
                  </a:lnTo>
                  <a:lnTo>
                    <a:pt x="1230" y="1812"/>
                  </a:lnTo>
                  <a:lnTo>
                    <a:pt x="1501" y="1782"/>
                  </a:lnTo>
                  <a:lnTo>
                    <a:pt x="1591" y="1842"/>
                  </a:lnTo>
                  <a:lnTo>
                    <a:pt x="1699" y="1801"/>
                  </a:lnTo>
                  <a:lnTo>
                    <a:pt x="1855" y="1801"/>
                  </a:lnTo>
                  <a:lnTo>
                    <a:pt x="1955" y="1865"/>
                  </a:lnTo>
                  <a:lnTo>
                    <a:pt x="2251" y="1962"/>
                  </a:lnTo>
                  <a:lnTo>
                    <a:pt x="2401" y="1962"/>
                  </a:lnTo>
                  <a:lnTo>
                    <a:pt x="2401" y="1782"/>
                  </a:lnTo>
                  <a:lnTo>
                    <a:pt x="2461" y="1572"/>
                  </a:lnTo>
                  <a:lnTo>
                    <a:pt x="2521" y="1362"/>
                  </a:lnTo>
                  <a:lnTo>
                    <a:pt x="2550" y="1225"/>
                  </a:lnTo>
                  <a:lnTo>
                    <a:pt x="2540" y="1033"/>
                  </a:lnTo>
                  <a:lnTo>
                    <a:pt x="2604" y="841"/>
                  </a:lnTo>
                  <a:lnTo>
                    <a:pt x="2641" y="631"/>
                  </a:lnTo>
                  <a:lnTo>
                    <a:pt x="2687" y="539"/>
                  </a:lnTo>
                  <a:lnTo>
                    <a:pt x="2312" y="411"/>
                  </a:lnTo>
                  <a:lnTo>
                    <a:pt x="2047" y="347"/>
                  </a:lnTo>
                  <a:lnTo>
                    <a:pt x="1690" y="283"/>
                  </a:lnTo>
                  <a:lnTo>
                    <a:pt x="1233" y="183"/>
                  </a:lnTo>
                  <a:lnTo>
                    <a:pt x="721" y="0"/>
                  </a:lnTo>
                  <a:lnTo>
                    <a:pt x="758" y="137"/>
                  </a:lnTo>
                  <a:lnTo>
                    <a:pt x="870" y="222"/>
                  </a:lnTo>
                  <a:lnTo>
                    <a:pt x="750" y="282"/>
                  </a:lnTo>
                  <a:lnTo>
                    <a:pt x="840" y="372"/>
                  </a:lnTo>
                  <a:lnTo>
                    <a:pt x="810" y="612"/>
                  </a:lnTo>
                  <a:lnTo>
                    <a:pt x="720" y="852"/>
                  </a:lnTo>
                  <a:lnTo>
                    <a:pt x="570" y="942"/>
                  </a:lnTo>
                  <a:lnTo>
                    <a:pt x="630" y="822"/>
                  </a:lnTo>
                  <a:lnTo>
                    <a:pt x="660" y="822"/>
                  </a:lnTo>
                  <a:lnTo>
                    <a:pt x="660" y="582"/>
                  </a:lnTo>
                  <a:lnTo>
                    <a:pt x="600" y="552"/>
                  </a:lnTo>
                  <a:lnTo>
                    <a:pt x="660" y="492"/>
                  </a:lnTo>
                  <a:lnTo>
                    <a:pt x="547" y="384"/>
                  </a:lnTo>
                  <a:lnTo>
                    <a:pt x="419" y="329"/>
                  </a:lnTo>
                  <a:lnTo>
                    <a:pt x="282" y="265"/>
                  </a:lnTo>
                  <a:lnTo>
                    <a:pt x="90" y="132"/>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5" name="Freeform 48"/>
            <p:cNvSpPr>
              <a:spLocks/>
            </p:cNvSpPr>
            <p:nvPr/>
          </p:nvSpPr>
          <p:spPr bwMode="auto">
            <a:xfrm>
              <a:off x="489884" y="3234052"/>
              <a:ext cx="682454" cy="706945"/>
            </a:xfrm>
            <a:custGeom>
              <a:avLst/>
              <a:gdLst>
                <a:gd name="T0" fmla="*/ 150 w 3256"/>
                <a:gd name="T1" fmla="*/ 0 h 2669"/>
                <a:gd name="T2" fmla="*/ 127 w 3256"/>
                <a:gd name="T3" fmla="*/ 29 h 2669"/>
                <a:gd name="T4" fmla="*/ 132 w 3256"/>
                <a:gd name="T5" fmla="*/ 68 h 2669"/>
                <a:gd name="T6" fmla="*/ 109 w 3256"/>
                <a:gd name="T7" fmla="*/ 85 h 2669"/>
                <a:gd name="T8" fmla="*/ 103 w 3256"/>
                <a:gd name="T9" fmla="*/ 114 h 2669"/>
                <a:gd name="T10" fmla="*/ 91 w 3256"/>
                <a:gd name="T11" fmla="*/ 139 h 2669"/>
                <a:gd name="T12" fmla="*/ 79 w 3256"/>
                <a:gd name="T13" fmla="*/ 173 h 2669"/>
                <a:gd name="T14" fmla="*/ 58 w 3256"/>
                <a:gd name="T15" fmla="*/ 207 h 2669"/>
                <a:gd name="T16" fmla="*/ 30 w 3256"/>
                <a:gd name="T17" fmla="*/ 240 h 2669"/>
                <a:gd name="T18" fmla="*/ 29 w 3256"/>
                <a:gd name="T19" fmla="*/ 263 h 2669"/>
                <a:gd name="T20" fmla="*/ 12 w 3256"/>
                <a:gd name="T21" fmla="*/ 284 h 2669"/>
                <a:gd name="T22" fmla="*/ 17 w 3256"/>
                <a:gd name="T23" fmla="*/ 325 h 2669"/>
                <a:gd name="T24" fmla="*/ 0 w 3256"/>
                <a:gd name="T25" fmla="*/ 357 h 2669"/>
                <a:gd name="T26" fmla="*/ 9 w 3256"/>
                <a:gd name="T27" fmla="*/ 370 h 2669"/>
                <a:gd name="T28" fmla="*/ 46 w 3256"/>
                <a:gd name="T29" fmla="*/ 381 h 2669"/>
                <a:gd name="T30" fmla="*/ 302 w 3256"/>
                <a:gd name="T31" fmla="*/ 460 h 2669"/>
                <a:gd name="T32" fmla="*/ 524 w 3256"/>
                <a:gd name="T33" fmla="*/ 506 h 2669"/>
                <a:gd name="T34" fmla="*/ 547 w 3256"/>
                <a:gd name="T35" fmla="*/ 352 h 2669"/>
                <a:gd name="T36" fmla="*/ 569 w 3256"/>
                <a:gd name="T37" fmla="*/ 318 h 2669"/>
                <a:gd name="T38" fmla="*/ 552 w 3256"/>
                <a:gd name="T39" fmla="*/ 296 h 2669"/>
                <a:gd name="T40" fmla="*/ 552 w 3256"/>
                <a:gd name="T41" fmla="*/ 273 h 2669"/>
                <a:gd name="T42" fmla="*/ 581 w 3256"/>
                <a:gd name="T43" fmla="*/ 256 h 2669"/>
                <a:gd name="T44" fmla="*/ 586 w 3256"/>
                <a:gd name="T45" fmla="*/ 227 h 2669"/>
                <a:gd name="T46" fmla="*/ 586 w 3256"/>
                <a:gd name="T47" fmla="*/ 222 h 2669"/>
                <a:gd name="T48" fmla="*/ 592 w 3256"/>
                <a:gd name="T49" fmla="*/ 210 h 2669"/>
                <a:gd name="T50" fmla="*/ 615 w 3256"/>
                <a:gd name="T51" fmla="*/ 205 h 2669"/>
                <a:gd name="T52" fmla="*/ 617 w 3256"/>
                <a:gd name="T53" fmla="*/ 187 h 2669"/>
                <a:gd name="T54" fmla="*/ 615 w 3256"/>
                <a:gd name="T55" fmla="*/ 165 h 2669"/>
                <a:gd name="T56" fmla="*/ 598 w 3256"/>
                <a:gd name="T57" fmla="*/ 142 h 2669"/>
                <a:gd name="T58" fmla="*/ 571 w 3256"/>
                <a:gd name="T59" fmla="*/ 142 h 2669"/>
                <a:gd name="T60" fmla="*/ 514 w 3256"/>
                <a:gd name="T61" fmla="*/ 124 h 2669"/>
                <a:gd name="T62" fmla="*/ 496 w 3256"/>
                <a:gd name="T63" fmla="*/ 111 h 2669"/>
                <a:gd name="T64" fmla="*/ 466 w 3256"/>
                <a:gd name="T65" fmla="*/ 111 h 2669"/>
                <a:gd name="T66" fmla="*/ 446 w 3256"/>
                <a:gd name="T67" fmla="*/ 119 h 2669"/>
                <a:gd name="T68" fmla="*/ 428 w 3256"/>
                <a:gd name="T69" fmla="*/ 108 h 2669"/>
                <a:gd name="T70" fmla="*/ 377 w 3256"/>
                <a:gd name="T71" fmla="*/ 114 h 2669"/>
                <a:gd name="T72" fmla="*/ 337 w 3256"/>
                <a:gd name="T73" fmla="*/ 91 h 2669"/>
                <a:gd name="T74" fmla="*/ 314 w 3256"/>
                <a:gd name="T75" fmla="*/ 108 h 2669"/>
                <a:gd name="T76" fmla="*/ 286 w 3256"/>
                <a:gd name="T77" fmla="*/ 79 h 2669"/>
                <a:gd name="T78" fmla="*/ 252 w 3256"/>
                <a:gd name="T79" fmla="*/ 80 h 2669"/>
                <a:gd name="T80" fmla="*/ 218 w 3256"/>
                <a:gd name="T81" fmla="*/ 79 h 2669"/>
                <a:gd name="T82" fmla="*/ 206 w 3256"/>
                <a:gd name="T83" fmla="*/ 34 h 2669"/>
                <a:gd name="T84" fmla="*/ 191 w 3256"/>
                <a:gd name="T85" fmla="*/ 16 h 2669"/>
                <a:gd name="T86" fmla="*/ 171 w 3256"/>
                <a:gd name="T87" fmla="*/ 5 h 2669"/>
                <a:gd name="T88" fmla="*/ 150 w 3256"/>
                <a:gd name="T89" fmla="*/ 0 h 26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56" h="2669">
                  <a:moveTo>
                    <a:pt x="789" y="0"/>
                  </a:moveTo>
                  <a:lnTo>
                    <a:pt x="672" y="155"/>
                  </a:lnTo>
                  <a:lnTo>
                    <a:pt x="694" y="359"/>
                  </a:lnTo>
                  <a:lnTo>
                    <a:pt x="574" y="449"/>
                  </a:lnTo>
                  <a:lnTo>
                    <a:pt x="544" y="599"/>
                  </a:lnTo>
                  <a:lnTo>
                    <a:pt x="480" y="731"/>
                  </a:lnTo>
                  <a:lnTo>
                    <a:pt x="416" y="915"/>
                  </a:lnTo>
                  <a:lnTo>
                    <a:pt x="304" y="1091"/>
                  </a:lnTo>
                  <a:lnTo>
                    <a:pt x="160" y="1267"/>
                  </a:lnTo>
                  <a:lnTo>
                    <a:pt x="152" y="1387"/>
                  </a:lnTo>
                  <a:lnTo>
                    <a:pt x="64" y="1499"/>
                  </a:lnTo>
                  <a:lnTo>
                    <a:pt x="88" y="1715"/>
                  </a:lnTo>
                  <a:lnTo>
                    <a:pt x="0" y="1883"/>
                  </a:lnTo>
                  <a:lnTo>
                    <a:pt x="48" y="1952"/>
                  </a:lnTo>
                  <a:lnTo>
                    <a:pt x="244" y="2009"/>
                  </a:lnTo>
                  <a:lnTo>
                    <a:pt x="1594" y="2429"/>
                  </a:lnTo>
                  <a:lnTo>
                    <a:pt x="2765" y="2669"/>
                  </a:lnTo>
                  <a:lnTo>
                    <a:pt x="2885" y="1859"/>
                  </a:lnTo>
                  <a:lnTo>
                    <a:pt x="3005" y="1679"/>
                  </a:lnTo>
                  <a:lnTo>
                    <a:pt x="2915" y="1559"/>
                  </a:lnTo>
                  <a:lnTo>
                    <a:pt x="2915" y="1439"/>
                  </a:lnTo>
                  <a:lnTo>
                    <a:pt x="3065" y="1349"/>
                  </a:lnTo>
                  <a:lnTo>
                    <a:pt x="3095" y="1199"/>
                  </a:lnTo>
                  <a:lnTo>
                    <a:pt x="3095" y="1169"/>
                  </a:lnTo>
                  <a:lnTo>
                    <a:pt x="3125" y="1109"/>
                  </a:lnTo>
                  <a:lnTo>
                    <a:pt x="3245" y="1079"/>
                  </a:lnTo>
                  <a:lnTo>
                    <a:pt x="3256" y="987"/>
                  </a:lnTo>
                  <a:lnTo>
                    <a:pt x="3245" y="869"/>
                  </a:lnTo>
                  <a:lnTo>
                    <a:pt x="3158" y="749"/>
                  </a:lnTo>
                  <a:lnTo>
                    <a:pt x="3012" y="749"/>
                  </a:lnTo>
                  <a:lnTo>
                    <a:pt x="2715" y="653"/>
                  </a:lnTo>
                  <a:lnTo>
                    <a:pt x="2615" y="587"/>
                  </a:lnTo>
                  <a:lnTo>
                    <a:pt x="2460" y="587"/>
                  </a:lnTo>
                  <a:lnTo>
                    <a:pt x="2351" y="629"/>
                  </a:lnTo>
                  <a:lnTo>
                    <a:pt x="2259" y="569"/>
                  </a:lnTo>
                  <a:lnTo>
                    <a:pt x="1989" y="599"/>
                  </a:lnTo>
                  <a:lnTo>
                    <a:pt x="1779" y="480"/>
                  </a:lnTo>
                  <a:lnTo>
                    <a:pt x="1659" y="569"/>
                  </a:lnTo>
                  <a:lnTo>
                    <a:pt x="1508" y="419"/>
                  </a:lnTo>
                  <a:lnTo>
                    <a:pt x="1331" y="423"/>
                  </a:lnTo>
                  <a:lnTo>
                    <a:pt x="1148" y="419"/>
                  </a:lnTo>
                  <a:lnTo>
                    <a:pt x="1088" y="180"/>
                  </a:lnTo>
                  <a:lnTo>
                    <a:pt x="1010" y="87"/>
                  </a:lnTo>
                  <a:lnTo>
                    <a:pt x="905" y="29"/>
                  </a:lnTo>
                  <a:lnTo>
                    <a:pt x="789" y="0"/>
                  </a:lnTo>
                  <a:close/>
                </a:path>
              </a:pathLst>
            </a:custGeom>
            <a:solidFill>
              <a:schemeClr val="accent3">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6" name="Freeform 49"/>
            <p:cNvSpPr>
              <a:spLocks/>
            </p:cNvSpPr>
            <p:nvPr/>
          </p:nvSpPr>
          <p:spPr bwMode="auto">
            <a:xfrm>
              <a:off x="414056" y="3783897"/>
              <a:ext cx="1061596" cy="1256791"/>
            </a:xfrm>
            <a:custGeom>
              <a:avLst/>
              <a:gdLst>
                <a:gd name="T0" fmla="*/ 42 w 3498"/>
                <a:gd name="T1" fmla="*/ 24 h 5586"/>
                <a:gd name="T2" fmla="*/ 38 w 3498"/>
                <a:gd name="T3" fmla="*/ 71 h 5586"/>
                <a:gd name="T4" fmla="*/ 0 w 3498"/>
                <a:gd name="T5" fmla="*/ 138 h 5586"/>
                <a:gd name="T6" fmla="*/ 23 w 3498"/>
                <a:gd name="T7" fmla="*/ 193 h 5586"/>
                <a:gd name="T8" fmla="*/ 25 w 3498"/>
                <a:gd name="T9" fmla="*/ 248 h 5586"/>
                <a:gd name="T10" fmla="*/ 28 w 3498"/>
                <a:gd name="T11" fmla="*/ 341 h 5586"/>
                <a:gd name="T12" fmla="*/ 47 w 3498"/>
                <a:gd name="T13" fmla="*/ 399 h 5586"/>
                <a:gd name="T14" fmla="*/ 64 w 3498"/>
                <a:gd name="T15" fmla="*/ 430 h 5586"/>
                <a:gd name="T16" fmla="*/ 91 w 3498"/>
                <a:gd name="T17" fmla="*/ 390 h 5586"/>
                <a:gd name="T18" fmla="*/ 92 w 3498"/>
                <a:gd name="T19" fmla="*/ 425 h 5586"/>
                <a:gd name="T20" fmla="*/ 72 w 3498"/>
                <a:gd name="T21" fmla="*/ 452 h 5586"/>
                <a:gd name="T22" fmla="*/ 61 w 3498"/>
                <a:gd name="T23" fmla="*/ 486 h 5586"/>
                <a:gd name="T24" fmla="*/ 111 w 3498"/>
                <a:gd name="T25" fmla="*/ 538 h 5586"/>
                <a:gd name="T26" fmla="*/ 90 w 3498"/>
                <a:gd name="T27" fmla="*/ 569 h 5586"/>
                <a:gd name="T28" fmla="*/ 124 w 3498"/>
                <a:gd name="T29" fmla="*/ 637 h 5586"/>
                <a:gd name="T30" fmla="*/ 152 w 3498"/>
                <a:gd name="T31" fmla="*/ 708 h 5586"/>
                <a:gd name="T32" fmla="*/ 156 w 3498"/>
                <a:gd name="T33" fmla="*/ 783 h 5586"/>
                <a:gd name="T34" fmla="*/ 235 w 3498"/>
                <a:gd name="T35" fmla="*/ 820 h 5586"/>
                <a:gd name="T36" fmla="*/ 288 w 3498"/>
                <a:gd name="T37" fmla="*/ 862 h 5586"/>
                <a:gd name="T38" fmla="*/ 322 w 3498"/>
                <a:gd name="T39" fmla="*/ 879 h 5586"/>
                <a:gd name="T40" fmla="*/ 351 w 3498"/>
                <a:gd name="T41" fmla="*/ 918 h 5586"/>
                <a:gd name="T42" fmla="*/ 385 w 3498"/>
                <a:gd name="T43" fmla="*/ 959 h 5586"/>
                <a:gd name="T44" fmla="*/ 395 w 3498"/>
                <a:gd name="T45" fmla="*/ 1023 h 5586"/>
                <a:gd name="T46" fmla="*/ 441 w 3498"/>
                <a:gd name="T47" fmla="*/ 1040 h 5586"/>
                <a:gd name="T48" fmla="*/ 503 w 3498"/>
                <a:gd name="T49" fmla="*/ 1049 h 5586"/>
                <a:gd name="T50" fmla="*/ 594 w 3498"/>
                <a:gd name="T51" fmla="*/ 1059 h 5586"/>
                <a:gd name="T52" fmla="*/ 612 w 3498"/>
                <a:gd name="T53" fmla="*/ 1027 h 5586"/>
                <a:gd name="T54" fmla="*/ 612 w 3498"/>
                <a:gd name="T55" fmla="*/ 983 h 5586"/>
                <a:gd name="T56" fmla="*/ 623 w 3498"/>
                <a:gd name="T57" fmla="*/ 953 h 5586"/>
                <a:gd name="T58" fmla="*/ 646 w 3498"/>
                <a:gd name="T59" fmla="*/ 919 h 5586"/>
                <a:gd name="T60" fmla="*/ 657 w 3498"/>
                <a:gd name="T61" fmla="*/ 919 h 5586"/>
                <a:gd name="T62" fmla="*/ 640 w 3498"/>
                <a:gd name="T63" fmla="*/ 867 h 5586"/>
                <a:gd name="T64" fmla="*/ 561 w 3498"/>
                <a:gd name="T65" fmla="*/ 737 h 5586"/>
                <a:gd name="T66" fmla="*/ 402 w 3498"/>
                <a:gd name="T67" fmla="*/ 513 h 5586"/>
                <a:gd name="T68" fmla="*/ 295 w 3498"/>
                <a:gd name="T69" fmla="*/ 367 h 5586"/>
                <a:gd name="T70" fmla="*/ 84 w 3498"/>
                <a:gd name="T71" fmla="*/ 9 h 5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498" h="5586">
                  <a:moveTo>
                    <a:pt x="284" y="0"/>
                  </a:moveTo>
                  <a:lnTo>
                    <a:pt x="222" y="126"/>
                  </a:lnTo>
                  <a:lnTo>
                    <a:pt x="292" y="225"/>
                  </a:lnTo>
                  <a:lnTo>
                    <a:pt x="202" y="375"/>
                  </a:lnTo>
                  <a:lnTo>
                    <a:pt x="202" y="555"/>
                  </a:lnTo>
                  <a:lnTo>
                    <a:pt x="0" y="726"/>
                  </a:lnTo>
                  <a:lnTo>
                    <a:pt x="36" y="906"/>
                  </a:lnTo>
                  <a:lnTo>
                    <a:pt x="120" y="1020"/>
                  </a:lnTo>
                  <a:lnTo>
                    <a:pt x="142" y="1125"/>
                  </a:lnTo>
                  <a:lnTo>
                    <a:pt x="132" y="1308"/>
                  </a:lnTo>
                  <a:lnTo>
                    <a:pt x="72" y="1560"/>
                  </a:lnTo>
                  <a:lnTo>
                    <a:pt x="150" y="1800"/>
                  </a:lnTo>
                  <a:lnTo>
                    <a:pt x="262" y="1965"/>
                  </a:lnTo>
                  <a:lnTo>
                    <a:pt x="246" y="2106"/>
                  </a:lnTo>
                  <a:lnTo>
                    <a:pt x="262" y="2265"/>
                  </a:lnTo>
                  <a:lnTo>
                    <a:pt x="336" y="2268"/>
                  </a:lnTo>
                  <a:lnTo>
                    <a:pt x="408" y="2166"/>
                  </a:lnTo>
                  <a:lnTo>
                    <a:pt x="480" y="2058"/>
                  </a:lnTo>
                  <a:lnTo>
                    <a:pt x="516" y="2118"/>
                  </a:lnTo>
                  <a:lnTo>
                    <a:pt x="486" y="2244"/>
                  </a:lnTo>
                  <a:lnTo>
                    <a:pt x="442" y="2385"/>
                  </a:lnTo>
                  <a:lnTo>
                    <a:pt x="382" y="2385"/>
                  </a:lnTo>
                  <a:lnTo>
                    <a:pt x="366" y="2466"/>
                  </a:lnTo>
                  <a:lnTo>
                    <a:pt x="322" y="2565"/>
                  </a:lnTo>
                  <a:lnTo>
                    <a:pt x="492" y="2742"/>
                  </a:lnTo>
                  <a:lnTo>
                    <a:pt x="588" y="2838"/>
                  </a:lnTo>
                  <a:lnTo>
                    <a:pt x="592" y="2926"/>
                  </a:lnTo>
                  <a:lnTo>
                    <a:pt x="474" y="3000"/>
                  </a:lnTo>
                  <a:lnTo>
                    <a:pt x="606" y="3180"/>
                  </a:lnTo>
                  <a:lnTo>
                    <a:pt x="654" y="3360"/>
                  </a:lnTo>
                  <a:lnTo>
                    <a:pt x="768" y="3564"/>
                  </a:lnTo>
                  <a:lnTo>
                    <a:pt x="802" y="3736"/>
                  </a:lnTo>
                  <a:lnTo>
                    <a:pt x="892" y="3856"/>
                  </a:lnTo>
                  <a:lnTo>
                    <a:pt x="822" y="4128"/>
                  </a:lnTo>
                  <a:lnTo>
                    <a:pt x="1042" y="4246"/>
                  </a:lnTo>
                  <a:lnTo>
                    <a:pt x="1242" y="4326"/>
                  </a:lnTo>
                  <a:lnTo>
                    <a:pt x="1372" y="4456"/>
                  </a:lnTo>
                  <a:lnTo>
                    <a:pt x="1522" y="4546"/>
                  </a:lnTo>
                  <a:lnTo>
                    <a:pt x="1612" y="4546"/>
                  </a:lnTo>
                  <a:lnTo>
                    <a:pt x="1702" y="4636"/>
                  </a:lnTo>
                  <a:lnTo>
                    <a:pt x="1702" y="4756"/>
                  </a:lnTo>
                  <a:lnTo>
                    <a:pt x="1854" y="4842"/>
                  </a:lnTo>
                  <a:lnTo>
                    <a:pt x="1962" y="4944"/>
                  </a:lnTo>
                  <a:lnTo>
                    <a:pt x="2033" y="5056"/>
                  </a:lnTo>
                  <a:lnTo>
                    <a:pt x="2063" y="5236"/>
                  </a:lnTo>
                  <a:lnTo>
                    <a:pt x="2088" y="5394"/>
                  </a:lnTo>
                  <a:lnTo>
                    <a:pt x="2123" y="5506"/>
                  </a:lnTo>
                  <a:lnTo>
                    <a:pt x="2328" y="5484"/>
                  </a:lnTo>
                  <a:lnTo>
                    <a:pt x="2466" y="5532"/>
                  </a:lnTo>
                  <a:lnTo>
                    <a:pt x="2658" y="5532"/>
                  </a:lnTo>
                  <a:lnTo>
                    <a:pt x="2856" y="5544"/>
                  </a:lnTo>
                  <a:lnTo>
                    <a:pt x="3138" y="5586"/>
                  </a:lnTo>
                  <a:lnTo>
                    <a:pt x="3233" y="5536"/>
                  </a:lnTo>
                  <a:lnTo>
                    <a:pt x="3233" y="5416"/>
                  </a:lnTo>
                  <a:lnTo>
                    <a:pt x="3192" y="5292"/>
                  </a:lnTo>
                  <a:lnTo>
                    <a:pt x="3234" y="5184"/>
                  </a:lnTo>
                  <a:lnTo>
                    <a:pt x="3323" y="5116"/>
                  </a:lnTo>
                  <a:lnTo>
                    <a:pt x="3293" y="5026"/>
                  </a:lnTo>
                  <a:lnTo>
                    <a:pt x="3348" y="4950"/>
                  </a:lnTo>
                  <a:lnTo>
                    <a:pt x="3413" y="4846"/>
                  </a:lnTo>
                  <a:lnTo>
                    <a:pt x="3473" y="4846"/>
                  </a:lnTo>
                  <a:lnTo>
                    <a:pt x="3498" y="4770"/>
                  </a:lnTo>
                  <a:lnTo>
                    <a:pt x="3384" y="4572"/>
                  </a:lnTo>
                  <a:lnTo>
                    <a:pt x="3353" y="4396"/>
                  </a:lnTo>
                  <a:lnTo>
                    <a:pt x="2963" y="3886"/>
                  </a:lnTo>
                  <a:lnTo>
                    <a:pt x="2453" y="3226"/>
                  </a:lnTo>
                  <a:lnTo>
                    <a:pt x="2124" y="2706"/>
                  </a:lnTo>
                  <a:lnTo>
                    <a:pt x="1702" y="2175"/>
                  </a:lnTo>
                  <a:lnTo>
                    <a:pt x="1560" y="1938"/>
                  </a:lnTo>
                  <a:lnTo>
                    <a:pt x="1822" y="474"/>
                  </a:lnTo>
                  <a:lnTo>
                    <a:pt x="444" y="45"/>
                  </a:lnTo>
                  <a:lnTo>
                    <a:pt x="284" y="0"/>
                  </a:lnTo>
                  <a:close/>
                </a:path>
              </a:pathLst>
            </a:custGeom>
            <a:solidFill>
              <a:srgbClr val="73BC4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200" b="1" i="0" u="none" strike="noStrike" kern="0" cap="none" spc="0" normalizeH="0" baseline="0" noProof="0">
                <a:ln>
                  <a:noFill/>
                </a:ln>
                <a:solidFill>
                  <a:srgbClr val="000000"/>
                </a:solidFill>
                <a:effectLst/>
                <a:uLnTx/>
                <a:uFillTx/>
                <a:latin typeface="Arial" charset="0"/>
                <a:ea typeface="宋体" panose="02010600030101010101" pitchFamily="2" charset="-122"/>
                <a:cs typeface="+mn-cs"/>
              </a:endParaRPr>
            </a:p>
          </p:txBody>
        </p:sp>
        <p:sp>
          <p:nvSpPr>
            <p:cNvPr id="47" name="Freeform 50"/>
            <p:cNvSpPr>
              <a:spLocks/>
            </p:cNvSpPr>
            <p:nvPr/>
          </p:nvSpPr>
          <p:spPr bwMode="auto">
            <a:xfrm>
              <a:off x="869025" y="3862446"/>
              <a:ext cx="682454" cy="864043"/>
            </a:xfrm>
            <a:custGeom>
              <a:avLst/>
              <a:gdLst>
                <a:gd name="T0" fmla="*/ 49 w 2565"/>
                <a:gd name="T1" fmla="*/ 0 h 3871"/>
                <a:gd name="T2" fmla="*/ 272 w 2565"/>
                <a:gd name="T3" fmla="*/ 46 h 3871"/>
                <a:gd name="T4" fmla="*/ 486 w 2565"/>
                <a:gd name="T5" fmla="*/ 88 h 3871"/>
                <a:gd name="T6" fmla="*/ 480 w 2565"/>
                <a:gd name="T7" fmla="*/ 110 h 3871"/>
                <a:gd name="T8" fmla="*/ 465 w 2565"/>
                <a:gd name="T9" fmla="*/ 183 h 3871"/>
                <a:gd name="T10" fmla="*/ 458 w 2565"/>
                <a:gd name="T11" fmla="*/ 251 h 3871"/>
                <a:gd name="T12" fmla="*/ 450 w 2565"/>
                <a:gd name="T13" fmla="*/ 318 h 3871"/>
                <a:gd name="T14" fmla="*/ 425 w 2565"/>
                <a:gd name="T15" fmla="*/ 472 h 3871"/>
                <a:gd name="T16" fmla="*/ 414 w 2565"/>
                <a:gd name="T17" fmla="*/ 569 h 3871"/>
                <a:gd name="T18" fmla="*/ 409 w 2565"/>
                <a:gd name="T19" fmla="*/ 587 h 3871"/>
                <a:gd name="T20" fmla="*/ 409 w 2565"/>
                <a:gd name="T21" fmla="*/ 612 h 3871"/>
                <a:gd name="T22" fmla="*/ 399 w 2565"/>
                <a:gd name="T23" fmla="*/ 624 h 3871"/>
                <a:gd name="T24" fmla="*/ 404 w 2565"/>
                <a:gd name="T25" fmla="*/ 652 h 3871"/>
                <a:gd name="T26" fmla="*/ 376 w 2565"/>
                <a:gd name="T27" fmla="*/ 642 h 3871"/>
                <a:gd name="T28" fmla="*/ 357 w 2565"/>
                <a:gd name="T29" fmla="*/ 637 h 3871"/>
                <a:gd name="T30" fmla="*/ 342 w 2565"/>
                <a:gd name="T31" fmla="*/ 646 h 3871"/>
                <a:gd name="T32" fmla="*/ 341 w 2565"/>
                <a:gd name="T33" fmla="*/ 662 h 3871"/>
                <a:gd name="T34" fmla="*/ 348 w 2565"/>
                <a:gd name="T35" fmla="*/ 695 h 3871"/>
                <a:gd name="T36" fmla="*/ 346 w 2565"/>
                <a:gd name="T37" fmla="*/ 718 h 3871"/>
                <a:gd name="T38" fmla="*/ 333 w 2565"/>
                <a:gd name="T39" fmla="*/ 734 h 3871"/>
                <a:gd name="T40" fmla="*/ 214 w 2565"/>
                <a:gd name="T41" fmla="*/ 579 h 3871"/>
                <a:gd name="T42" fmla="*/ 170 w 2565"/>
                <a:gd name="T43" fmla="*/ 523 h 3871"/>
                <a:gd name="T44" fmla="*/ 108 w 2565"/>
                <a:gd name="T45" fmla="*/ 424 h 3871"/>
                <a:gd name="T46" fmla="*/ 27 w 2565"/>
                <a:gd name="T47" fmla="*/ 323 h 3871"/>
                <a:gd name="T48" fmla="*/ 0 w 2565"/>
                <a:gd name="T49" fmla="*/ 277 h 3871"/>
                <a:gd name="T50" fmla="*/ 49 w 2565"/>
                <a:gd name="T51" fmla="*/ 0 h 38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565" h="3871">
                  <a:moveTo>
                    <a:pt x="261" y="0"/>
                  </a:moveTo>
                  <a:lnTo>
                    <a:pt x="1437" y="241"/>
                  </a:lnTo>
                  <a:lnTo>
                    <a:pt x="2565" y="465"/>
                  </a:lnTo>
                  <a:lnTo>
                    <a:pt x="2532" y="580"/>
                  </a:lnTo>
                  <a:lnTo>
                    <a:pt x="2454" y="964"/>
                  </a:lnTo>
                  <a:lnTo>
                    <a:pt x="2418" y="1324"/>
                  </a:lnTo>
                  <a:lnTo>
                    <a:pt x="2376" y="1678"/>
                  </a:lnTo>
                  <a:lnTo>
                    <a:pt x="2243" y="2489"/>
                  </a:lnTo>
                  <a:lnTo>
                    <a:pt x="2183" y="2999"/>
                  </a:lnTo>
                  <a:lnTo>
                    <a:pt x="2160" y="3094"/>
                  </a:lnTo>
                  <a:lnTo>
                    <a:pt x="2160" y="3226"/>
                  </a:lnTo>
                  <a:lnTo>
                    <a:pt x="2106" y="3292"/>
                  </a:lnTo>
                  <a:lnTo>
                    <a:pt x="2130" y="3436"/>
                  </a:lnTo>
                  <a:lnTo>
                    <a:pt x="1986" y="3388"/>
                  </a:lnTo>
                  <a:lnTo>
                    <a:pt x="1883" y="3359"/>
                  </a:lnTo>
                  <a:lnTo>
                    <a:pt x="1806" y="3406"/>
                  </a:lnTo>
                  <a:lnTo>
                    <a:pt x="1800" y="3490"/>
                  </a:lnTo>
                  <a:lnTo>
                    <a:pt x="1836" y="3664"/>
                  </a:lnTo>
                  <a:lnTo>
                    <a:pt x="1824" y="3784"/>
                  </a:lnTo>
                  <a:lnTo>
                    <a:pt x="1757" y="3871"/>
                  </a:lnTo>
                  <a:lnTo>
                    <a:pt x="1130" y="3054"/>
                  </a:lnTo>
                  <a:lnTo>
                    <a:pt x="899" y="2758"/>
                  </a:lnTo>
                  <a:lnTo>
                    <a:pt x="569" y="2236"/>
                  </a:lnTo>
                  <a:lnTo>
                    <a:pt x="144" y="1702"/>
                  </a:lnTo>
                  <a:lnTo>
                    <a:pt x="0" y="1459"/>
                  </a:lnTo>
                  <a:lnTo>
                    <a:pt x="261" y="0"/>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8" name="Freeform 51"/>
            <p:cNvSpPr>
              <a:spLocks/>
            </p:cNvSpPr>
            <p:nvPr/>
          </p:nvSpPr>
          <p:spPr bwMode="auto">
            <a:xfrm>
              <a:off x="1020682" y="2998402"/>
              <a:ext cx="606626" cy="966063"/>
            </a:xfrm>
            <a:custGeom>
              <a:avLst/>
              <a:gdLst>
                <a:gd name="T0" fmla="*/ 129 w 2360"/>
                <a:gd name="T1" fmla="*/ 2 h 3800"/>
                <a:gd name="T2" fmla="*/ 152 w 2360"/>
                <a:gd name="T3" fmla="*/ 0 h 3800"/>
                <a:gd name="T4" fmla="*/ 186 w 2360"/>
                <a:gd name="T5" fmla="*/ 12 h 3800"/>
                <a:gd name="T6" fmla="*/ 181 w 2360"/>
                <a:gd name="T7" fmla="*/ 59 h 3800"/>
                <a:gd name="T8" fmla="*/ 180 w 2360"/>
                <a:gd name="T9" fmla="*/ 100 h 3800"/>
                <a:gd name="T10" fmla="*/ 180 w 2360"/>
                <a:gd name="T11" fmla="*/ 152 h 3800"/>
                <a:gd name="T12" fmla="*/ 198 w 2360"/>
                <a:gd name="T13" fmla="*/ 179 h 3800"/>
                <a:gd name="T14" fmla="*/ 226 w 2360"/>
                <a:gd name="T15" fmla="*/ 209 h 3800"/>
                <a:gd name="T16" fmla="*/ 237 w 2360"/>
                <a:gd name="T17" fmla="*/ 230 h 3800"/>
                <a:gd name="T18" fmla="*/ 260 w 2360"/>
                <a:gd name="T19" fmla="*/ 243 h 3800"/>
                <a:gd name="T20" fmla="*/ 241 w 2360"/>
                <a:gd name="T21" fmla="*/ 299 h 3800"/>
                <a:gd name="T22" fmla="*/ 241 w 2360"/>
                <a:gd name="T23" fmla="*/ 320 h 3800"/>
                <a:gd name="T24" fmla="*/ 241 w 2360"/>
                <a:gd name="T25" fmla="*/ 341 h 3800"/>
                <a:gd name="T26" fmla="*/ 271 w 2360"/>
                <a:gd name="T27" fmla="*/ 340 h 3800"/>
                <a:gd name="T28" fmla="*/ 288 w 2360"/>
                <a:gd name="T29" fmla="*/ 391 h 3800"/>
                <a:gd name="T30" fmla="*/ 291 w 2360"/>
                <a:gd name="T31" fmla="*/ 421 h 3800"/>
                <a:gd name="T32" fmla="*/ 300 w 2360"/>
                <a:gd name="T33" fmla="*/ 440 h 3800"/>
                <a:gd name="T34" fmla="*/ 316 w 2360"/>
                <a:gd name="T35" fmla="*/ 456 h 3800"/>
                <a:gd name="T36" fmla="*/ 334 w 2360"/>
                <a:gd name="T37" fmla="*/ 465 h 3800"/>
                <a:gd name="T38" fmla="*/ 380 w 2360"/>
                <a:gd name="T39" fmla="*/ 465 h 3800"/>
                <a:gd name="T40" fmla="*/ 397 w 2360"/>
                <a:gd name="T41" fmla="*/ 476 h 3800"/>
                <a:gd name="T42" fmla="*/ 420 w 2360"/>
                <a:gd name="T43" fmla="*/ 471 h 3800"/>
                <a:gd name="T44" fmla="*/ 420 w 2360"/>
                <a:gd name="T45" fmla="*/ 454 h 3800"/>
                <a:gd name="T46" fmla="*/ 448 w 2360"/>
                <a:gd name="T47" fmla="*/ 465 h 3800"/>
                <a:gd name="T48" fmla="*/ 435 w 2360"/>
                <a:gd name="T49" fmla="*/ 590 h 3800"/>
                <a:gd name="T50" fmla="*/ 427 w 2360"/>
                <a:gd name="T51" fmla="*/ 662 h 3800"/>
                <a:gd name="T52" fmla="*/ 421 w 2360"/>
                <a:gd name="T53" fmla="*/ 720 h 3800"/>
                <a:gd name="T54" fmla="*/ 324 w 2360"/>
                <a:gd name="T55" fmla="*/ 694 h 3800"/>
                <a:gd name="T56" fmla="*/ 212 w 2360"/>
                <a:gd name="T57" fmla="*/ 678 h 3800"/>
                <a:gd name="T58" fmla="*/ 0 w 2360"/>
                <a:gd name="T59" fmla="*/ 636 h 3800"/>
                <a:gd name="T60" fmla="*/ 23 w 2360"/>
                <a:gd name="T61" fmla="*/ 482 h 3800"/>
                <a:gd name="T62" fmla="*/ 46 w 2360"/>
                <a:gd name="T63" fmla="*/ 448 h 3800"/>
                <a:gd name="T64" fmla="*/ 28 w 2360"/>
                <a:gd name="T65" fmla="*/ 425 h 3800"/>
                <a:gd name="T66" fmla="*/ 28 w 2360"/>
                <a:gd name="T67" fmla="*/ 403 h 3800"/>
                <a:gd name="T68" fmla="*/ 57 w 2360"/>
                <a:gd name="T69" fmla="*/ 385 h 3800"/>
                <a:gd name="T70" fmla="*/ 63 w 2360"/>
                <a:gd name="T71" fmla="*/ 358 h 3800"/>
                <a:gd name="T72" fmla="*/ 63 w 2360"/>
                <a:gd name="T73" fmla="*/ 351 h 3800"/>
                <a:gd name="T74" fmla="*/ 69 w 2360"/>
                <a:gd name="T75" fmla="*/ 340 h 3800"/>
                <a:gd name="T76" fmla="*/ 91 w 2360"/>
                <a:gd name="T77" fmla="*/ 334 h 3800"/>
                <a:gd name="T78" fmla="*/ 93 w 2360"/>
                <a:gd name="T79" fmla="*/ 317 h 3800"/>
                <a:gd name="T80" fmla="*/ 91 w 2360"/>
                <a:gd name="T81" fmla="*/ 294 h 3800"/>
                <a:gd name="T82" fmla="*/ 75 w 2360"/>
                <a:gd name="T83" fmla="*/ 271 h 3800"/>
                <a:gd name="T84" fmla="*/ 75 w 2360"/>
                <a:gd name="T85" fmla="*/ 237 h 3800"/>
                <a:gd name="T86" fmla="*/ 99 w 2360"/>
                <a:gd name="T87" fmla="*/ 156 h 3800"/>
                <a:gd name="T88" fmla="*/ 103 w 2360"/>
                <a:gd name="T89" fmla="*/ 131 h 3800"/>
                <a:gd name="T90" fmla="*/ 102 w 2360"/>
                <a:gd name="T91" fmla="*/ 96 h 3800"/>
                <a:gd name="T92" fmla="*/ 114 w 2360"/>
                <a:gd name="T93" fmla="*/ 59 h 3800"/>
                <a:gd name="T94" fmla="*/ 120 w 2360"/>
                <a:gd name="T95" fmla="*/ 20 h 3800"/>
                <a:gd name="T96" fmla="*/ 129 w 2360"/>
                <a:gd name="T97" fmla="*/ 2 h 38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60" h="3800">
                  <a:moveTo>
                    <a:pt x="681" y="12"/>
                  </a:moveTo>
                  <a:lnTo>
                    <a:pt x="803" y="0"/>
                  </a:lnTo>
                  <a:lnTo>
                    <a:pt x="979" y="64"/>
                  </a:lnTo>
                  <a:lnTo>
                    <a:pt x="955" y="312"/>
                  </a:lnTo>
                  <a:lnTo>
                    <a:pt x="947" y="528"/>
                  </a:lnTo>
                  <a:lnTo>
                    <a:pt x="950" y="804"/>
                  </a:lnTo>
                  <a:lnTo>
                    <a:pt x="1043" y="944"/>
                  </a:lnTo>
                  <a:lnTo>
                    <a:pt x="1190" y="1104"/>
                  </a:lnTo>
                  <a:lnTo>
                    <a:pt x="1251" y="1216"/>
                  </a:lnTo>
                  <a:lnTo>
                    <a:pt x="1370" y="1284"/>
                  </a:lnTo>
                  <a:lnTo>
                    <a:pt x="1267" y="1576"/>
                  </a:lnTo>
                  <a:lnTo>
                    <a:pt x="1267" y="1688"/>
                  </a:lnTo>
                  <a:lnTo>
                    <a:pt x="1267" y="1800"/>
                  </a:lnTo>
                  <a:lnTo>
                    <a:pt x="1430" y="1794"/>
                  </a:lnTo>
                  <a:lnTo>
                    <a:pt x="1515" y="2064"/>
                  </a:lnTo>
                  <a:lnTo>
                    <a:pt x="1531" y="2224"/>
                  </a:lnTo>
                  <a:lnTo>
                    <a:pt x="1579" y="2320"/>
                  </a:lnTo>
                  <a:lnTo>
                    <a:pt x="1667" y="2408"/>
                  </a:lnTo>
                  <a:lnTo>
                    <a:pt x="1760" y="2454"/>
                  </a:lnTo>
                  <a:lnTo>
                    <a:pt x="2000" y="2454"/>
                  </a:lnTo>
                  <a:lnTo>
                    <a:pt x="2090" y="2514"/>
                  </a:lnTo>
                  <a:lnTo>
                    <a:pt x="2210" y="2484"/>
                  </a:lnTo>
                  <a:lnTo>
                    <a:pt x="2210" y="2394"/>
                  </a:lnTo>
                  <a:lnTo>
                    <a:pt x="2360" y="2454"/>
                  </a:lnTo>
                  <a:lnTo>
                    <a:pt x="2291" y="3112"/>
                  </a:lnTo>
                  <a:lnTo>
                    <a:pt x="2251" y="3496"/>
                  </a:lnTo>
                  <a:lnTo>
                    <a:pt x="2219" y="3800"/>
                  </a:lnTo>
                  <a:lnTo>
                    <a:pt x="1707" y="3664"/>
                  </a:lnTo>
                  <a:lnTo>
                    <a:pt x="1115" y="3576"/>
                  </a:lnTo>
                  <a:lnTo>
                    <a:pt x="0" y="3355"/>
                  </a:lnTo>
                  <a:lnTo>
                    <a:pt x="121" y="2544"/>
                  </a:lnTo>
                  <a:lnTo>
                    <a:pt x="241" y="2365"/>
                  </a:lnTo>
                  <a:lnTo>
                    <a:pt x="150" y="2242"/>
                  </a:lnTo>
                  <a:lnTo>
                    <a:pt x="150" y="2125"/>
                  </a:lnTo>
                  <a:lnTo>
                    <a:pt x="300" y="2034"/>
                  </a:lnTo>
                  <a:lnTo>
                    <a:pt x="330" y="1887"/>
                  </a:lnTo>
                  <a:lnTo>
                    <a:pt x="330" y="1852"/>
                  </a:lnTo>
                  <a:lnTo>
                    <a:pt x="361" y="1794"/>
                  </a:lnTo>
                  <a:lnTo>
                    <a:pt x="478" y="1764"/>
                  </a:lnTo>
                  <a:lnTo>
                    <a:pt x="492" y="1671"/>
                  </a:lnTo>
                  <a:lnTo>
                    <a:pt x="480" y="1554"/>
                  </a:lnTo>
                  <a:lnTo>
                    <a:pt x="393" y="1432"/>
                  </a:lnTo>
                  <a:lnTo>
                    <a:pt x="396" y="1252"/>
                  </a:lnTo>
                  <a:lnTo>
                    <a:pt x="519" y="823"/>
                  </a:lnTo>
                  <a:lnTo>
                    <a:pt x="544" y="691"/>
                  </a:lnTo>
                  <a:lnTo>
                    <a:pt x="535" y="505"/>
                  </a:lnTo>
                  <a:lnTo>
                    <a:pt x="598" y="312"/>
                  </a:lnTo>
                  <a:lnTo>
                    <a:pt x="633" y="105"/>
                  </a:lnTo>
                  <a:lnTo>
                    <a:pt x="681" y="12"/>
                  </a:lnTo>
                  <a:close/>
                </a:path>
              </a:pathLst>
            </a:custGeom>
            <a:solidFill>
              <a:schemeClr val="accent3"/>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49" name="Freeform 52"/>
            <p:cNvSpPr>
              <a:spLocks/>
            </p:cNvSpPr>
            <p:nvPr/>
          </p:nvSpPr>
          <p:spPr bwMode="auto">
            <a:xfrm>
              <a:off x="6783630" y="3990605"/>
              <a:ext cx="795004" cy="624659"/>
            </a:xfrm>
            <a:custGeom>
              <a:avLst/>
              <a:gdLst>
                <a:gd name="T0" fmla="*/ 10 w 2495"/>
                <a:gd name="T1" fmla="*/ 256 h 1836"/>
                <a:gd name="T2" fmla="*/ 35 w 2495"/>
                <a:gd name="T3" fmla="*/ 274 h 1836"/>
                <a:gd name="T4" fmla="*/ 55 w 2495"/>
                <a:gd name="T5" fmla="*/ 272 h 1836"/>
                <a:gd name="T6" fmla="*/ 68 w 2495"/>
                <a:gd name="T7" fmla="*/ 288 h 1836"/>
                <a:gd name="T8" fmla="*/ 82 w 2495"/>
                <a:gd name="T9" fmla="*/ 292 h 1836"/>
                <a:gd name="T10" fmla="*/ 97 w 2495"/>
                <a:gd name="T11" fmla="*/ 277 h 1836"/>
                <a:gd name="T12" fmla="*/ 127 w 2495"/>
                <a:gd name="T13" fmla="*/ 262 h 1836"/>
                <a:gd name="T14" fmla="*/ 161 w 2495"/>
                <a:gd name="T15" fmla="*/ 247 h 1836"/>
                <a:gd name="T16" fmla="*/ 167 w 2495"/>
                <a:gd name="T17" fmla="*/ 228 h 1836"/>
                <a:gd name="T18" fmla="*/ 162 w 2495"/>
                <a:gd name="T19" fmla="*/ 205 h 1836"/>
                <a:gd name="T20" fmla="*/ 179 w 2495"/>
                <a:gd name="T21" fmla="*/ 166 h 1836"/>
                <a:gd name="T22" fmla="*/ 202 w 2495"/>
                <a:gd name="T23" fmla="*/ 148 h 1836"/>
                <a:gd name="T24" fmla="*/ 229 w 2495"/>
                <a:gd name="T25" fmla="*/ 102 h 1836"/>
                <a:gd name="T26" fmla="*/ 255 w 2495"/>
                <a:gd name="T27" fmla="*/ 60 h 1836"/>
                <a:gd name="T28" fmla="*/ 262 w 2495"/>
                <a:gd name="T29" fmla="*/ 34 h 1836"/>
                <a:gd name="T30" fmla="*/ 272 w 2495"/>
                <a:gd name="T31" fmla="*/ 22 h 1836"/>
                <a:gd name="T32" fmla="*/ 297 w 2495"/>
                <a:gd name="T33" fmla="*/ 20 h 1836"/>
                <a:gd name="T34" fmla="*/ 315 w 2495"/>
                <a:gd name="T35" fmla="*/ 0 h 1836"/>
                <a:gd name="T36" fmla="*/ 339 w 2495"/>
                <a:gd name="T37" fmla="*/ 11 h 1836"/>
                <a:gd name="T38" fmla="*/ 340 w 2495"/>
                <a:gd name="T39" fmla="*/ 16 h 1836"/>
                <a:gd name="T40" fmla="*/ 340 w 2495"/>
                <a:gd name="T41" fmla="*/ 21 h 1836"/>
                <a:gd name="T42" fmla="*/ 338 w 2495"/>
                <a:gd name="T43" fmla="*/ 37 h 1836"/>
                <a:gd name="T44" fmla="*/ 350 w 2495"/>
                <a:gd name="T45" fmla="*/ 57 h 1836"/>
                <a:gd name="T46" fmla="*/ 407 w 2495"/>
                <a:gd name="T47" fmla="*/ 91 h 1836"/>
                <a:gd name="T48" fmla="*/ 431 w 2495"/>
                <a:gd name="T49" fmla="*/ 87 h 1836"/>
                <a:gd name="T50" fmla="*/ 452 w 2495"/>
                <a:gd name="T51" fmla="*/ 108 h 1836"/>
                <a:gd name="T52" fmla="*/ 447 w 2495"/>
                <a:gd name="T53" fmla="*/ 119 h 1836"/>
                <a:gd name="T54" fmla="*/ 424 w 2495"/>
                <a:gd name="T55" fmla="*/ 108 h 1836"/>
                <a:gd name="T56" fmla="*/ 418 w 2495"/>
                <a:gd name="T57" fmla="*/ 131 h 1836"/>
                <a:gd name="T58" fmla="*/ 458 w 2495"/>
                <a:gd name="T59" fmla="*/ 142 h 1836"/>
                <a:gd name="T60" fmla="*/ 464 w 2495"/>
                <a:gd name="T61" fmla="*/ 171 h 1836"/>
                <a:gd name="T62" fmla="*/ 447 w 2495"/>
                <a:gd name="T63" fmla="*/ 188 h 1836"/>
                <a:gd name="T64" fmla="*/ 482 w 2495"/>
                <a:gd name="T65" fmla="*/ 193 h 1836"/>
                <a:gd name="T66" fmla="*/ 499 w 2495"/>
                <a:gd name="T67" fmla="*/ 193 h 1836"/>
                <a:gd name="T68" fmla="*/ 493 w 2495"/>
                <a:gd name="T69" fmla="*/ 217 h 1836"/>
                <a:gd name="T70" fmla="*/ 457 w 2495"/>
                <a:gd name="T71" fmla="*/ 234 h 1836"/>
                <a:gd name="T72" fmla="*/ 414 w 2495"/>
                <a:gd name="T73" fmla="*/ 240 h 1836"/>
                <a:gd name="T74" fmla="*/ 255 w 2495"/>
                <a:gd name="T75" fmla="*/ 287 h 1836"/>
                <a:gd name="T76" fmla="*/ 181 w 2495"/>
                <a:gd name="T77" fmla="*/ 318 h 1836"/>
                <a:gd name="T78" fmla="*/ 80 w 2495"/>
                <a:gd name="T79" fmla="*/ 346 h 1836"/>
                <a:gd name="T80" fmla="*/ 54 w 2495"/>
                <a:gd name="T81" fmla="*/ 359 h 1836"/>
                <a:gd name="T82" fmla="*/ 7 w 2495"/>
                <a:gd name="T83" fmla="*/ 367 h 1836"/>
                <a:gd name="T84" fmla="*/ 11 w 2495"/>
                <a:gd name="T85" fmla="*/ 350 h 1836"/>
                <a:gd name="T86" fmla="*/ 0 w 2495"/>
                <a:gd name="T87" fmla="*/ 324 h 1836"/>
                <a:gd name="T88" fmla="*/ 12 w 2495"/>
                <a:gd name="T89" fmla="*/ 303 h 1836"/>
                <a:gd name="T90" fmla="*/ 13 w 2495"/>
                <a:gd name="T91" fmla="*/ 280 h 1836"/>
                <a:gd name="T92" fmla="*/ 10 w 2495"/>
                <a:gd name="T93" fmla="*/ 256 h 18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95" h="1836">
                  <a:moveTo>
                    <a:pt x="51" y="1279"/>
                  </a:moveTo>
                  <a:lnTo>
                    <a:pt x="175" y="1371"/>
                  </a:lnTo>
                  <a:lnTo>
                    <a:pt x="277" y="1363"/>
                  </a:lnTo>
                  <a:lnTo>
                    <a:pt x="339" y="1440"/>
                  </a:lnTo>
                  <a:lnTo>
                    <a:pt x="411" y="1462"/>
                  </a:lnTo>
                  <a:lnTo>
                    <a:pt x="486" y="1386"/>
                  </a:lnTo>
                  <a:lnTo>
                    <a:pt x="637" y="1310"/>
                  </a:lnTo>
                  <a:lnTo>
                    <a:pt x="804" y="1234"/>
                  </a:lnTo>
                  <a:lnTo>
                    <a:pt x="835" y="1143"/>
                  </a:lnTo>
                  <a:lnTo>
                    <a:pt x="811" y="1026"/>
                  </a:lnTo>
                  <a:lnTo>
                    <a:pt x="895" y="831"/>
                  </a:lnTo>
                  <a:lnTo>
                    <a:pt x="1010" y="740"/>
                  </a:lnTo>
                  <a:lnTo>
                    <a:pt x="1146" y="512"/>
                  </a:lnTo>
                  <a:lnTo>
                    <a:pt x="1275" y="299"/>
                  </a:lnTo>
                  <a:lnTo>
                    <a:pt x="1312" y="170"/>
                  </a:lnTo>
                  <a:lnTo>
                    <a:pt x="1358" y="109"/>
                  </a:lnTo>
                  <a:lnTo>
                    <a:pt x="1487" y="102"/>
                  </a:lnTo>
                  <a:lnTo>
                    <a:pt x="1574" y="0"/>
                  </a:lnTo>
                  <a:lnTo>
                    <a:pt x="1694" y="56"/>
                  </a:lnTo>
                  <a:lnTo>
                    <a:pt x="1698" y="78"/>
                  </a:lnTo>
                  <a:lnTo>
                    <a:pt x="1698" y="106"/>
                  </a:lnTo>
                  <a:lnTo>
                    <a:pt x="1692" y="185"/>
                  </a:lnTo>
                  <a:lnTo>
                    <a:pt x="1751" y="284"/>
                  </a:lnTo>
                  <a:lnTo>
                    <a:pt x="2034" y="455"/>
                  </a:lnTo>
                  <a:lnTo>
                    <a:pt x="2154" y="436"/>
                  </a:lnTo>
                  <a:lnTo>
                    <a:pt x="2262" y="540"/>
                  </a:lnTo>
                  <a:lnTo>
                    <a:pt x="2233" y="597"/>
                  </a:lnTo>
                  <a:lnTo>
                    <a:pt x="2119" y="540"/>
                  </a:lnTo>
                  <a:lnTo>
                    <a:pt x="2091" y="654"/>
                  </a:lnTo>
                  <a:lnTo>
                    <a:pt x="2290" y="711"/>
                  </a:lnTo>
                  <a:lnTo>
                    <a:pt x="2319" y="853"/>
                  </a:lnTo>
                  <a:lnTo>
                    <a:pt x="2233" y="940"/>
                  </a:lnTo>
                  <a:lnTo>
                    <a:pt x="2412" y="968"/>
                  </a:lnTo>
                  <a:lnTo>
                    <a:pt x="2495" y="968"/>
                  </a:lnTo>
                  <a:lnTo>
                    <a:pt x="2467" y="1088"/>
                  </a:lnTo>
                  <a:lnTo>
                    <a:pt x="2285" y="1173"/>
                  </a:lnTo>
                  <a:lnTo>
                    <a:pt x="2072" y="1199"/>
                  </a:lnTo>
                  <a:lnTo>
                    <a:pt x="1273" y="1436"/>
                  </a:lnTo>
                  <a:lnTo>
                    <a:pt x="904" y="1593"/>
                  </a:lnTo>
                  <a:lnTo>
                    <a:pt x="402" y="1733"/>
                  </a:lnTo>
                  <a:lnTo>
                    <a:pt x="268" y="1794"/>
                  </a:lnTo>
                  <a:lnTo>
                    <a:pt x="34" y="1836"/>
                  </a:lnTo>
                  <a:lnTo>
                    <a:pt x="54" y="1753"/>
                  </a:lnTo>
                  <a:lnTo>
                    <a:pt x="0" y="1620"/>
                  </a:lnTo>
                  <a:lnTo>
                    <a:pt x="58" y="1517"/>
                  </a:lnTo>
                  <a:lnTo>
                    <a:pt x="66" y="1400"/>
                  </a:lnTo>
                  <a:lnTo>
                    <a:pt x="51" y="1279"/>
                  </a:lnTo>
                  <a:close/>
                </a:path>
              </a:pathLst>
            </a:custGeom>
            <a:solidFill>
              <a:schemeClr val="accent2">
                <a:lumMod val="20000"/>
                <a:lumOff val="8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50" name="Freeform 53"/>
            <p:cNvSpPr>
              <a:spLocks/>
            </p:cNvSpPr>
            <p:nvPr/>
          </p:nvSpPr>
          <p:spPr bwMode="auto">
            <a:xfrm>
              <a:off x="5078029" y="3102875"/>
              <a:ext cx="470414" cy="471296"/>
            </a:xfrm>
            <a:custGeom>
              <a:avLst/>
              <a:gdLst>
                <a:gd name="T0" fmla="*/ 100 w 1790"/>
                <a:gd name="T1" fmla="*/ 5 h 1751"/>
                <a:gd name="T2" fmla="*/ 113 w 1790"/>
                <a:gd name="T3" fmla="*/ 0 h 1751"/>
                <a:gd name="T4" fmla="*/ 118 w 1790"/>
                <a:gd name="T5" fmla="*/ 52 h 1751"/>
                <a:gd name="T6" fmla="*/ 130 w 1790"/>
                <a:gd name="T7" fmla="*/ 72 h 1751"/>
                <a:gd name="T8" fmla="*/ 166 w 1790"/>
                <a:gd name="T9" fmla="*/ 65 h 1751"/>
                <a:gd name="T10" fmla="*/ 187 w 1790"/>
                <a:gd name="T11" fmla="*/ 49 h 1751"/>
                <a:gd name="T12" fmla="*/ 204 w 1790"/>
                <a:gd name="T13" fmla="*/ 49 h 1751"/>
                <a:gd name="T14" fmla="*/ 209 w 1790"/>
                <a:gd name="T15" fmla="*/ 78 h 1751"/>
                <a:gd name="T16" fmla="*/ 221 w 1790"/>
                <a:gd name="T17" fmla="*/ 78 h 1751"/>
                <a:gd name="T18" fmla="*/ 239 w 1790"/>
                <a:gd name="T19" fmla="*/ 58 h 1751"/>
                <a:gd name="T20" fmla="*/ 259 w 1790"/>
                <a:gd name="T21" fmla="*/ 46 h 1751"/>
                <a:gd name="T22" fmla="*/ 280 w 1790"/>
                <a:gd name="T23" fmla="*/ 42 h 1751"/>
                <a:gd name="T24" fmla="*/ 289 w 1790"/>
                <a:gd name="T25" fmla="*/ 27 h 1751"/>
                <a:gd name="T26" fmla="*/ 302 w 1790"/>
                <a:gd name="T27" fmla="*/ 21 h 1751"/>
                <a:gd name="T28" fmla="*/ 318 w 1790"/>
                <a:gd name="T29" fmla="*/ 32 h 1751"/>
                <a:gd name="T30" fmla="*/ 339 w 1790"/>
                <a:gd name="T31" fmla="*/ 40 h 1751"/>
                <a:gd name="T32" fmla="*/ 321 w 1790"/>
                <a:gd name="T33" fmla="*/ 61 h 1751"/>
                <a:gd name="T34" fmla="*/ 295 w 1790"/>
                <a:gd name="T35" fmla="*/ 62 h 1751"/>
                <a:gd name="T36" fmla="*/ 287 w 1790"/>
                <a:gd name="T37" fmla="*/ 74 h 1751"/>
                <a:gd name="T38" fmla="*/ 279 w 1790"/>
                <a:gd name="T39" fmla="*/ 100 h 1751"/>
                <a:gd name="T40" fmla="*/ 225 w 1790"/>
                <a:gd name="T41" fmla="*/ 188 h 1751"/>
                <a:gd name="T42" fmla="*/ 203 w 1790"/>
                <a:gd name="T43" fmla="*/ 206 h 1751"/>
                <a:gd name="T44" fmla="*/ 187 w 1790"/>
                <a:gd name="T45" fmla="*/ 245 h 1751"/>
                <a:gd name="T46" fmla="*/ 191 w 1790"/>
                <a:gd name="T47" fmla="*/ 268 h 1751"/>
                <a:gd name="T48" fmla="*/ 185 w 1790"/>
                <a:gd name="T49" fmla="*/ 286 h 1751"/>
                <a:gd name="T50" fmla="*/ 149 w 1790"/>
                <a:gd name="T51" fmla="*/ 303 h 1751"/>
                <a:gd name="T52" fmla="*/ 121 w 1790"/>
                <a:gd name="T53" fmla="*/ 317 h 1751"/>
                <a:gd name="T54" fmla="*/ 106 w 1790"/>
                <a:gd name="T55" fmla="*/ 332 h 1751"/>
                <a:gd name="T56" fmla="*/ 92 w 1790"/>
                <a:gd name="T57" fmla="*/ 327 h 1751"/>
                <a:gd name="T58" fmla="*/ 80 w 1790"/>
                <a:gd name="T59" fmla="*/ 312 h 1751"/>
                <a:gd name="T60" fmla="*/ 59 w 1790"/>
                <a:gd name="T61" fmla="*/ 314 h 1751"/>
                <a:gd name="T62" fmla="*/ 35 w 1790"/>
                <a:gd name="T63" fmla="*/ 296 h 1751"/>
                <a:gd name="T64" fmla="*/ 15 w 1790"/>
                <a:gd name="T65" fmla="*/ 279 h 1751"/>
                <a:gd name="T66" fmla="*/ 11 w 1790"/>
                <a:gd name="T67" fmla="*/ 245 h 1751"/>
                <a:gd name="T68" fmla="*/ 0 w 1790"/>
                <a:gd name="T69" fmla="*/ 233 h 1751"/>
                <a:gd name="T70" fmla="*/ 23 w 1790"/>
                <a:gd name="T71" fmla="*/ 210 h 1751"/>
                <a:gd name="T72" fmla="*/ 28 w 1790"/>
                <a:gd name="T73" fmla="*/ 191 h 1751"/>
                <a:gd name="T74" fmla="*/ 28 w 1790"/>
                <a:gd name="T75" fmla="*/ 165 h 1751"/>
                <a:gd name="T76" fmla="*/ 47 w 1790"/>
                <a:gd name="T77" fmla="*/ 168 h 1751"/>
                <a:gd name="T78" fmla="*/ 54 w 1790"/>
                <a:gd name="T79" fmla="*/ 150 h 1751"/>
                <a:gd name="T80" fmla="*/ 52 w 1790"/>
                <a:gd name="T81" fmla="*/ 131 h 1751"/>
                <a:gd name="T82" fmla="*/ 71 w 1790"/>
                <a:gd name="T83" fmla="*/ 117 h 1751"/>
                <a:gd name="T84" fmla="*/ 91 w 1790"/>
                <a:gd name="T85" fmla="*/ 90 h 1751"/>
                <a:gd name="T86" fmla="*/ 103 w 1790"/>
                <a:gd name="T87" fmla="*/ 56 h 1751"/>
                <a:gd name="T88" fmla="*/ 100 w 1790"/>
                <a:gd name="T89" fmla="*/ 5 h 17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790" h="1751">
                  <a:moveTo>
                    <a:pt x="527" y="24"/>
                  </a:moveTo>
                  <a:lnTo>
                    <a:pt x="599" y="0"/>
                  </a:lnTo>
                  <a:lnTo>
                    <a:pt x="623" y="272"/>
                  </a:lnTo>
                  <a:lnTo>
                    <a:pt x="686" y="380"/>
                  </a:lnTo>
                  <a:lnTo>
                    <a:pt x="879" y="344"/>
                  </a:lnTo>
                  <a:lnTo>
                    <a:pt x="986" y="260"/>
                  </a:lnTo>
                  <a:lnTo>
                    <a:pt x="1076" y="260"/>
                  </a:lnTo>
                  <a:lnTo>
                    <a:pt x="1106" y="410"/>
                  </a:lnTo>
                  <a:lnTo>
                    <a:pt x="1166" y="410"/>
                  </a:lnTo>
                  <a:lnTo>
                    <a:pt x="1262" y="304"/>
                  </a:lnTo>
                  <a:lnTo>
                    <a:pt x="1366" y="240"/>
                  </a:lnTo>
                  <a:lnTo>
                    <a:pt x="1478" y="224"/>
                  </a:lnTo>
                  <a:lnTo>
                    <a:pt x="1526" y="140"/>
                  </a:lnTo>
                  <a:lnTo>
                    <a:pt x="1595" y="113"/>
                  </a:lnTo>
                  <a:lnTo>
                    <a:pt x="1678" y="168"/>
                  </a:lnTo>
                  <a:lnTo>
                    <a:pt x="1790" y="213"/>
                  </a:lnTo>
                  <a:lnTo>
                    <a:pt x="1694" y="320"/>
                  </a:lnTo>
                  <a:lnTo>
                    <a:pt x="1560" y="325"/>
                  </a:lnTo>
                  <a:lnTo>
                    <a:pt x="1513" y="391"/>
                  </a:lnTo>
                  <a:lnTo>
                    <a:pt x="1471" y="525"/>
                  </a:lnTo>
                  <a:lnTo>
                    <a:pt x="1190" y="991"/>
                  </a:lnTo>
                  <a:lnTo>
                    <a:pt x="1070" y="1087"/>
                  </a:lnTo>
                  <a:lnTo>
                    <a:pt x="987" y="1291"/>
                  </a:lnTo>
                  <a:lnTo>
                    <a:pt x="1007" y="1414"/>
                  </a:lnTo>
                  <a:lnTo>
                    <a:pt x="976" y="1510"/>
                  </a:lnTo>
                  <a:lnTo>
                    <a:pt x="786" y="1597"/>
                  </a:lnTo>
                  <a:lnTo>
                    <a:pt x="639" y="1672"/>
                  </a:lnTo>
                  <a:lnTo>
                    <a:pt x="561" y="1751"/>
                  </a:lnTo>
                  <a:lnTo>
                    <a:pt x="486" y="1726"/>
                  </a:lnTo>
                  <a:lnTo>
                    <a:pt x="423" y="1648"/>
                  </a:lnTo>
                  <a:lnTo>
                    <a:pt x="309" y="1654"/>
                  </a:lnTo>
                  <a:lnTo>
                    <a:pt x="186" y="1562"/>
                  </a:lnTo>
                  <a:lnTo>
                    <a:pt x="77" y="1471"/>
                  </a:lnTo>
                  <a:lnTo>
                    <a:pt x="56" y="1292"/>
                  </a:lnTo>
                  <a:lnTo>
                    <a:pt x="0" y="1228"/>
                  </a:lnTo>
                  <a:lnTo>
                    <a:pt x="123" y="1109"/>
                  </a:lnTo>
                  <a:lnTo>
                    <a:pt x="150" y="1007"/>
                  </a:lnTo>
                  <a:lnTo>
                    <a:pt x="150" y="872"/>
                  </a:lnTo>
                  <a:lnTo>
                    <a:pt x="248" y="886"/>
                  </a:lnTo>
                  <a:lnTo>
                    <a:pt x="287" y="792"/>
                  </a:lnTo>
                  <a:lnTo>
                    <a:pt x="273" y="690"/>
                  </a:lnTo>
                  <a:lnTo>
                    <a:pt x="374" y="615"/>
                  </a:lnTo>
                  <a:lnTo>
                    <a:pt x="483" y="476"/>
                  </a:lnTo>
                  <a:lnTo>
                    <a:pt x="543" y="294"/>
                  </a:lnTo>
                  <a:lnTo>
                    <a:pt x="527" y="24"/>
                  </a:lnTo>
                  <a:close/>
                </a:path>
              </a:pathLst>
            </a:custGeom>
            <a:solidFill>
              <a:schemeClr val="accent6"/>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79646">
                    <a:lumMod val="75000"/>
                  </a:srgbClr>
                </a:solidFill>
                <a:effectLst/>
                <a:uLnTx/>
                <a:uFillTx/>
                <a:latin typeface="Calibri"/>
                <a:ea typeface="宋体" panose="02010600030101010101" pitchFamily="2" charset="-122"/>
                <a:cs typeface="+mn-cs"/>
              </a:endParaRPr>
            </a:p>
          </p:txBody>
        </p:sp>
        <p:sp>
          <p:nvSpPr>
            <p:cNvPr id="51" name="Freeform 54"/>
            <p:cNvSpPr>
              <a:spLocks/>
            </p:cNvSpPr>
            <p:nvPr/>
          </p:nvSpPr>
          <p:spPr bwMode="auto">
            <a:xfrm>
              <a:off x="6291281" y="3417072"/>
              <a:ext cx="465757" cy="235648"/>
            </a:xfrm>
            <a:custGeom>
              <a:avLst/>
              <a:gdLst>
                <a:gd name="T0" fmla="*/ 171 w 1675"/>
                <a:gd name="T1" fmla="*/ 132 h 830"/>
                <a:gd name="T2" fmla="*/ 227 w 1675"/>
                <a:gd name="T3" fmla="*/ 166 h 830"/>
                <a:gd name="T4" fmla="*/ 251 w 1675"/>
                <a:gd name="T5" fmla="*/ 162 h 830"/>
                <a:gd name="T6" fmla="*/ 254 w 1675"/>
                <a:gd name="T7" fmla="*/ 147 h 830"/>
                <a:gd name="T8" fmla="*/ 250 w 1675"/>
                <a:gd name="T9" fmla="*/ 139 h 830"/>
                <a:gd name="T10" fmla="*/ 250 w 1675"/>
                <a:gd name="T11" fmla="*/ 129 h 830"/>
                <a:gd name="T12" fmla="*/ 241 w 1675"/>
                <a:gd name="T13" fmla="*/ 116 h 830"/>
                <a:gd name="T14" fmla="*/ 233 w 1675"/>
                <a:gd name="T15" fmla="*/ 99 h 830"/>
                <a:gd name="T16" fmla="*/ 226 w 1675"/>
                <a:gd name="T17" fmla="*/ 79 h 830"/>
                <a:gd name="T18" fmla="*/ 218 w 1675"/>
                <a:gd name="T19" fmla="*/ 68 h 830"/>
                <a:gd name="T20" fmla="*/ 227 w 1675"/>
                <a:gd name="T21" fmla="*/ 50 h 830"/>
                <a:gd name="T22" fmla="*/ 227 w 1675"/>
                <a:gd name="T23" fmla="*/ 28 h 830"/>
                <a:gd name="T24" fmla="*/ 250 w 1675"/>
                <a:gd name="T25" fmla="*/ 45 h 830"/>
                <a:gd name="T26" fmla="*/ 246 w 1675"/>
                <a:gd name="T27" fmla="*/ 68 h 830"/>
                <a:gd name="T28" fmla="*/ 244 w 1675"/>
                <a:gd name="T29" fmla="*/ 84 h 830"/>
                <a:gd name="T30" fmla="*/ 255 w 1675"/>
                <a:gd name="T31" fmla="*/ 92 h 830"/>
                <a:gd name="T32" fmla="*/ 263 w 1675"/>
                <a:gd name="T33" fmla="*/ 100 h 830"/>
                <a:gd name="T34" fmla="*/ 259 w 1675"/>
                <a:gd name="T35" fmla="*/ 111 h 830"/>
                <a:gd name="T36" fmla="*/ 269 w 1675"/>
                <a:gd name="T37" fmla="*/ 123 h 830"/>
                <a:gd name="T38" fmla="*/ 284 w 1675"/>
                <a:gd name="T39" fmla="*/ 124 h 830"/>
                <a:gd name="T40" fmla="*/ 301 w 1675"/>
                <a:gd name="T41" fmla="*/ 141 h 830"/>
                <a:gd name="T42" fmla="*/ 316 w 1675"/>
                <a:gd name="T43" fmla="*/ 141 h 830"/>
                <a:gd name="T44" fmla="*/ 332 w 1675"/>
                <a:gd name="T45" fmla="*/ 137 h 830"/>
                <a:gd name="T46" fmla="*/ 334 w 1675"/>
                <a:gd name="T47" fmla="*/ 118 h 830"/>
                <a:gd name="T48" fmla="*/ 335 w 1675"/>
                <a:gd name="T49" fmla="*/ 103 h 830"/>
                <a:gd name="T50" fmla="*/ 321 w 1675"/>
                <a:gd name="T51" fmla="*/ 105 h 830"/>
                <a:gd name="T52" fmla="*/ 303 w 1675"/>
                <a:gd name="T53" fmla="*/ 113 h 830"/>
                <a:gd name="T54" fmla="*/ 297 w 1675"/>
                <a:gd name="T55" fmla="*/ 102 h 830"/>
                <a:gd name="T56" fmla="*/ 289 w 1675"/>
                <a:gd name="T57" fmla="*/ 82 h 830"/>
                <a:gd name="T58" fmla="*/ 284 w 1675"/>
                <a:gd name="T59" fmla="*/ 63 h 830"/>
                <a:gd name="T60" fmla="*/ 276 w 1675"/>
                <a:gd name="T61" fmla="*/ 50 h 830"/>
                <a:gd name="T62" fmla="*/ 272 w 1675"/>
                <a:gd name="T63" fmla="*/ 33 h 830"/>
                <a:gd name="T64" fmla="*/ 265 w 1675"/>
                <a:gd name="T65" fmla="*/ 19 h 830"/>
                <a:gd name="T66" fmla="*/ 258 w 1675"/>
                <a:gd name="T67" fmla="*/ 0 h 830"/>
                <a:gd name="T68" fmla="*/ 244 w 1675"/>
                <a:gd name="T69" fmla="*/ 9 h 830"/>
                <a:gd name="T70" fmla="*/ 233 w 1675"/>
                <a:gd name="T71" fmla="*/ 13 h 830"/>
                <a:gd name="T72" fmla="*/ 210 w 1675"/>
                <a:gd name="T73" fmla="*/ 11 h 830"/>
                <a:gd name="T74" fmla="*/ 195 w 1675"/>
                <a:gd name="T75" fmla="*/ 13 h 830"/>
                <a:gd name="T76" fmla="*/ 170 w 1675"/>
                <a:gd name="T77" fmla="*/ 24 h 830"/>
                <a:gd name="T78" fmla="*/ 147 w 1675"/>
                <a:gd name="T79" fmla="*/ 29 h 830"/>
                <a:gd name="T80" fmla="*/ 132 w 1675"/>
                <a:gd name="T81" fmla="*/ 46 h 830"/>
                <a:gd name="T82" fmla="*/ 100 w 1675"/>
                <a:gd name="T83" fmla="*/ 52 h 830"/>
                <a:gd name="T84" fmla="*/ 75 w 1675"/>
                <a:gd name="T85" fmla="*/ 61 h 830"/>
                <a:gd name="T86" fmla="*/ 33 w 1675"/>
                <a:gd name="T87" fmla="*/ 73 h 830"/>
                <a:gd name="T88" fmla="*/ 0 w 1675"/>
                <a:gd name="T89" fmla="*/ 85 h 830"/>
                <a:gd name="T90" fmla="*/ 6 w 1675"/>
                <a:gd name="T91" fmla="*/ 113 h 830"/>
                <a:gd name="T92" fmla="*/ 18 w 1675"/>
                <a:gd name="T93" fmla="*/ 113 h 830"/>
                <a:gd name="T94" fmla="*/ 36 w 1675"/>
                <a:gd name="T95" fmla="*/ 92 h 830"/>
                <a:gd name="T96" fmla="*/ 55 w 1675"/>
                <a:gd name="T97" fmla="*/ 81 h 830"/>
                <a:gd name="T98" fmla="*/ 76 w 1675"/>
                <a:gd name="T99" fmla="*/ 78 h 830"/>
                <a:gd name="T100" fmla="*/ 86 w 1675"/>
                <a:gd name="T101" fmla="*/ 62 h 830"/>
                <a:gd name="T102" fmla="*/ 98 w 1675"/>
                <a:gd name="T103" fmla="*/ 56 h 830"/>
                <a:gd name="T104" fmla="*/ 114 w 1675"/>
                <a:gd name="T105" fmla="*/ 67 h 830"/>
                <a:gd name="T106" fmla="*/ 136 w 1675"/>
                <a:gd name="T107" fmla="*/ 76 h 830"/>
                <a:gd name="T108" fmla="*/ 151 w 1675"/>
                <a:gd name="T109" fmla="*/ 82 h 830"/>
                <a:gd name="T110" fmla="*/ 160 w 1675"/>
                <a:gd name="T111" fmla="*/ 74 h 830"/>
                <a:gd name="T112" fmla="*/ 174 w 1675"/>
                <a:gd name="T113" fmla="*/ 85 h 830"/>
                <a:gd name="T114" fmla="*/ 161 w 1675"/>
                <a:gd name="T115" fmla="*/ 97 h 830"/>
                <a:gd name="T116" fmla="*/ 159 w 1675"/>
                <a:gd name="T117" fmla="*/ 113 h 830"/>
                <a:gd name="T118" fmla="*/ 171 w 1675"/>
                <a:gd name="T119" fmla="*/ 132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75" h="830">
                  <a:moveTo>
                    <a:pt x="853" y="659"/>
                  </a:moveTo>
                  <a:lnTo>
                    <a:pt x="1136" y="830"/>
                  </a:lnTo>
                  <a:lnTo>
                    <a:pt x="1256" y="810"/>
                  </a:lnTo>
                  <a:lnTo>
                    <a:pt x="1269" y="736"/>
                  </a:lnTo>
                  <a:lnTo>
                    <a:pt x="1250" y="697"/>
                  </a:lnTo>
                  <a:lnTo>
                    <a:pt x="1250" y="646"/>
                  </a:lnTo>
                  <a:lnTo>
                    <a:pt x="1205" y="579"/>
                  </a:lnTo>
                  <a:lnTo>
                    <a:pt x="1165" y="494"/>
                  </a:lnTo>
                  <a:lnTo>
                    <a:pt x="1131" y="397"/>
                  </a:lnTo>
                  <a:lnTo>
                    <a:pt x="1091" y="340"/>
                  </a:lnTo>
                  <a:lnTo>
                    <a:pt x="1136" y="251"/>
                  </a:lnTo>
                  <a:lnTo>
                    <a:pt x="1136" y="138"/>
                  </a:lnTo>
                  <a:lnTo>
                    <a:pt x="1250" y="223"/>
                  </a:lnTo>
                  <a:lnTo>
                    <a:pt x="1228" y="340"/>
                  </a:lnTo>
                  <a:lnTo>
                    <a:pt x="1222" y="420"/>
                  </a:lnTo>
                  <a:lnTo>
                    <a:pt x="1273" y="460"/>
                  </a:lnTo>
                  <a:lnTo>
                    <a:pt x="1313" y="499"/>
                  </a:lnTo>
                  <a:lnTo>
                    <a:pt x="1296" y="556"/>
                  </a:lnTo>
                  <a:lnTo>
                    <a:pt x="1347" y="613"/>
                  </a:lnTo>
                  <a:lnTo>
                    <a:pt x="1421" y="619"/>
                  </a:lnTo>
                  <a:lnTo>
                    <a:pt x="1507" y="705"/>
                  </a:lnTo>
                  <a:lnTo>
                    <a:pt x="1581" y="703"/>
                  </a:lnTo>
                  <a:lnTo>
                    <a:pt x="1661" y="686"/>
                  </a:lnTo>
                  <a:lnTo>
                    <a:pt x="1672" y="590"/>
                  </a:lnTo>
                  <a:lnTo>
                    <a:pt x="1675" y="517"/>
                  </a:lnTo>
                  <a:lnTo>
                    <a:pt x="1605" y="527"/>
                  </a:lnTo>
                  <a:lnTo>
                    <a:pt x="1515" y="564"/>
                  </a:lnTo>
                  <a:lnTo>
                    <a:pt x="1484" y="511"/>
                  </a:lnTo>
                  <a:lnTo>
                    <a:pt x="1444" y="408"/>
                  </a:lnTo>
                  <a:lnTo>
                    <a:pt x="1418" y="314"/>
                  </a:lnTo>
                  <a:lnTo>
                    <a:pt x="1381" y="249"/>
                  </a:lnTo>
                  <a:lnTo>
                    <a:pt x="1362" y="163"/>
                  </a:lnTo>
                  <a:lnTo>
                    <a:pt x="1323" y="95"/>
                  </a:lnTo>
                  <a:lnTo>
                    <a:pt x="1288" y="0"/>
                  </a:lnTo>
                  <a:lnTo>
                    <a:pt x="1222" y="45"/>
                  </a:lnTo>
                  <a:lnTo>
                    <a:pt x="1165" y="63"/>
                  </a:lnTo>
                  <a:lnTo>
                    <a:pt x="1051" y="54"/>
                  </a:lnTo>
                  <a:lnTo>
                    <a:pt x="977" y="63"/>
                  </a:lnTo>
                  <a:lnTo>
                    <a:pt x="851" y="119"/>
                  </a:lnTo>
                  <a:lnTo>
                    <a:pt x="735" y="143"/>
                  </a:lnTo>
                  <a:lnTo>
                    <a:pt x="662" y="232"/>
                  </a:lnTo>
                  <a:lnTo>
                    <a:pt x="501" y="260"/>
                  </a:lnTo>
                  <a:lnTo>
                    <a:pt x="376" y="304"/>
                  </a:lnTo>
                  <a:lnTo>
                    <a:pt x="165" y="365"/>
                  </a:lnTo>
                  <a:lnTo>
                    <a:pt x="0" y="423"/>
                  </a:lnTo>
                  <a:lnTo>
                    <a:pt x="29" y="564"/>
                  </a:lnTo>
                  <a:lnTo>
                    <a:pt x="88" y="564"/>
                  </a:lnTo>
                  <a:lnTo>
                    <a:pt x="178" y="461"/>
                  </a:lnTo>
                  <a:lnTo>
                    <a:pt x="277" y="403"/>
                  </a:lnTo>
                  <a:lnTo>
                    <a:pt x="380" y="388"/>
                  </a:lnTo>
                  <a:lnTo>
                    <a:pt x="428" y="308"/>
                  </a:lnTo>
                  <a:lnTo>
                    <a:pt x="491" y="282"/>
                  </a:lnTo>
                  <a:lnTo>
                    <a:pt x="571" y="334"/>
                  </a:lnTo>
                  <a:lnTo>
                    <a:pt x="680" y="378"/>
                  </a:lnTo>
                  <a:lnTo>
                    <a:pt x="754" y="412"/>
                  </a:lnTo>
                  <a:lnTo>
                    <a:pt x="802" y="372"/>
                  </a:lnTo>
                  <a:lnTo>
                    <a:pt x="871" y="424"/>
                  </a:lnTo>
                  <a:lnTo>
                    <a:pt x="805" y="483"/>
                  </a:lnTo>
                  <a:lnTo>
                    <a:pt x="795" y="563"/>
                  </a:lnTo>
                  <a:lnTo>
                    <a:pt x="853" y="659"/>
                  </a:lnTo>
                  <a:close/>
                </a:path>
              </a:pathLst>
            </a:custGeom>
            <a:solidFill>
              <a:schemeClr val="accent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52" name="Freeform 55"/>
            <p:cNvSpPr>
              <a:spLocks/>
            </p:cNvSpPr>
            <p:nvPr/>
          </p:nvSpPr>
          <p:spPr bwMode="auto">
            <a:xfrm>
              <a:off x="6670422" y="3417072"/>
              <a:ext cx="151657" cy="157099"/>
            </a:xfrm>
            <a:custGeom>
              <a:avLst/>
              <a:gdLst>
                <a:gd name="T0" fmla="*/ 64 w 438"/>
                <a:gd name="T1" fmla="*/ 107 h 605"/>
                <a:gd name="T2" fmla="*/ 78 w 438"/>
                <a:gd name="T3" fmla="*/ 105 h 605"/>
                <a:gd name="T4" fmla="*/ 83 w 438"/>
                <a:gd name="T5" fmla="*/ 79 h 605"/>
                <a:gd name="T6" fmla="*/ 66 w 438"/>
                <a:gd name="T7" fmla="*/ 62 h 605"/>
                <a:gd name="T8" fmla="*/ 49 w 438"/>
                <a:gd name="T9" fmla="*/ 49 h 605"/>
                <a:gd name="T10" fmla="*/ 33 w 438"/>
                <a:gd name="T11" fmla="*/ 31 h 605"/>
                <a:gd name="T12" fmla="*/ 22 w 438"/>
                <a:gd name="T13" fmla="*/ 0 h 605"/>
                <a:gd name="T14" fmla="*/ 0 w 438"/>
                <a:gd name="T15" fmla="*/ 2 h 605"/>
                <a:gd name="T16" fmla="*/ 7 w 438"/>
                <a:gd name="T17" fmla="*/ 19 h 605"/>
                <a:gd name="T18" fmla="*/ 15 w 438"/>
                <a:gd name="T19" fmla="*/ 33 h 605"/>
                <a:gd name="T20" fmla="*/ 19 w 438"/>
                <a:gd name="T21" fmla="*/ 52 h 605"/>
                <a:gd name="T22" fmla="*/ 26 w 438"/>
                <a:gd name="T23" fmla="*/ 63 h 605"/>
                <a:gd name="T24" fmla="*/ 31 w 438"/>
                <a:gd name="T25" fmla="*/ 82 h 605"/>
                <a:gd name="T26" fmla="*/ 40 w 438"/>
                <a:gd name="T27" fmla="*/ 104 h 605"/>
                <a:gd name="T28" fmla="*/ 45 w 438"/>
                <a:gd name="T29" fmla="*/ 115 h 605"/>
                <a:gd name="T30" fmla="*/ 64 w 438"/>
                <a:gd name="T31" fmla="*/ 107 h 6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38" h="605">
                  <a:moveTo>
                    <a:pt x="336" y="563"/>
                  </a:moveTo>
                  <a:lnTo>
                    <a:pt x="410" y="552"/>
                  </a:lnTo>
                  <a:lnTo>
                    <a:pt x="438" y="415"/>
                  </a:lnTo>
                  <a:lnTo>
                    <a:pt x="348" y="325"/>
                  </a:lnTo>
                  <a:lnTo>
                    <a:pt x="258" y="258"/>
                  </a:lnTo>
                  <a:lnTo>
                    <a:pt x="174" y="162"/>
                  </a:lnTo>
                  <a:lnTo>
                    <a:pt x="117" y="0"/>
                  </a:lnTo>
                  <a:lnTo>
                    <a:pt x="0" y="12"/>
                  </a:lnTo>
                  <a:lnTo>
                    <a:pt x="35" y="101"/>
                  </a:lnTo>
                  <a:lnTo>
                    <a:pt x="78" y="176"/>
                  </a:lnTo>
                  <a:lnTo>
                    <a:pt x="102" y="272"/>
                  </a:lnTo>
                  <a:lnTo>
                    <a:pt x="137" y="333"/>
                  </a:lnTo>
                  <a:lnTo>
                    <a:pt x="164" y="432"/>
                  </a:lnTo>
                  <a:lnTo>
                    <a:pt x="210" y="549"/>
                  </a:lnTo>
                  <a:lnTo>
                    <a:pt x="240" y="605"/>
                  </a:lnTo>
                  <a:lnTo>
                    <a:pt x="336" y="563"/>
                  </a:lnTo>
                  <a:close/>
                </a:path>
              </a:pathLst>
            </a:custGeom>
            <a:solidFill>
              <a:schemeClr val="accent4">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53" name="Freeform 56"/>
            <p:cNvSpPr>
              <a:spLocks/>
            </p:cNvSpPr>
            <p:nvPr/>
          </p:nvSpPr>
          <p:spPr bwMode="auto">
            <a:xfrm rot="285994">
              <a:off x="7134516" y="3187569"/>
              <a:ext cx="145440" cy="66260"/>
            </a:xfrm>
            <a:custGeom>
              <a:avLst/>
              <a:gdLst>
                <a:gd name="T0" fmla="*/ 1 w 198"/>
                <a:gd name="T1" fmla="*/ 4 h 384"/>
                <a:gd name="T2" fmla="*/ 16 w 198"/>
                <a:gd name="T3" fmla="*/ 3 h 384"/>
                <a:gd name="T4" fmla="*/ 32 w 198"/>
                <a:gd name="T5" fmla="*/ 0 h 384"/>
                <a:gd name="T6" fmla="*/ 38 w 198"/>
                <a:gd name="T7" fmla="*/ 24 h 384"/>
                <a:gd name="T8" fmla="*/ 37 w 198"/>
                <a:gd name="T9" fmla="*/ 45 h 384"/>
                <a:gd name="T10" fmla="*/ 30 w 198"/>
                <a:gd name="T11" fmla="*/ 61 h 384"/>
                <a:gd name="T12" fmla="*/ 24 w 198"/>
                <a:gd name="T13" fmla="*/ 70 h 384"/>
                <a:gd name="T14" fmla="*/ 18 w 198"/>
                <a:gd name="T15" fmla="*/ 72 h 384"/>
                <a:gd name="T16" fmla="*/ 10 w 198"/>
                <a:gd name="T17" fmla="*/ 59 h 384"/>
                <a:gd name="T18" fmla="*/ 6 w 198"/>
                <a:gd name="T19" fmla="*/ 41 h 384"/>
                <a:gd name="T20" fmla="*/ 0 w 198"/>
                <a:gd name="T21" fmla="*/ 27 h 384"/>
                <a:gd name="T22" fmla="*/ 1 w 198"/>
                <a:gd name="T23" fmla="*/ 4 h 3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8" h="384">
                  <a:moveTo>
                    <a:pt x="3" y="20"/>
                  </a:moveTo>
                  <a:lnTo>
                    <a:pt x="84" y="18"/>
                  </a:lnTo>
                  <a:lnTo>
                    <a:pt x="168" y="0"/>
                  </a:lnTo>
                  <a:lnTo>
                    <a:pt x="198" y="126"/>
                  </a:lnTo>
                  <a:lnTo>
                    <a:pt x="192" y="240"/>
                  </a:lnTo>
                  <a:lnTo>
                    <a:pt x="156" y="324"/>
                  </a:lnTo>
                  <a:lnTo>
                    <a:pt x="125" y="372"/>
                  </a:lnTo>
                  <a:lnTo>
                    <a:pt x="96" y="384"/>
                  </a:lnTo>
                  <a:lnTo>
                    <a:pt x="54" y="312"/>
                  </a:lnTo>
                  <a:lnTo>
                    <a:pt x="30" y="216"/>
                  </a:lnTo>
                  <a:lnTo>
                    <a:pt x="0" y="144"/>
                  </a:lnTo>
                  <a:lnTo>
                    <a:pt x="3" y="20"/>
                  </a:lnTo>
                  <a:close/>
                </a:path>
              </a:pathLst>
            </a:custGeom>
            <a:solidFill>
              <a:schemeClr val="accent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54" name="Freeform 57"/>
            <p:cNvSpPr>
              <a:spLocks/>
            </p:cNvSpPr>
            <p:nvPr/>
          </p:nvSpPr>
          <p:spPr bwMode="auto">
            <a:xfrm>
              <a:off x="6822079" y="3574171"/>
              <a:ext cx="88357" cy="123194"/>
            </a:xfrm>
            <a:custGeom>
              <a:avLst/>
              <a:gdLst>
                <a:gd name="T0" fmla="*/ 0 w 51"/>
                <a:gd name="T1" fmla="*/ 8 h 51"/>
                <a:gd name="T2" fmla="*/ 10 w 51"/>
                <a:gd name="T3" fmla="*/ 0 h 51"/>
                <a:gd name="T4" fmla="*/ 24 w 51"/>
                <a:gd name="T5" fmla="*/ 10 h 51"/>
                <a:gd name="T6" fmla="*/ 10 w 51"/>
                <a:gd name="T7" fmla="*/ 22 h 51"/>
                <a:gd name="T8" fmla="*/ 10 w 51"/>
                <a:gd name="T9" fmla="*/ 16 h 51"/>
                <a:gd name="T10" fmla="*/ 9 w 51"/>
                <a:gd name="T11" fmla="*/ 13 h 51"/>
                <a:gd name="T12" fmla="*/ 6 w 51"/>
                <a:gd name="T13" fmla="*/ 10 h 51"/>
                <a:gd name="T14" fmla="*/ 0 w 51"/>
                <a:gd name="T15" fmla="*/ 8 h 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51">
                  <a:moveTo>
                    <a:pt x="0" y="18"/>
                  </a:moveTo>
                  <a:lnTo>
                    <a:pt x="21" y="0"/>
                  </a:lnTo>
                  <a:lnTo>
                    <a:pt x="51" y="24"/>
                  </a:lnTo>
                  <a:lnTo>
                    <a:pt x="22" y="51"/>
                  </a:lnTo>
                  <a:lnTo>
                    <a:pt x="22" y="38"/>
                  </a:lnTo>
                  <a:lnTo>
                    <a:pt x="20" y="29"/>
                  </a:lnTo>
                  <a:lnTo>
                    <a:pt x="12" y="23"/>
                  </a:lnTo>
                  <a:lnTo>
                    <a:pt x="0" y="18"/>
                  </a:lnTo>
                  <a:close/>
                </a:path>
              </a:pathLst>
            </a:custGeom>
            <a:solidFill>
              <a:srgbClr val="7030A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grpSp>
          <p:nvGrpSpPr>
            <p:cNvPr id="55" name="组合 148"/>
            <p:cNvGrpSpPr/>
            <p:nvPr/>
          </p:nvGrpSpPr>
          <p:grpSpPr>
            <a:xfrm>
              <a:off x="1392507" y="5550075"/>
              <a:ext cx="648877" cy="325938"/>
              <a:chOff x="1392507" y="5092875"/>
              <a:chExt cx="648877" cy="325938"/>
            </a:xfrm>
          </p:grpSpPr>
          <p:sp>
            <p:nvSpPr>
              <p:cNvPr id="80" name="Freeform 63"/>
              <p:cNvSpPr>
                <a:spLocks/>
              </p:cNvSpPr>
              <p:nvPr/>
            </p:nvSpPr>
            <p:spPr bwMode="auto">
              <a:xfrm>
                <a:off x="1857479" y="5124046"/>
                <a:ext cx="183905" cy="294767"/>
              </a:xfrm>
              <a:custGeom>
                <a:avLst/>
                <a:gdLst>
                  <a:gd name="T0" fmla="*/ 43 w 834"/>
                  <a:gd name="T1" fmla="*/ 181 h 980"/>
                  <a:gd name="T2" fmla="*/ 35 w 834"/>
                  <a:gd name="T3" fmla="*/ 172 h 980"/>
                  <a:gd name="T4" fmla="*/ 26 w 834"/>
                  <a:gd name="T5" fmla="*/ 155 h 980"/>
                  <a:gd name="T6" fmla="*/ 32 w 834"/>
                  <a:gd name="T7" fmla="*/ 143 h 980"/>
                  <a:gd name="T8" fmla="*/ 26 w 834"/>
                  <a:gd name="T9" fmla="*/ 124 h 980"/>
                  <a:gd name="T10" fmla="*/ 17 w 834"/>
                  <a:gd name="T11" fmla="*/ 103 h 980"/>
                  <a:gd name="T12" fmla="*/ 0 w 834"/>
                  <a:gd name="T13" fmla="*/ 86 h 980"/>
                  <a:gd name="T14" fmla="*/ 9 w 834"/>
                  <a:gd name="T15" fmla="*/ 69 h 980"/>
                  <a:gd name="T16" fmla="*/ 19 w 834"/>
                  <a:gd name="T17" fmla="*/ 55 h 980"/>
                  <a:gd name="T18" fmla="*/ 28 w 834"/>
                  <a:gd name="T19" fmla="*/ 46 h 980"/>
                  <a:gd name="T20" fmla="*/ 20 w 834"/>
                  <a:gd name="T21" fmla="*/ 30 h 980"/>
                  <a:gd name="T22" fmla="*/ 9 w 834"/>
                  <a:gd name="T23" fmla="*/ 26 h 980"/>
                  <a:gd name="T24" fmla="*/ 9 w 834"/>
                  <a:gd name="T25" fmla="*/ 16 h 980"/>
                  <a:gd name="T26" fmla="*/ 17 w 834"/>
                  <a:gd name="T27" fmla="*/ 0 h 980"/>
                  <a:gd name="T28" fmla="*/ 26 w 834"/>
                  <a:gd name="T29" fmla="*/ 10 h 980"/>
                  <a:gd name="T30" fmla="*/ 44 w 834"/>
                  <a:gd name="T31" fmla="*/ 17 h 980"/>
                  <a:gd name="T32" fmla="*/ 60 w 834"/>
                  <a:gd name="T33" fmla="*/ 17 h 980"/>
                  <a:gd name="T34" fmla="*/ 76 w 834"/>
                  <a:gd name="T35" fmla="*/ 24 h 980"/>
                  <a:gd name="T36" fmla="*/ 91 w 834"/>
                  <a:gd name="T37" fmla="*/ 27 h 980"/>
                  <a:gd name="T38" fmla="*/ 103 w 834"/>
                  <a:gd name="T39" fmla="*/ 43 h 980"/>
                  <a:gd name="T40" fmla="*/ 117 w 834"/>
                  <a:gd name="T41" fmla="*/ 54 h 980"/>
                  <a:gd name="T42" fmla="*/ 120 w 834"/>
                  <a:gd name="T43" fmla="*/ 69 h 980"/>
                  <a:gd name="T44" fmla="*/ 144 w 834"/>
                  <a:gd name="T45" fmla="*/ 78 h 980"/>
                  <a:gd name="T46" fmla="*/ 158 w 834"/>
                  <a:gd name="T47" fmla="*/ 92 h 980"/>
                  <a:gd name="T48" fmla="*/ 150 w 834"/>
                  <a:gd name="T49" fmla="*/ 102 h 980"/>
                  <a:gd name="T50" fmla="*/ 140 w 834"/>
                  <a:gd name="T51" fmla="*/ 121 h 980"/>
                  <a:gd name="T52" fmla="*/ 125 w 834"/>
                  <a:gd name="T53" fmla="*/ 124 h 980"/>
                  <a:gd name="T54" fmla="*/ 103 w 834"/>
                  <a:gd name="T55" fmla="*/ 134 h 980"/>
                  <a:gd name="T56" fmla="*/ 91 w 834"/>
                  <a:gd name="T57" fmla="*/ 147 h 980"/>
                  <a:gd name="T58" fmla="*/ 79 w 834"/>
                  <a:gd name="T59" fmla="*/ 157 h 980"/>
                  <a:gd name="T60" fmla="*/ 76 w 834"/>
                  <a:gd name="T61" fmla="*/ 171 h 980"/>
                  <a:gd name="T62" fmla="*/ 67 w 834"/>
                  <a:gd name="T63" fmla="*/ 186 h 980"/>
                  <a:gd name="T64" fmla="*/ 43 w 834"/>
                  <a:gd name="T65" fmla="*/ 181 h 9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34" h="980">
                    <a:moveTo>
                      <a:pt x="226" y="952"/>
                    </a:moveTo>
                    <a:lnTo>
                      <a:pt x="186" y="908"/>
                    </a:lnTo>
                    <a:lnTo>
                      <a:pt x="136" y="816"/>
                    </a:lnTo>
                    <a:lnTo>
                      <a:pt x="170" y="756"/>
                    </a:lnTo>
                    <a:lnTo>
                      <a:pt x="138" y="652"/>
                    </a:lnTo>
                    <a:lnTo>
                      <a:pt x="90" y="544"/>
                    </a:lnTo>
                    <a:lnTo>
                      <a:pt x="0" y="453"/>
                    </a:lnTo>
                    <a:lnTo>
                      <a:pt x="45" y="363"/>
                    </a:lnTo>
                    <a:lnTo>
                      <a:pt x="98" y="292"/>
                    </a:lnTo>
                    <a:lnTo>
                      <a:pt x="146" y="244"/>
                    </a:lnTo>
                    <a:lnTo>
                      <a:pt x="106" y="156"/>
                    </a:lnTo>
                    <a:lnTo>
                      <a:pt x="45" y="136"/>
                    </a:lnTo>
                    <a:lnTo>
                      <a:pt x="50" y="84"/>
                    </a:lnTo>
                    <a:lnTo>
                      <a:pt x="90" y="0"/>
                    </a:lnTo>
                    <a:lnTo>
                      <a:pt x="138" y="52"/>
                    </a:lnTo>
                    <a:lnTo>
                      <a:pt x="234" y="92"/>
                    </a:lnTo>
                    <a:lnTo>
                      <a:pt x="317" y="91"/>
                    </a:lnTo>
                    <a:lnTo>
                      <a:pt x="402" y="124"/>
                    </a:lnTo>
                    <a:lnTo>
                      <a:pt x="482" y="140"/>
                    </a:lnTo>
                    <a:lnTo>
                      <a:pt x="544" y="227"/>
                    </a:lnTo>
                    <a:lnTo>
                      <a:pt x="618" y="284"/>
                    </a:lnTo>
                    <a:lnTo>
                      <a:pt x="635" y="363"/>
                    </a:lnTo>
                    <a:lnTo>
                      <a:pt x="762" y="412"/>
                    </a:lnTo>
                    <a:lnTo>
                      <a:pt x="834" y="484"/>
                    </a:lnTo>
                    <a:lnTo>
                      <a:pt x="794" y="540"/>
                    </a:lnTo>
                    <a:lnTo>
                      <a:pt x="738" y="636"/>
                    </a:lnTo>
                    <a:lnTo>
                      <a:pt x="658" y="652"/>
                    </a:lnTo>
                    <a:lnTo>
                      <a:pt x="546" y="708"/>
                    </a:lnTo>
                    <a:lnTo>
                      <a:pt x="482" y="772"/>
                    </a:lnTo>
                    <a:lnTo>
                      <a:pt x="418" y="828"/>
                    </a:lnTo>
                    <a:lnTo>
                      <a:pt x="402" y="900"/>
                    </a:lnTo>
                    <a:lnTo>
                      <a:pt x="354" y="980"/>
                    </a:lnTo>
                    <a:lnTo>
                      <a:pt x="226" y="952"/>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1" name="Freeform 64"/>
              <p:cNvSpPr>
                <a:spLocks/>
              </p:cNvSpPr>
              <p:nvPr/>
            </p:nvSpPr>
            <p:spPr bwMode="auto">
              <a:xfrm>
                <a:off x="1458218" y="5092875"/>
                <a:ext cx="90790" cy="80209"/>
              </a:xfrm>
              <a:custGeom>
                <a:avLst/>
                <a:gdLst>
                  <a:gd name="T0" fmla="*/ 0 w 414"/>
                  <a:gd name="T1" fmla="*/ 20 h 364"/>
                  <a:gd name="T2" fmla="*/ 20 w 414"/>
                  <a:gd name="T3" fmla="*/ 18 h 364"/>
                  <a:gd name="T4" fmla="*/ 24 w 414"/>
                  <a:gd name="T5" fmla="*/ 7 h 364"/>
                  <a:gd name="T6" fmla="*/ 37 w 414"/>
                  <a:gd name="T7" fmla="*/ 0 h 364"/>
                  <a:gd name="T8" fmla="*/ 49 w 414"/>
                  <a:gd name="T9" fmla="*/ 13 h 364"/>
                  <a:gd name="T10" fmla="*/ 57 w 414"/>
                  <a:gd name="T11" fmla="*/ 30 h 364"/>
                  <a:gd name="T12" fmla="*/ 66 w 414"/>
                  <a:gd name="T13" fmla="*/ 35 h 364"/>
                  <a:gd name="T14" fmla="*/ 77 w 414"/>
                  <a:gd name="T15" fmla="*/ 39 h 364"/>
                  <a:gd name="T16" fmla="*/ 78 w 414"/>
                  <a:gd name="T17" fmla="*/ 52 h 364"/>
                  <a:gd name="T18" fmla="*/ 61 w 414"/>
                  <a:gd name="T19" fmla="*/ 61 h 364"/>
                  <a:gd name="T20" fmla="*/ 43 w 414"/>
                  <a:gd name="T21" fmla="*/ 69 h 364"/>
                  <a:gd name="T22" fmla="*/ 26 w 414"/>
                  <a:gd name="T23" fmla="*/ 60 h 364"/>
                  <a:gd name="T24" fmla="*/ 17 w 414"/>
                  <a:gd name="T25" fmla="*/ 52 h 364"/>
                  <a:gd name="T26" fmla="*/ 17 w 414"/>
                  <a:gd name="T27" fmla="*/ 43 h 364"/>
                  <a:gd name="T28" fmla="*/ 2 w 414"/>
                  <a:gd name="T29" fmla="*/ 36 h 364"/>
                  <a:gd name="T30" fmla="*/ 0 w 414"/>
                  <a:gd name="T31" fmla="*/ 20 h 3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14" h="364">
                    <a:moveTo>
                      <a:pt x="0" y="108"/>
                    </a:moveTo>
                    <a:lnTo>
                      <a:pt x="108" y="96"/>
                    </a:lnTo>
                    <a:lnTo>
                      <a:pt x="126" y="36"/>
                    </a:lnTo>
                    <a:lnTo>
                      <a:pt x="198" y="0"/>
                    </a:lnTo>
                    <a:lnTo>
                      <a:pt x="258" y="66"/>
                    </a:lnTo>
                    <a:lnTo>
                      <a:pt x="300" y="156"/>
                    </a:lnTo>
                    <a:lnTo>
                      <a:pt x="348" y="186"/>
                    </a:lnTo>
                    <a:lnTo>
                      <a:pt x="408" y="204"/>
                    </a:lnTo>
                    <a:lnTo>
                      <a:pt x="414" y="276"/>
                    </a:lnTo>
                    <a:lnTo>
                      <a:pt x="324" y="324"/>
                    </a:lnTo>
                    <a:lnTo>
                      <a:pt x="226" y="364"/>
                    </a:lnTo>
                    <a:lnTo>
                      <a:pt x="136" y="319"/>
                    </a:lnTo>
                    <a:lnTo>
                      <a:pt x="90" y="274"/>
                    </a:lnTo>
                    <a:lnTo>
                      <a:pt x="90" y="228"/>
                    </a:lnTo>
                    <a:lnTo>
                      <a:pt x="12" y="192"/>
                    </a:lnTo>
                    <a:lnTo>
                      <a:pt x="0" y="108"/>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2" name="Freeform 65"/>
              <p:cNvSpPr>
                <a:spLocks/>
              </p:cNvSpPr>
              <p:nvPr/>
            </p:nvSpPr>
            <p:spPr bwMode="auto">
              <a:xfrm>
                <a:off x="1392507" y="5118228"/>
                <a:ext cx="62853" cy="58123"/>
              </a:xfrm>
              <a:custGeom>
                <a:avLst/>
                <a:gdLst>
                  <a:gd name="T0" fmla="*/ 47 w 285"/>
                  <a:gd name="T1" fmla="*/ 47 h 259"/>
                  <a:gd name="T2" fmla="*/ 54 w 285"/>
                  <a:gd name="T3" fmla="*/ 35 h 259"/>
                  <a:gd name="T4" fmla="*/ 54 w 285"/>
                  <a:gd name="T5" fmla="*/ 18 h 259"/>
                  <a:gd name="T6" fmla="*/ 52 w 285"/>
                  <a:gd name="T7" fmla="*/ 1 h 259"/>
                  <a:gd name="T8" fmla="*/ 37 w 285"/>
                  <a:gd name="T9" fmla="*/ 0 h 259"/>
                  <a:gd name="T10" fmla="*/ 23 w 285"/>
                  <a:gd name="T11" fmla="*/ 1 h 259"/>
                  <a:gd name="T12" fmla="*/ 11 w 285"/>
                  <a:gd name="T13" fmla="*/ 9 h 259"/>
                  <a:gd name="T14" fmla="*/ 2 w 285"/>
                  <a:gd name="T15" fmla="*/ 26 h 259"/>
                  <a:gd name="T16" fmla="*/ 0 w 285"/>
                  <a:gd name="T17" fmla="*/ 40 h 259"/>
                  <a:gd name="T18" fmla="*/ 8 w 285"/>
                  <a:gd name="T19" fmla="*/ 47 h 259"/>
                  <a:gd name="T20" fmla="*/ 20 w 285"/>
                  <a:gd name="T21" fmla="*/ 44 h 259"/>
                  <a:gd name="T22" fmla="*/ 33 w 285"/>
                  <a:gd name="T23" fmla="*/ 50 h 259"/>
                  <a:gd name="T24" fmla="*/ 47 w 285"/>
                  <a:gd name="T25" fmla="*/ 47 h 2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5" h="259">
                    <a:moveTo>
                      <a:pt x="246" y="241"/>
                    </a:moveTo>
                    <a:lnTo>
                      <a:pt x="285" y="182"/>
                    </a:lnTo>
                    <a:lnTo>
                      <a:pt x="285" y="91"/>
                    </a:lnTo>
                    <a:lnTo>
                      <a:pt x="276" y="7"/>
                    </a:lnTo>
                    <a:lnTo>
                      <a:pt x="194" y="0"/>
                    </a:lnTo>
                    <a:lnTo>
                      <a:pt x="120" y="7"/>
                    </a:lnTo>
                    <a:lnTo>
                      <a:pt x="58" y="46"/>
                    </a:lnTo>
                    <a:lnTo>
                      <a:pt x="13" y="136"/>
                    </a:lnTo>
                    <a:lnTo>
                      <a:pt x="0" y="205"/>
                    </a:lnTo>
                    <a:lnTo>
                      <a:pt x="41" y="241"/>
                    </a:lnTo>
                    <a:lnTo>
                      <a:pt x="104" y="227"/>
                    </a:lnTo>
                    <a:lnTo>
                      <a:pt x="173" y="259"/>
                    </a:lnTo>
                    <a:lnTo>
                      <a:pt x="246" y="241"/>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3" name="Freeform 66"/>
              <p:cNvSpPr>
                <a:spLocks/>
              </p:cNvSpPr>
              <p:nvPr/>
            </p:nvSpPr>
            <p:spPr bwMode="auto">
              <a:xfrm>
                <a:off x="1690703" y="5165606"/>
                <a:ext cx="137792" cy="157008"/>
              </a:xfrm>
              <a:custGeom>
                <a:avLst/>
                <a:gdLst>
                  <a:gd name="T0" fmla="*/ 50 w 453"/>
                  <a:gd name="T1" fmla="*/ 57 h 300"/>
                  <a:gd name="T2" fmla="*/ 43 w 453"/>
                  <a:gd name="T3" fmla="*/ 48 h 300"/>
                  <a:gd name="T4" fmla="*/ 36 w 453"/>
                  <a:gd name="T5" fmla="*/ 38 h 300"/>
                  <a:gd name="T6" fmla="*/ 23 w 453"/>
                  <a:gd name="T7" fmla="*/ 29 h 300"/>
                  <a:gd name="T8" fmla="*/ 9 w 453"/>
                  <a:gd name="T9" fmla="*/ 31 h 300"/>
                  <a:gd name="T10" fmla="*/ 2 w 453"/>
                  <a:gd name="T11" fmla="*/ 22 h 300"/>
                  <a:gd name="T12" fmla="*/ 0 w 453"/>
                  <a:gd name="T13" fmla="*/ 13 h 300"/>
                  <a:gd name="T14" fmla="*/ 9 w 453"/>
                  <a:gd name="T15" fmla="*/ 5 h 300"/>
                  <a:gd name="T16" fmla="*/ 10 w 453"/>
                  <a:gd name="T17" fmla="*/ 0 h 300"/>
                  <a:gd name="T18" fmla="*/ 26 w 453"/>
                  <a:gd name="T19" fmla="*/ 5 h 300"/>
                  <a:gd name="T20" fmla="*/ 37 w 453"/>
                  <a:gd name="T21" fmla="*/ 9 h 300"/>
                  <a:gd name="T22" fmla="*/ 43 w 453"/>
                  <a:gd name="T23" fmla="*/ 5 h 300"/>
                  <a:gd name="T24" fmla="*/ 61 w 453"/>
                  <a:gd name="T25" fmla="*/ 2 h 300"/>
                  <a:gd name="T26" fmla="*/ 69 w 453"/>
                  <a:gd name="T27" fmla="*/ 13 h 300"/>
                  <a:gd name="T28" fmla="*/ 86 w 453"/>
                  <a:gd name="T29" fmla="*/ 22 h 300"/>
                  <a:gd name="T30" fmla="*/ 86 w 453"/>
                  <a:gd name="T31" fmla="*/ 39 h 300"/>
                  <a:gd name="T32" fmla="*/ 74 w 453"/>
                  <a:gd name="T33" fmla="*/ 49 h 300"/>
                  <a:gd name="T34" fmla="*/ 67 w 453"/>
                  <a:gd name="T35" fmla="*/ 50 h 300"/>
                  <a:gd name="T36" fmla="*/ 58 w 453"/>
                  <a:gd name="T37" fmla="*/ 51 h 300"/>
                  <a:gd name="T38" fmla="*/ 50 w 453"/>
                  <a:gd name="T39" fmla="*/ 57 h 3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53" h="300">
                    <a:moveTo>
                      <a:pt x="265" y="300"/>
                    </a:moveTo>
                    <a:lnTo>
                      <a:pt x="226" y="252"/>
                    </a:lnTo>
                    <a:lnTo>
                      <a:pt x="187" y="198"/>
                    </a:lnTo>
                    <a:lnTo>
                      <a:pt x="121" y="150"/>
                    </a:lnTo>
                    <a:lnTo>
                      <a:pt x="45" y="162"/>
                    </a:lnTo>
                    <a:lnTo>
                      <a:pt x="13" y="114"/>
                    </a:lnTo>
                    <a:lnTo>
                      <a:pt x="0" y="71"/>
                    </a:lnTo>
                    <a:lnTo>
                      <a:pt x="45" y="26"/>
                    </a:lnTo>
                    <a:lnTo>
                      <a:pt x="55" y="0"/>
                    </a:lnTo>
                    <a:lnTo>
                      <a:pt x="136" y="26"/>
                    </a:lnTo>
                    <a:lnTo>
                      <a:pt x="193" y="48"/>
                    </a:lnTo>
                    <a:lnTo>
                      <a:pt x="226" y="26"/>
                    </a:lnTo>
                    <a:lnTo>
                      <a:pt x="319" y="12"/>
                    </a:lnTo>
                    <a:lnTo>
                      <a:pt x="363" y="71"/>
                    </a:lnTo>
                    <a:lnTo>
                      <a:pt x="453" y="116"/>
                    </a:lnTo>
                    <a:lnTo>
                      <a:pt x="453" y="207"/>
                    </a:lnTo>
                    <a:lnTo>
                      <a:pt x="391" y="258"/>
                    </a:lnTo>
                    <a:lnTo>
                      <a:pt x="355" y="264"/>
                    </a:lnTo>
                    <a:lnTo>
                      <a:pt x="307" y="270"/>
                    </a:lnTo>
                    <a:lnTo>
                      <a:pt x="265" y="300"/>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4" name="Freeform 67"/>
              <p:cNvSpPr>
                <a:spLocks/>
              </p:cNvSpPr>
              <p:nvPr/>
            </p:nvSpPr>
            <p:spPr bwMode="auto">
              <a:xfrm>
                <a:off x="1599756" y="5144826"/>
                <a:ext cx="89626" cy="30224"/>
              </a:xfrm>
              <a:custGeom>
                <a:avLst/>
                <a:gdLst>
                  <a:gd name="T0" fmla="*/ 27 w 409"/>
                  <a:gd name="T1" fmla="*/ 2 h 136"/>
                  <a:gd name="T2" fmla="*/ 13 w 409"/>
                  <a:gd name="T3" fmla="*/ 0 h 136"/>
                  <a:gd name="T4" fmla="*/ 0 w 409"/>
                  <a:gd name="T5" fmla="*/ 9 h 136"/>
                  <a:gd name="T6" fmla="*/ 8 w 409"/>
                  <a:gd name="T7" fmla="*/ 21 h 136"/>
                  <a:gd name="T8" fmla="*/ 17 w 409"/>
                  <a:gd name="T9" fmla="*/ 26 h 136"/>
                  <a:gd name="T10" fmla="*/ 34 w 409"/>
                  <a:gd name="T11" fmla="*/ 17 h 136"/>
                  <a:gd name="T12" fmla="*/ 43 w 409"/>
                  <a:gd name="T13" fmla="*/ 17 h 136"/>
                  <a:gd name="T14" fmla="*/ 63 w 409"/>
                  <a:gd name="T15" fmla="*/ 22 h 136"/>
                  <a:gd name="T16" fmla="*/ 70 w 409"/>
                  <a:gd name="T17" fmla="*/ 19 h 136"/>
                  <a:gd name="T18" fmla="*/ 77 w 409"/>
                  <a:gd name="T19" fmla="*/ 17 h 136"/>
                  <a:gd name="T20" fmla="*/ 77 w 409"/>
                  <a:gd name="T21" fmla="*/ 9 h 136"/>
                  <a:gd name="T22" fmla="*/ 68 w 409"/>
                  <a:gd name="T23" fmla="*/ 0 h 136"/>
                  <a:gd name="T24" fmla="*/ 57 w 409"/>
                  <a:gd name="T25" fmla="*/ 3 h 136"/>
                  <a:gd name="T26" fmla="*/ 43 w 409"/>
                  <a:gd name="T27" fmla="*/ 9 h 136"/>
                  <a:gd name="T28" fmla="*/ 27 w 409"/>
                  <a:gd name="T29" fmla="*/ 2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09" h="136">
                    <a:moveTo>
                      <a:pt x="146" y="8"/>
                    </a:moveTo>
                    <a:lnTo>
                      <a:pt x="68" y="2"/>
                    </a:lnTo>
                    <a:lnTo>
                      <a:pt x="0" y="45"/>
                    </a:lnTo>
                    <a:lnTo>
                      <a:pt x="44" y="110"/>
                    </a:lnTo>
                    <a:lnTo>
                      <a:pt x="91" y="136"/>
                    </a:lnTo>
                    <a:lnTo>
                      <a:pt x="182" y="90"/>
                    </a:lnTo>
                    <a:lnTo>
                      <a:pt x="227" y="90"/>
                    </a:lnTo>
                    <a:lnTo>
                      <a:pt x="332" y="116"/>
                    </a:lnTo>
                    <a:lnTo>
                      <a:pt x="374" y="98"/>
                    </a:lnTo>
                    <a:lnTo>
                      <a:pt x="409" y="90"/>
                    </a:lnTo>
                    <a:lnTo>
                      <a:pt x="409" y="45"/>
                    </a:lnTo>
                    <a:lnTo>
                      <a:pt x="363" y="0"/>
                    </a:lnTo>
                    <a:lnTo>
                      <a:pt x="302" y="14"/>
                    </a:lnTo>
                    <a:lnTo>
                      <a:pt x="227" y="45"/>
                    </a:lnTo>
                    <a:lnTo>
                      <a:pt x="146" y="8"/>
                    </a:lnTo>
                    <a:close/>
                  </a:path>
                </a:pathLst>
              </a:custGeom>
              <a:solidFill>
                <a:srgbClr val="C4B79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85" name="Freeform 68"/>
              <p:cNvSpPr>
                <a:spLocks/>
              </p:cNvSpPr>
              <p:nvPr/>
            </p:nvSpPr>
            <p:spPr bwMode="auto">
              <a:xfrm>
                <a:off x="1518810" y="5254546"/>
                <a:ext cx="88188" cy="51238"/>
              </a:xfrm>
              <a:custGeom>
                <a:avLst/>
                <a:gdLst>
                  <a:gd name="T0" fmla="*/ 31 w 162"/>
                  <a:gd name="T1" fmla="*/ 13 h 181"/>
                  <a:gd name="T2" fmla="*/ 17 w 162"/>
                  <a:gd name="T3" fmla="*/ 9 h 181"/>
                  <a:gd name="T4" fmla="*/ 9 w 162"/>
                  <a:gd name="T5" fmla="*/ 0 h 181"/>
                  <a:gd name="T6" fmla="*/ 0 w 162"/>
                  <a:gd name="T7" fmla="*/ 9 h 181"/>
                  <a:gd name="T8" fmla="*/ 7 w 162"/>
                  <a:gd name="T9" fmla="*/ 23 h 181"/>
                  <a:gd name="T10" fmla="*/ 13 w 162"/>
                  <a:gd name="T11" fmla="*/ 32 h 181"/>
                  <a:gd name="T12" fmla="*/ 20 w 162"/>
                  <a:gd name="T13" fmla="*/ 35 h 181"/>
                  <a:gd name="T14" fmla="*/ 29 w 162"/>
                  <a:gd name="T15" fmla="*/ 25 h 181"/>
                  <a:gd name="T16" fmla="*/ 31 w 162"/>
                  <a:gd name="T17" fmla="*/ 1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2" h="181">
                    <a:moveTo>
                      <a:pt x="162" y="67"/>
                    </a:moveTo>
                    <a:lnTo>
                      <a:pt x="91" y="45"/>
                    </a:lnTo>
                    <a:lnTo>
                      <a:pt x="45" y="0"/>
                    </a:lnTo>
                    <a:lnTo>
                      <a:pt x="0" y="45"/>
                    </a:lnTo>
                    <a:lnTo>
                      <a:pt x="36" y="121"/>
                    </a:lnTo>
                    <a:lnTo>
                      <a:pt x="66" y="163"/>
                    </a:lnTo>
                    <a:lnTo>
                      <a:pt x="102" y="181"/>
                    </a:lnTo>
                    <a:lnTo>
                      <a:pt x="150" y="127"/>
                    </a:lnTo>
                    <a:lnTo>
                      <a:pt x="162" y="67"/>
                    </a:lnTo>
                    <a:close/>
                  </a:path>
                </a:pathLst>
              </a:custGeom>
              <a:solidFill>
                <a:schemeClr val="accent3">
                  <a:lumMod val="5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grpSp>
      </p:grpSp>
      <p:sp>
        <p:nvSpPr>
          <p:cNvPr id="101" name="Rectangle 100"/>
          <p:cNvSpPr/>
          <p:nvPr/>
        </p:nvSpPr>
        <p:spPr>
          <a:xfrm>
            <a:off x="1647328" y="4145995"/>
            <a:ext cx="1843725" cy="37807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Rectangle 86"/>
          <p:cNvSpPr/>
          <p:nvPr/>
        </p:nvSpPr>
        <p:spPr>
          <a:xfrm>
            <a:off x="652796" y="3531007"/>
            <a:ext cx="2148212" cy="25748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TextBox 87"/>
          <p:cNvSpPr txBox="1"/>
          <p:nvPr/>
        </p:nvSpPr>
        <p:spPr>
          <a:xfrm>
            <a:off x="542198" y="3561421"/>
            <a:ext cx="2426404" cy="2462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Jim Hammack (Northern CA, Coastal CA) </a:t>
            </a:r>
          </a:p>
        </p:txBody>
      </p:sp>
      <p:sp>
        <p:nvSpPr>
          <p:cNvPr id="100" name="TextBox 99"/>
          <p:cNvSpPr txBox="1"/>
          <p:nvPr/>
        </p:nvSpPr>
        <p:spPr>
          <a:xfrm>
            <a:off x="1620096" y="4119032"/>
            <a:ext cx="189735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Dr. Dawn Miller (LA Basin, Orange County , San Diego</a:t>
            </a:r>
            <a:r>
              <a:rPr kumimoji="0" lang="en-US" sz="900" b="1" i="0" u="none" strike="noStrike" kern="1200" cap="none" spc="0" normalizeH="0" baseline="0" noProof="0">
                <a:ln>
                  <a:noFill/>
                </a:ln>
                <a:solidFill>
                  <a:prstClr val="white"/>
                </a:solidFill>
                <a:effectLst/>
                <a:uLnTx/>
                <a:uFillTx/>
                <a:latin typeface="Calibri"/>
                <a:ea typeface="+mn-ea"/>
                <a:cs typeface="+mn-cs"/>
              </a:rPr>
              <a:t>) </a:t>
            </a:r>
          </a:p>
        </p:txBody>
      </p:sp>
      <p:sp>
        <p:nvSpPr>
          <p:cNvPr id="102" name="Rectangle 101"/>
          <p:cNvSpPr/>
          <p:nvPr/>
        </p:nvSpPr>
        <p:spPr>
          <a:xfrm>
            <a:off x="2973775" y="3535195"/>
            <a:ext cx="1533089" cy="30067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3" name="TextBox 102"/>
          <p:cNvSpPr txBox="1"/>
          <p:nvPr/>
        </p:nvSpPr>
        <p:spPr>
          <a:xfrm>
            <a:off x="2993945" y="3502386"/>
            <a:ext cx="156123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Doug Miller (NV, UT, AZ, San Andreas - CA) </a:t>
            </a:r>
          </a:p>
        </p:txBody>
      </p:sp>
      <p:sp>
        <p:nvSpPr>
          <p:cNvPr id="107" name="Rectangle 106"/>
          <p:cNvSpPr/>
          <p:nvPr/>
        </p:nvSpPr>
        <p:spPr>
          <a:xfrm>
            <a:off x="656414" y="2285905"/>
            <a:ext cx="2052139" cy="269670"/>
          </a:xfrm>
          <a:prstGeom prst="rect">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5" name="TextBox 104"/>
          <p:cNvSpPr txBox="1"/>
          <p:nvPr/>
        </p:nvSpPr>
        <p:spPr>
          <a:xfrm>
            <a:off x="367086" y="2308083"/>
            <a:ext cx="2679777" cy="2462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Ann Farrell  (WA, AK, OR, ID</a:t>
            </a:r>
            <a:r>
              <a:rPr kumimoji="0" lang="en-US" sz="900" b="1" i="0" u="none" strike="noStrike" kern="1200" cap="none" spc="0" normalizeH="0" baseline="0" noProof="0">
                <a:ln>
                  <a:noFill/>
                </a:ln>
                <a:solidFill>
                  <a:srgbClr val="FFFFFF"/>
                </a:solidFill>
                <a:effectLst/>
                <a:uLnTx/>
                <a:uFillTx/>
                <a:latin typeface="Calibri"/>
                <a:ea typeface="+mn-ea"/>
                <a:cs typeface="+mn-cs"/>
              </a:rPr>
              <a:t>)</a:t>
            </a:r>
            <a:r>
              <a:rPr kumimoji="0" lang="en-US" sz="700" b="1" i="0" u="none" strike="noStrike" kern="1200" cap="none" spc="0" normalizeH="0" baseline="0" noProof="0">
                <a:ln>
                  <a:noFill/>
                </a:ln>
                <a:solidFill>
                  <a:srgbClr val="FFFFFF"/>
                </a:solidFill>
                <a:effectLst/>
                <a:uLnTx/>
                <a:uFillTx/>
                <a:latin typeface="Calibri"/>
                <a:ea typeface="+mn-ea"/>
                <a:cs typeface="+mn-cs"/>
              </a:rPr>
              <a:t> </a:t>
            </a:r>
          </a:p>
        </p:txBody>
      </p:sp>
      <p:sp>
        <p:nvSpPr>
          <p:cNvPr id="115" name="Rectangle 114"/>
          <p:cNvSpPr/>
          <p:nvPr/>
        </p:nvSpPr>
        <p:spPr>
          <a:xfrm>
            <a:off x="5370453" y="4886745"/>
            <a:ext cx="1622404" cy="564300"/>
          </a:xfrm>
          <a:prstGeom prst="rect">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3" name="TextBox 112"/>
          <p:cNvSpPr txBox="1"/>
          <p:nvPr/>
        </p:nvSpPr>
        <p:spPr>
          <a:xfrm>
            <a:off x="5312527" y="4890447"/>
            <a:ext cx="1654388" cy="55399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Tony Trevino Jr. (TX:</a:t>
            </a:r>
            <a:r>
              <a:rPr kumimoji="0" lang="en-US" sz="1000" b="1" i="0" u="none" strike="noStrike" kern="1200" cap="none" spc="0" normalizeH="0" baseline="0" noProof="0" err="1">
                <a:ln>
                  <a:noFill/>
                </a:ln>
                <a:solidFill>
                  <a:srgbClr val="FFFFFF"/>
                </a:solidFill>
                <a:effectLst/>
                <a:uLnTx/>
                <a:uFillTx/>
                <a:latin typeface="Calibri"/>
                <a:ea typeface="+mn-ea"/>
                <a:cs typeface="+mn-cs"/>
              </a:rPr>
              <a:t>Nor.TX</a:t>
            </a:r>
            <a:r>
              <a:rPr kumimoji="0" lang="en-US" sz="1000" b="1" i="0" u="none" strike="noStrike" kern="1200" cap="none" spc="0" normalizeH="0" baseline="0" noProof="0">
                <a:ln>
                  <a:noFill/>
                </a:ln>
                <a:solidFill>
                  <a:srgbClr val="FFFFFF"/>
                </a:solidFill>
                <a:effectLst/>
                <a:uLnTx/>
                <a:uFillTx/>
                <a:latin typeface="Calibri"/>
                <a:ea typeface="+mn-ea"/>
                <a:cs typeface="+mn-cs"/>
              </a:rPr>
              <a:t>,  East TX, South TX, West TX.)</a:t>
            </a:r>
          </a:p>
        </p:txBody>
      </p:sp>
      <p:sp>
        <p:nvSpPr>
          <p:cNvPr id="117" name="Rectangle 116"/>
          <p:cNvSpPr/>
          <p:nvPr/>
        </p:nvSpPr>
        <p:spPr>
          <a:xfrm>
            <a:off x="8245880" y="4802801"/>
            <a:ext cx="1151975" cy="35692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9" name="Rectangle 118"/>
          <p:cNvSpPr/>
          <p:nvPr/>
        </p:nvSpPr>
        <p:spPr>
          <a:xfrm>
            <a:off x="9130267" y="4232917"/>
            <a:ext cx="1576354" cy="21242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0" name="Rectangle 119"/>
          <p:cNvSpPr/>
          <p:nvPr/>
        </p:nvSpPr>
        <p:spPr>
          <a:xfrm>
            <a:off x="7454641" y="3995988"/>
            <a:ext cx="1372435" cy="29389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2" name="Rectangle 121"/>
          <p:cNvSpPr/>
          <p:nvPr/>
        </p:nvSpPr>
        <p:spPr>
          <a:xfrm>
            <a:off x="5921035" y="3061285"/>
            <a:ext cx="1554695" cy="18160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3" name="Rectangle 122"/>
          <p:cNvSpPr/>
          <p:nvPr/>
        </p:nvSpPr>
        <p:spPr>
          <a:xfrm>
            <a:off x="5876097" y="4461068"/>
            <a:ext cx="1626201" cy="20612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4" name="Rectangle 123"/>
          <p:cNvSpPr/>
          <p:nvPr/>
        </p:nvSpPr>
        <p:spPr>
          <a:xfrm>
            <a:off x="4315228" y="4531967"/>
            <a:ext cx="936224" cy="300411"/>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2" name="TextBox 111"/>
          <p:cNvSpPr txBox="1"/>
          <p:nvPr/>
        </p:nvSpPr>
        <p:spPr>
          <a:xfrm>
            <a:off x="4254332" y="4520262"/>
            <a:ext cx="1006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VACANT (CO, NM)</a:t>
            </a:r>
          </a:p>
        </p:txBody>
      </p:sp>
      <p:sp>
        <p:nvSpPr>
          <p:cNvPr id="111" name="TextBox 110"/>
          <p:cNvSpPr txBox="1"/>
          <p:nvPr/>
        </p:nvSpPr>
        <p:spPr>
          <a:xfrm>
            <a:off x="5665129" y="4405615"/>
            <a:ext cx="185754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Jim Petty  (AR, KS, OK)</a:t>
            </a:r>
          </a:p>
        </p:txBody>
      </p:sp>
      <p:sp>
        <p:nvSpPr>
          <p:cNvPr id="129" name="Rectangle 128"/>
          <p:cNvSpPr/>
          <p:nvPr/>
        </p:nvSpPr>
        <p:spPr>
          <a:xfrm>
            <a:off x="6233239" y="2489784"/>
            <a:ext cx="1776744" cy="21407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0" name="Rectangle 129"/>
          <p:cNvSpPr/>
          <p:nvPr/>
        </p:nvSpPr>
        <p:spPr>
          <a:xfrm>
            <a:off x="6090837" y="1947203"/>
            <a:ext cx="1224221" cy="16533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1" name="Rectangle 130"/>
          <p:cNvSpPr/>
          <p:nvPr/>
        </p:nvSpPr>
        <p:spPr>
          <a:xfrm>
            <a:off x="4926882" y="2142323"/>
            <a:ext cx="1628992" cy="304297"/>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Jim Franklin, (GMAC, MO) </a:t>
            </a:r>
          </a:p>
        </p:txBody>
      </p:sp>
      <p:sp>
        <p:nvSpPr>
          <p:cNvPr id="132" name="TextBox 131"/>
          <p:cNvSpPr txBox="1"/>
          <p:nvPr/>
        </p:nvSpPr>
        <p:spPr>
          <a:xfrm>
            <a:off x="6059989" y="1889066"/>
            <a:ext cx="132501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Guy Smith (IL, WI)</a:t>
            </a:r>
          </a:p>
        </p:txBody>
      </p:sp>
      <p:sp>
        <p:nvSpPr>
          <p:cNvPr id="133" name="TextBox 132"/>
          <p:cNvSpPr txBox="1"/>
          <p:nvPr/>
        </p:nvSpPr>
        <p:spPr>
          <a:xfrm>
            <a:off x="6088435" y="2481928"/>
            <a:ext cx="194682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Don Harbaugh (MI, OH, WV) </a:t>
            </a:r>
          </a:p>
        </p:txBody>
      </p:sp>
      <p:sp>
        <p:nvSpPr>
          <p:cNvPr id="136" name="TextBox 135"/>
          <p:cNvSpPr txBox="1"/>
          <p:nvPr/>
        </p:nvSpPr>
        <p:spPr>
          <a:xfrm>
            <a:off x="5888351" y="3036078"/>
            <a:ext cx="166183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Richard Peterson (IN, KY)</a:t>
            </a:r>
          </a:p>
        </p:txBody>
      </p:sp>
      <p:sp>
        <p:nvSpPr>
          <p:cNvPr id="138" name="TextBox 137"/>
          <p:cNvSpPr txBox="1"/>
          <p:nvPr/>
        </p:nvSpPr>
        <p:spPr>
          <a:xfrm>
            <a:off x="8350889" y="4755393"/>
            <a:ext cx="18216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Jon Ander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 (AL, LA, MS</a:t>
            </a:r>
            <a:r>
              <a:rPr kumimoji="0" lang="en-US" sz="900" b="1" i="0" u="none" strike="noStrike" kern="1200" cap="none" spc="0" normalizeH="0" baseline="0" noProof="0">
                <a:ln>
                  <a:noFill/>
                </a:ln>
                <a:solidFill>
                  <a:prstClr val="white"/>
                </a:solidFill>
                <a:effectLst/>
                <a:uLnTx/>
                <a:uFillTx/>
                <a:latin typeface="Calibri"/>
                <a:ea typeface="+mn-ea"/>
                <a:cs typeface="+mn-cs"/>
              </a:rPr>
              <a:t>) </a:t>
            </a:r>
          </a:p>
        </p:txBody>
      </p:sp>
      <p:sp>
        <p:nvSpPr>
          <p:cNvPr id="140" name="TextBox 139"/>
          <p:cNvSpPr txBox="1"/>
          <p:nvPr/>
        </p:nvSpPr>
        <p:spPr>
          <a:xfrm>
            <a:off x="8991175" y="4213736"/>
            <a:ext cx="1908954" cy="24622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Jim Newland (GA, SC )</a:t>
            </a:r>
            <a:endParaRPr kumimoji="0" lang="en-US" sz="900" b="1" i="0" u="none" strike="noStrike" kern="1200" cap="none" spc="0" normalizeH="0" baseline="0" noProof="0">
              <a:ln>
                <a:noFill/>
              </a:ln>
              <a:solidFill>
                <a:srgbClr val="FFFFFF"/>
              </a:solidFill>
              <a:effectLst/>
              <a:uLnTx/>
              <a:uFillTx/>
              <a:latin typeface="Calibri"/>
              <a:ea typeface="+mn-ea"/>
              <a:cs typeface="+mn-cs"/>
            </a:endParaRPr>
          </a:p>
        </p:txBody>
      </p:sp>
      <p:sp>
        <p:nvSpPr>
          <p:cNvPr id="142" name="TextBox 141"/>
          <p:cNvSpPr txBox="1"/>
          <p:nvPr/>
        </p:nvSpPr>
        <p:spPr>
          <a:xfrm>
            <a:off x="7333688" y="3932375"/>
            <a:ext cx="1541286" cy="4001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Tony Mels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 (NC, TN, VA-DC</a:t>
            </a:r>
            <a:r>
              <a:rPr kumimoji="0" lang="en-US" sz="800" b="1" i="0" u="none" strike="noStrike" kern="1200" cap="none" spc="0" normalizeH="0" baseline="0" noProof="0">
                <a:ln>
                  <a:noFill/>
                </a:ln>
                <a:solidFill>
                  <a:prstClr val="white"/>
                </a:solidFill>
                <a:effectLst/>
                <a:uLnTx/>
                <a:uFillTx/>
                <a:latin typeface="Calibri"/>
                <a:ea typeface="+mn-ea"/>
                <a:cs typeface="+mn-cs"/>
              </a:rPr>
              <a:t>) </a:t>
            </a:r>
            <a:endParaRPr kumimoji="0" lang="en-US" sz="800" b="1" i="0" u="none" strike="noStrike" kern="1200" cap="none" spc="0" normalizeH="0" baseline="0" noProof="0">
              <a:ln>
                <a:noFill/>
              </a:ln>
              <a:solidFill>
                <a:prstClr val="white"/>
              </a:solidFill>
              <a:effectLst/>
              <a:uLnTx/>
              <a:uFillTx/>
              <a:latin typeface="Calibri"/>
              <a:ea typeface="+mn-ea"/>
              <a:cs typeface="Calibri"/>
            </a:endParaRPr>
          </a:p>
        </p:txBody>
      </p:sp>
      <p:sp>
        <p:nvSpPr>
          <p:cNvPr id="144" name="Rectangle 143"/>
          <p:cNvSpPr/>
          <p:nvPr/>
        </p:nvSpPr>
        <p:spPr>
          <a:xfrm flipV="1">
            <a:off x="7624657" y="1981255"/>
            <a:ext cx="1766503" cy="34031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5" name="Rectangle 144"/>
          <p:cNvSpPr/>
          <p:nvPr/>
        </p:nvSpPr>
        <p:spPr>
          <a:xfrm>
            <a:off x="9162950" y="2453459"/>
            <a:ext cx="1367302" cy="27857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6" name="Rectangle 145"/>
          <p:cNvSpPr/>
          <p:nvPr/>
        </p:nvSpPr>
        <p:spPr>
          <a:xfrm>
            <a:off x="7608069" y="3198167"/>
            <a:ext cx="1383717" cy="43559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7" name="Rectangle 146"/>
          <p:cNvSpPr/>
          <p:nvPr/>
        </p:nvSpPr>
        <p:spPr>
          <a:xfrm>
            <a:off x="9089740" y="2861743"/>
            <a:ext cx="1553898" cy="362926"/>
          </a:xfrm>
          <a:prstGeom prst="rect">
            <a:avLst/>
          </a:prstGeom>
          <a:solidFill>
            <a:srgbClr val="1F497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8" name="TextBox 147"/>
          <p:cNvSpPr txBox="1"/>
          <p:nvPr/>
        </p:nvSpPr>
        <p:spPr>
          <a:xfrm>
            <a:off x="9116211" y="2833675"/>
            <a:ext cx="141549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Joseph A. Pagliaro, J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CT, RI)</a:t>
            </a:r>
          </a:p>
        </p:txBody>
      </p:sp>
      <p:sp>
        <p:nvSpPr>
          <p:cNvPr id="149" name="TextBox 148"/>
          <p:cNvSpPr txBox="1"/>
          <p:nvPr/>
        </p:nvSpPr>
        <p:spPr>
          <a:xfrm>
            <a:off x="7436965" y="3198110"/>
            <a:ext cx="17561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Phil Jacks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 (DE, MD, NJ, PA)</a:t>
            </a:r>
          </a:p>
        </p:txBody>
      </p:sp>
      <p:sp>
        <p:nvSpPr>
          <p:cNvPr id="150" name="TextBox 149"/>
          <p:cNvSpPr txBox="1"/>
          <p:nvPr/>
        </p:nvSpPr>
        <p:spPr>
          <a:xfrm>
            <a:off x="9089418" y="2476085"/>
            <a:ext cx="2264081"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Harry Malone  (NNE, MA</a:t>
            </a:r>
            <a:r>
              <a:rPr kumimoji="0" lang="en-US" sz="900" b="1" i="0" u="none" strike="noStrike" kern="1200" cap="none" spc="0" normalizeH="0" baseline="0" noProof="0">
                <a:ln>
                  <a:noFill/>
                </a:ln>
                <a:solidFill>
                  <a:prstClr val="white"/>
                </a:solidFill>
                <a:effectLst/>
                <a:uLnTx/>
                <a:uFillTx/>
                <a:latin typeface="Calibri"/>
                <a:ea typeface="+mn-ea"/>
                <a:cs typeface="+mn-cs"/>
              </a:rPr>
              <a:t>) </a:t>
            </a:r>
            <a:endParaRPr kumimoji="0" lang="en-US" sz="900" b="1" i="0" u="none" strike="noStrike" kern="1200" cap="none" spc="0" normalizeH="0" baseline="0" noProof="0">
              <a:ln>
                <a:noFill/>
              </a:ln>
              <a:solidFill>
                <a:prstClr val="white"/>
              </a:solidFill>
              <a:effectLst/>
              <a:uLnTx/>
              <a:uFillTx/>
              <a:latin typeface="Calibri"/>
              <a:ea typeface="+mn-ea"/>
              <a:cs typeface="Calibri"/>
            </a:endParaRPr>
          </a:p>
        </p:txBody>
      </p:sp>
      <p:sp>
        <p:nvSpPr>
          <p:cNvPr id="151" name="TextBox 150"/>
          <p:cNvSpPr txBox="1"/>
          <p:nvPr/>
        </p:nvSpPr>
        <p:spPr>
          <a:xfrm>
            <a:off x="7526396" y="1962050"/>
            <a:ext cx="193072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VACANT (NY: Eastern, Western, NY/Long Island, Puerto Rico)</a:t>
            </a:r>
          </a:p>
        </p:txBody>
      </p:sp>
      <p:sp>
        <p:nvSpPr>
          <p:cNvPr id="114" name="Rectangle 113"/>
          <p:cNvSpPr/>
          <p:nvPr/>
        </p:nvSpPr>
        <p:spPr>
          <a:xfrm>
            <a:off x="5379236" y="3622680"/>
            <a:ext cx="1613017" cy="24467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0" name="TextBox 109"/>
          <p:cNvSpPr txBox="1"/>
          <p:nvPr/>
        </p:nvSpPr>
        <p:spPr>
          <a:xfrm>
            <a:off x="5326122" y="3596819"/>
            <a:ext cx="152355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Jan Cundy (MT,WY</a:t>
            </a:r>
            <a:r>
              <a:rPr kumimoji="0" lang="en-US" sz="800" b="1" i="0" u="none" strike="noStrike" kern="1200" cap="none" spc="0" normalizeH="0" baseline="0" noProof="0">
                <a:ln>
                  <a:noFill/>
                </a:ln>
                <a:solidFill>
                  <a:prstClr val="white"/>
                </a:solidFill>
                <a:effectLst/>
                <a:uLnTx/>
                <a:uFillTx/>
                <a:latin typeface="Calibri"/>
                <a:ea typeface="+mn-ea"/>
                <a:cs typeface="+mn-cs"/>
              </a:rPr>
              <a:t>)</a:t>
            </a:r>
          </a:p>
        </p:txBody>
      </p:sp>
      <p:sp>
        <p:nvSpPr>
          <p:cNvPr id="64" name="Rectangle 63"/>
          <p:cNvSpPr/>
          <p:nvPr/>
        </p:nvSpPr>
        <p:spPr>
          <a:xfrm>
            <a:off x="9659945" y="4766799"/>
            <a:ext cx="1265971" cy="246221"/>
          </a:xfrm>
          <a:prstGeom prst="rect">
            <a:avLst/>
          </a:prstGeom>
          <a:solidFill>
            <a:srgbClr val="1F497D"/>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Calibri"/>
                <a:ea typeface="+mn-ea"/>
                <a:cs typeface="+mn-cs"/>
              </a:rPr>
              <a:t>Arthur Cullen (FL)</a:t>
            </a: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137" name="Freeform 24">
            <a:extLst>
              <a:ext uri="{FF2B5EF4-FFF2-40B4-BE49-F238E27FC236}">
                <a16:creationId xmlns:a16="http://schemas.microsoft.com/office/drawing/2014/main" id="{9F4A2769-0B75-4E8B-BC99-026EB2BA9A1A}"/>
              </a:ext>
            </a:extLst>
          </p:cNvPr>
          <p:cNvSpPr>
            <a:spLocks/>
          </p:cNvSpPr>
          <p:nvPr/>
        </p:nvSpPr>
        <p:spPr bwMode="auto">
          <a:xfrm rot="16485188">
            <a:off x="11103903" y="2851701"/>
            <a:ext cx="149371" cy="394881"/>
          </a:xfrm>
          <a:custGeom>
            <a:avLst/>
            <a:gdLst>
              <a:gd name="T0" fmla="*/ 40 w 1641"/>
              <a:gd name="T1" fmla="*/ 30 h 2721"/>
              <a:gd name="T2" fmla="*/ 56 w 1641"/>
              <a:gd name="T3" fmla="*/ 52 h 2721"/>
              <a:gd name="T4" fmla="*/ 76 w 1641"/>
              <a:gd name="T5" fmla="*/ 73 h 2721"/>
              <a:gd name="T6" fmla="*/ 83 w 1641"/>
              <a:gd name="T7" fmla="*/ 100 h 2721"/>
              <a:gd name="T8" fmla="*/ 63 w 1641"/>
              <a:gd name="T9" fmla="*/ 123 h 2721"/>
              <a:gd name="T10" fmla="*/ 38 w 1641"/>
              <a:gd name="T11" fmla="*/ 135 h 2721"/>
              <a:gd name="T12" fmla="*/ 12 w 1641"/>
              <a:gd name="T13" fmla="*/ 135 h 2721"/>
              <a:gd name="T14" fmla="*/ 28 w 1641"/>
              <a:gd name="T15" fmla="*/ 164 h 2721"/>
              <a:gd name="T16" fmla="*/ 20 w 1641"/>
              <a:gd name="T17" fmla="*/ 193 h 2721"/>
              <a:gd name="T18" fmla="*/ 6 w 1641"/>
              <a:gd name="T19" fmla="*/ 220 h 2721"/>
              <a:gd name="T20" fmla="*/ 0 w 1641"/>
              <a:gd name="T21" fmla="*/ 240 h 2721"/>
              <a:gd name="T22" fmla="*/ 6 w 1641"/>
              <a:gd name="T23" fmla="*/ 270 h 2721"/>
              <a:gd name="T24" fmla="*/ 23 w 1641"/>
              <a:gd name="T25" fmla="*/ 293 h 2721"/>
              <a:gd name="T26" fmla="*/ 41 w 1641"/>
              <a:gd name="T27" fmla="*/ 305 h 2721"/>
              <a:gd name="T28" fmla="*/ 63 w 1641"/>
              <a:gd name="T29" fmla="*/ 333 h 2721"/>
              <a:gd name="T30" fmla="*/ 82 w 1641"/>
              <a:gd name="T31" fmla="*/ 348 h 2721"/>
              <a:gd name="T32" fmla="*/ 100 w 1641"/>
              <a:gd name="T33" fmla="*/ 353 h 2721"/>
              <a:gd name="T34" fmla="*/ 115 w 1641"/>
              <a:gd name="T35" fmla="*/ 362 h 2721"/>
              <a:gd name="T36" fmla="*/ 111 w 1641"/>
              <a:gd name="T37" fmla="*/ 387 h 2721"/>
              <a:gd name="T38" fmla="*/ 103 w 1641"/>
              <a:gd name="T39" fmla="*/ 407 h 2721"/>
              <a:gd name="T40" fmla="*/ 121 w 1641"/>
              <a:gd name="T41" fmla="*/ 430 h 2721"/>
              <a:gd name="T42" fmla="*/ 143 w 1641"/>
              <a:gd name="T43" fmla="*/ 441 h 2721"/>
              <a:gd name="T44" fmla="*/ 172 w 1641"/>
              <a:gd name="T45" fmla="*/ 464 h 2721"/>
              <a:gd name="T46" fmla="*/ 177 w 1641"/>
              <a:gd name="T47" fmla="*/ 492 h 2721"/>
              <a:gd name="T48" fmla="*/ 194 w 1641"/>
              <a:gd name="T49" fmla="*/ 515 h 2721"/>
              <a:gd name="T50" fmla="*/ 194 w 1641"/>
              <a:gd name="T51" fmla="*/ 515 h 2721"/>
              <a:gd name="T52" fmla="*/ 220 w 1641"/>
              <a:gd name="T53" fmla="*/ 504 h 2721"/>
              <a:gd name="T54" fmla="*/ 235 w 1641"/>
              <a:gd name="T55" fmla="*/ 498 h 2721"/>
              <a:gd name="T56" fmla="*/ 254 w 1641"/>
              <a:gd name="T57" fmla="*/ 487 h 2721"/>
              <a:gd name="T58" fmla="*/ 271 w 1641"/>
              <a:gd name="T59" fmla="*/ 476 h 2721"/>
              <a:gd name="T60" fmla="*/ 285 w 1641"/>
              <a:gd name="T61" fmla="*/ 460 h 2721"/>
              <a:gd name="T62" fmla="*/ 284 w 1641"/>
              <a:gd name="T63" fmla="*/ 441 h 2721"/>
              <a:gd name="T64" fmla="*/ 285 w 1641"/>
              <a:gd name="T65" fmla="*/ 403 h 2721"/>
              <a:gd name="T66" fmla="*/ 305 w 1641"/>
              <a:gd name="T67" fmla="*/ 351 h 2721"/>
              <a:gd name="T68" fmla="*/ 300 w 1641"/>
              <a:gd name="T69" fmla="*/ 316 h 2721"/>
              <a:gd name="T70" fmla="*/ 294 w 1641"/>
              <a:gd name="T71" fmla="*/ 278 h 2721"/>
              <a:gd name="T72" fmla="*/ 311 w 1641"/>
              <a:gd name="T73" fmla="*/ 249 h 2721"/>
              <a:gd name="T74" fmla="*/ 300 w 1641"/>
              <a:gd name="T75" fmla="*/ 209 h 2721"/>
              <a:gd name="T76" fmla="*/ 298 w 1641"/>
              <a:gd name="T77" fmla="*/ 176 h 2721"/>
              <a:gd name="T78" fmla="*/ 285 w 1641"/>
              <a:gd name="T79" fmla="*/ 141 h 2721"/>
              <a:gd name="T80" fmla="*/ 273 w 1641"/>
              <a:gd name="T81" fmla="*/ 103 h 2721"/>
              <a:gd name="T82" fmla="*/ 271 w 1641"/>
              <a:gd name="T83" fmla="*/ 67 h 2721"/>
              <a:gd name="T84" fmla="*/ 248 w 1641"/>
              <a:gd name="T85" fmla="*/ 44 h 2721"/>
              <a:gd name="T86" fmla="*/ 236 w 1641"/>
              <a:gd name="T87" fmla="*/ 0 h 2721"/>
              <a:gd name="T88" fmla="*/ 40 w 1641"/>
              <a:gd name="T89" fmla="*/ 30 h 27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41" h="2721">
                <a:moveTo>
                  <a:pt x="213" y="160"/>
                </a:moveTo>
                <a:lnTo>
                  <a:pt x="298" y="274"/>
                </a:lnTo>
                <a:lnTo>
                  <a:pt x="399" y="384"/>
                </a:lnTo>
                <a:lnTo>
                  <a:pt x="438" y="529"/>
                </a:lnTo>
                <a:lnTo>
                  <a:pt x="333" y="652"/>
                </a:lnTo>
                <a:lnTo>
                  <a:pt x="201" y="712"/>
                </a:lnTo>
                <a:lnTo>
                  <a:pt x="61" y="711"/>
                </a:lnTo>
                <a:lnTo>
                  <a:pt x="150" y="864"/>
                </a:lnTo>
                <a:lnTo>
                  <a:pt x="105" y="1020"/>
                </a:lnTo>
                <a:lnTo>
                  <a:pt x="31" y="1162"/>
                </a:lnTo>
                <a:lnTo>
                  <a:pt x="0" y="1270"/>
                </a:lnTo>
                <a:lnTo>
                  <a:pt x="34" y="1428"/>
                </a:lnTo>
                <a:lnTo>
                  <a:pt x="120" y="1550"/>
                </a:lnTo>
                <a:lnTo>
                  <a:pt x="216" y="1611"/>
                </a:lnTo>
                <a:lnTo>
                  <a:pt x="333" y="1757"/>
                </a:lnTo>
                <a:lnTo>
                  <a:pt x="433" y="1839"/>
                </a:lnTo>
                <a:lnTo>
                  <a:pt x="529" y="1863"/>
                </a:lnTo>
                <a:lnTo>
                  <a:pt x="605" y="1910"/>
                </a:lnTo>
                <a:lnTo>
                  <a:pt x="587" y="2045"/>
                </a:lnTo>
                <a:lnTo>
                  <a:pt x="543" y="2153"/>
                </a:lnTo>
                <a:lnTo>
                  <a:pt x="636" y="2270"/>
                </a:lnTo>
                <a:lnTo>
                  <a:pt x="756" y="2331"/>
                </a:lnTo>
                <a:lnTo>
                  <a:pt x="906" y="2451"/>
                </a:lnTo>
                <a:lnTo>
                  <a:pt x="933" y="2597"/>
                </a:lnTo>
                <a:lnTo>
                  <a:pt x="1023" y="2720"/>
                </a:lnTo>
                <a:lnTo>
                  <a:pt x="1022" y="2721"/>
                </a:lnTo>
                <a:lnTo>
                  <a:pt x="1161" y="2664"/>
                </a:lnTo>
                <a:lnTo>
                  <a:pt x="1238" y="2631"/>
                </a:lnTo>
                <a:lnTo>
                  <a:pt x="1341" y="2574"/>
                </a:lnTo>
                <a:lnTo>
                  <a:pt x="1431" y="2514"/>
                </a:lnTo>
                <a:lnTo>
                  <a:pt x="1502" y="2431"/>
                </a:lnTo>
                <a:lnTo>
                  <a:pt x="1496" y="2330"/>
                </a:lnTo>
                <a:lnTo>
                  <a:pt x="1502" y="2127"/>
                </a:lnTo>
                <a:lnTo>
                  <a:pt x="1611" y="1854"/>
                </a:lnTo>
                <a:lnTo>
                  <a:pt x="1582" y="1671"/>
                </a:lnTo>
                <a:lnTo>
                  <a:pt x="1550" y="1471"/>
                </a:lnTo>
                <a:lnTo>
                  <a:pt x="1641" y="1314"/>
                </a:lnTo>
                <a:lnTo>
                  <a:pt x="1582" y="1104"/>
                </a:lnTo>
                <a:lnTo>
                  <a:pt x="1574" y="928"/>
                </a:lnTo>
                <a:lnTo>
                  <a:pt x="1502" y="744"/>
                </a:lnTo>
                <a:lnTo>
                  <a:pt x="1438" y="544"/>
                </a:lnTo>
                <a:lnTo>
                  <a:pt x="1431" y="354"/>
                </a:lnTo>
                <a:lnTo>
                  <a:pt x="1311" y="234"/>
                </a:lnTo>
                <a:lnTo>
                  <a:pt x="1246" y="0"/>
                </a:lnTo>
                <a:lnTo>
                  <a:pt x="213" y="160"/>
                </a:lnTo>
                <a:close/>
              </a:path>
            </a:pathLst>
          </a:custGeom>
          <a:solidFill>
            <a:schemeClr val="accent4"/>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41" name="Freeform 68">
            <a:extLst>
              <a:ext uri="{FF2B5EF4-FFF2-40B4-BE49-F238E27FC236}">
                <a16:creationId xmlns:a16="http://schemas.microsoft.com/office/drawing/2014/main" id="{2CDACF46-D971-4DF1-9EB9-CD3A51617203}"/>
              </a:ext>
            </a:extLst>
          </p:cNvPr>
          <p:cNvSpPr>
            <a:spLocks/>
          </p:cNvSpPr>
          <p:nvPr/>
        </p:nvSpPr>
        <p:spPr bwMode="auto">
          <a:xfrm>
            <a:off x="11597814" y="3142415"/>
            <a:ext cx="88843" cy="52093"/>
          </a:xfrm>
          <a:custGeom>
            <a:avLst/>
            <a:gdLst>
              <a:gd name="T0" fmla="*/ 31 w 162"/>
              <a:gd name="T1" fmla="*/ 13 h 181"/>
              <a:gd name="T2" fmla="*/ 17 w 162"/>
              <a:gd name="T3" fmla="*/ 9 h 181"/>
              <a:gd name="T4" fmla="*/ 9 w 162"/>
              <a:gd name="T5" fmla="*/ 0 h 181"/>
              <a:gd name="T6" fmla="*/ 0 w 162"/>
              <a:gd name="T7" fmla="*/ 9 h 181"/>
              <a:gd name="T8" fmla="*/ 7 w 162"/>
              <a:gd name="T9" fmla="*/ 23 h 181"/>
              <a:gd name="T10" fmla="*/ 13 w 162"/>
              <a:gd name="T11" fmla="*/ 32 h 181"/>
              <a:gd name="T12" fmla="*/ 20 w 162"/>
              <a:gd name="T13" fmla="*/ 35 h 181"/>
              <a:gd name="T14" fmla="*/ 29 w 162"/>
              <a:gd name="T15" fmla="*/ 25 h 181"/>
              <a:gd name="T16" fmla="*/ 31 w 162"/>
              <a:gd name="T17" fmla="*/ 1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2" h="181">
                <a:moveTo>
                  <a:pt x="162" y="67"/>
                </a:moveTo>
                <a:lnTo>
                  <a:pt x="91" y="45"/>
                </a:lnTo>
                <a:lnTo>
                  <a:pt x="45" y="0"/>
                </a:lnTo>
                <a:lnTo>
                  <a:pt x="0" y="45"/>
                </a:lnTo>
                <a:lnTo>
                  <a:pt x="36" y="121"/>
                </a:lnTo>
                <a:lnTo>
                  <a:pt x="66" y="163"/>
                </a:lnTo>
                <a:lnTo>
                  <a:pt x="102" y="181"/>
                </a:lnTo>
                <a:lnTo>
                  <a:pt x="150" y="127"/>
                </a:lnTo>
                <a:lnTo>
                  <a:pt x="162" y="67"/>
                </a:lnTo>
                <a:close/>
              </a:path>
            </a:pathLst>
          </a:custGeom>
          <a:solidFill>
            <a:srgbClr val="7030A0"/>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57" name="Freeform 68">
            <a:extLst>
              <a:ext uri="{FF2B5EF4-FFF2-40B4-BE49-F238E27FC236}">
                <a16:creationId xmlns:a16="http://schemas.microsoft.com/office/drawing/2014/main" id="{4F735EC9-4FDB-4B28-8CA0-CE76D5AD1A42}"/>
              </a:ext>
            </a:extLst>
          </p:cNvPr>
          <p:cNvSpPr>
            <a:spLocks/>
          </p:cNvSpPr>
          <p:nvPr/>
        </p:nvSpPr>
        <p:spPr bwMode="auto">
          <a:xfrm rot="10559564">
            <a:off x="11325924" y="3052375"/>
            <a:ext cx="125766" cy="68008"/>
          </a:xfrm>
          <a:custGeom>
            <a:avLst/>
            <a:gdLst>
              <a:gd name="T0" fmla="*/ 31 w 162"/>
              <a:gd name="T1" fmla="*/ 13 h 181"/>
              <a:gd name="T2" fmla="*/ 17 w 162"/>
              <a:gd name="T3" fmla="*/ 9 h 181"/>
              <a:gd name="T4" fmla="*/ 9 w 162"/>
              <a:gd name="T5" fmla="*/ 0 h 181"/>
              <a:gd name="T6" fmla="*/ 0 w 162"/>
              <a:gd name="T7" fmla="*/ 9 h 181"/>
              <a:gd name="T8" fmla="*/ 7 w 162"/>
              <a:gd name="T9" fmla="*/ 23 h 181"/>
              <a:gd name="T10" fmla="*/ 13 w 162"/>
              <a:gd name="T11" fmla="*/ 32 h 181"/>
              <a:gd name="T12" fmla="*/ 20 w 162"/>
              <a:gd name="T13" fmla="*/ 35 h 181"/>
              <a:gd name="T14" fmla="*/ 29 w 162"/>
              <a:gd name="T15" fmla="*/ 25 h 181"/>
              <a:gd name="T16" fmla="*/ 31 w 162"/>
              <a:gd name="T17" fmla="*/ 1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2" h="181">
                <a:moveTo>
                  <a:pt x="162" y="67"/>
                </a:moveTo>
                <a:lnTo>
                  <a:pt x="91" y="45"/>
                </a:lnTo>
                <a:lnTo>
                  <a:pt x="45" y="0"/>
                </a:lnTo>
                <a:lnTo>
                  <a:pt x="0" y="45"/>
                </a:lnTo>
                <a:lnTo>
                  <a:pt x="36" y="121"/>
                </a:lnTo>
                <a:lnTo>
                  <a:pt x="66" y="163"/>
                </a:lnTo>
                <a:lnTo>
                  <a:pt x="102" y="181"/>
                </a:lnTo>
                <a:lnTo>
                  <a:pt x="150" y="127"/>
                </a:lnTo>
                <a:lnTo>
                  <a:pt x="162" y="67"/>
                </a:lnTo>
                <a:close/>
              </a:path>
            </a:pathLst>
          </a:custGeom>
          <a:solidFill>
            <a:schemeClr val="accent4">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58" name="Freeform 67">
            <a:extLst>
              <a:ext uri="{FF2B5EF4-FFF2-40B4-BE49-F238E27FC236}">
                <a16:creationId xmlns:a16="http://schemas.microsoft.com/office/drawing/2014/main" id="{AD63FA13-FDEA-4ACC-8E1B-785E127B6A21}"/>
              </a:ext>
            </a:extLst>
          </p:cNvPr>
          <p:cNvSpPr>
            <a:spLocks/>
          </p:cNvSpPr>
          <p:nvPr/>
        </p:nvSpPr>
        <p:spPr bwMode="auto">
          <a:xfrm>
            <a:off x="11550140" y="2929865"/>
            <a:ext cx="90292" cy="49431"/>
          </a:xfrm>
          <a:custGeom>
            <a:avLst/>
            <a:gdLst>
              <a:gd name="T0" fmla="*/ 27 w 409"/>
              <a:gd name="T1" fmla="*/ 2 h 136"/>
              <a:gd name="T2" fmla="*/ 13 w 409"/>
              <a:gd name="T3" fmla="*/ 0 h 136"/>
              <a:gd name="T4" fmla="*/ 0 w 409"/>
              <a:gd name="T5" fmla="*/ 9 h 136"/>
              <a:gd name="T6" fmla="*/ 8 w 409"/>
              <a:gd name="T7" fmla="*/ 21 h 136"/>
              <a:gd name="T8" fmla="*/ 17 w 409"/>
              <a:gd name="T9" fmla="*/ 26 h 136"/>
              <a:gd name="T10" fmla="*/ 34 w 409"/>
              <a:gd name="T11" fmla="*/ 17 h 136"/>
              <a:gd name="T12" fmla="*/ 43 w 409"/>
              <a:gd name="T13" fmla="*/ 17 h 136"/>
              <a:gd name="T14" fmla="*/ 63 w 409"/>
              <a:gd name="T15" fmla="*/ 22 h 136"/>
              <a:gd name="T16" fmla="*/ 70 w 409"/>
              <a:gd name="T17" fmla="*/ 19 h 136"/>
              <a:gd name="T18" fmla="*/ 77 w 409"/>
              <a:gd name="T19" fmla="*/ 17 h 136"/>
              <a:gd name="T20" fmla="*/ 77 w 409"/>
              <a:gd name="T21" fmla="*/ 9 h 136"/>
              <a:gd name="T22" fmla="*/ 68 w 409"/>
              <a:gd name="T23" fmla="*/ 0 h 136"/>
              <a:gd name="T24" fmla="*/ 57 w 409"/>
              <a:gd name="T25" fmla="*/ 3 h 136"/>
              <a:gd name="T26" fmla="*/ 43 w 409"/>
              <a:gd name="T27" fmla="*/ 9 h 136"/>
              <a:gd name="T28" fmla="*/ 27 w 409"/>
              <a:gd name="T29" fmla="*/ 2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09" h="136">
                <a:moveTo>
                  <a:pt x="146" y="8"/>
                </a:moveTo>
                <a:lnTo>
                  <a:pt x="68" y="2"/>
                </a:lnTo>
                <a:lnTo>
                  <a:pt x="0" y="45"/>
                </a:lnTo>
                <a:lnTo>
                  <a:pt x="44" y="110"/>
                </a:lnTo>
                <a:lnTo>
                  <a:pt x="91" y="136"/>
                </a:lnTo>
                <a:lnTo>
                  <a:pt x="182" y="90"/>
                </a:lnTo>
                <a:lnTo>
                  <a:pt x="227" y="90"/>
                </a:lnTo>
                <a:lnTo>
                  <a:pt x="332" y="116"/>
                </a:lnTo>
                <a:lnTo>
                  <a:pt x="374" y="98"/>
                </a:lnTo>
                <a:lnTo>
                  <a:pt x="409" y="90"/>
                </a:lnTo>
                <a:lnTo>
                  <a:pt x="409" y="45"/>
                </a:lnTo>
                <a:lnTo>
                  <a:pt x="363" y="0"/>
                </a:lnTo>
                <a:lnTo>
                  <a:pt x="302" y="14"/>
                </a:lnTo>
                <a:lnTo>
                  <a:pt x="227" y="45"/>
                </a:lnTo>
                <a:lnTo>
                  <a:pt x="146" y="8"/>
                </a:lnTo>
                <a:close/>
              </a:path>
            </a:pathLst>
          </a:custGeom>
          <a:solidFill>
            <a:schemeClr val="accent4">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59" name="Freeform 65">
            <a:extLst>
              <a:ext uri="{FF2B5EF4-FFF2-40B4-BE49-F238E27FC236}">
                <a16:creationId xmlns:a16="http://schemas.microsoft.com/office/drawing/2014/main" id="{DC714589-D387-4D13-9254-8A750B5ECA91}"/>
              </a:ext>
            </a:extLst>
          </p:cNvPr>
          <p:cNvSpPr>
            <a:spLocks/>
          </p:cNvSpPr>
          <p:nvPr/>
        </p:nvSpPr>
        <p:spPr bwMode="auto">
          <a:xfrm>
            <a:off x="11346982" y="2912753"/>
            <a:ext cx="48926" cy="50703"/>
          </a:xfrm>
          <a:custGeom>
            <a:avLst/>
            <a:gdLst>
              <a:gd name="T0" fmla="*/ 47 w 285"/>
              <a:gd name="T1" fmla="*/ 47 h 259"/>
              <a:gd name="T2" fmla="*/ 54 w 285"/>
              <a:gd name="T3" fmla="*/ 35 h 259"/>
              <a:gd name="T4" fmla="*/ 54 w 285"/>
              <a:gd name="T5" fmla="*/ 18 h 259"/>
              <a:gd name="T6" fmla="*/ 52 w 285"/>
              <a:gd name="T7" fmla="*/ 1 h 259"/>
              <a:gd name="T8" fmla="*/ 37 w 285"/>
              <a:gd name="T9" fmla="*/ 0 h 259"/>
              <a:gd name="T10" fmla="*/ 23 w 285"/>
              <a:gd name="T11" fmla="*/ 1 h 259"/>
              <a:gd name="T12" fmla="*/ 11 w 285"/>
              <a:gd name="T13" fmla="*/ 9 h 259"/>
              <a:gd name="T14" fmla="*/ 2 w 285"/>
              <a:gd name="T15" fmla="*/ 26 h 259"/>
              <a:gd name="T16" fmla="*/ 0 w 285"/>
              <a:gd name="T17" fmla="*/ 40 h 259"/>
              <a:gd name="T18" fmla="*/ 8 w 285"/>
              <a:gd name="T19" fmla="*/ 47 h 259"/>
              <a:gd name="T20" fmla="*/ 20 w 285"/>
              <a:gd name="T21" fmla="*/ 44 h 259"/>
              <a:gd name="T22" fmla="*/ 33 w 285"/>
              <a:gd name="T23" fmla="*/ 50 h 259"/>
              <a:gd name="T24" fmla="*/ 47 w 285"/>
              <a:gd name="T25" fmla="*/ 47 h 2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5" h="259">
                <a:moveTo>
                  <a:pt x="246" y="241"/>
                </a:moveTo>
                <a:lnTo>
                  <a:pt x="285" y="182"/>
                </a:lnTo>
                <a:lnTo>
                  <a:pt x="285" y="91"/>
                </a:lnTo>
                <a:lnTo>
                  <a:pt x="276" y="7"/>
                </a:lnTo>
                <a:lnTo>
                  <a:pt x="194" y="0"/>
                </a:lnTo>
                <a:lnTo>
                  <a:pt x="120" y="7"/>
                </a:lnTo>
                <a:lnTo>
                  <a:pt x="58" y="46"/>
                </a:lnTo>
                <a:lnTo>
                  <a:pt x="13" y="136"/>
                </a:lnTo>
                <a:lnTo>
                  <a:pt x="0" y="205"/>
                </a:lnTo>
                <a:lnTo>
                  <a:pt x="41" y="241"/>
                </a:lnTo>
                <a:lnTo>
                  <a:pt x="104" y="227"/>
                </a:lnTo>
                <a:lnTo>
                  <a:pt x="173" y="259"/>
                </a:lnTo>
                <a:lnTo>
                  <a:pt x="246" y="241"/>
                </a:lnTo>
                <a:close/>
              </a:path>
            </a:pathLst>
          </a:custGeom>
          <a:solidFill>
            <a:schemeClr val="accent4">
              <a:lumMod val="60000"/>
              <a:lumOff val="40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60" name="Freeform 68">
            <a:extLst>
              <a:ext uri="{FF2B5EF4-FFF2-40B4-BE49-F238E27FC236}">
                <a16:creationId xmlns:a16="http://schemas.microsoft.com/office/drawing/2014/main" id="{692F2FE6-D0C0-4623-B421-6CD0AEA444E3}"/>
              </a:ext>
            </a:extLst>
          </p:cNvPr>
          <p:cNvSpPr>
            <a:spLocks/>
          </p:cNvSpPr>
          <p:nvPr/>
        </p:nvSpPr>
        <p:spPr bwMode="auto">
          <a:xfrm>
            <a:off x="11428349" y="2945486"/>
            <a:ext cx="71353" cy="105635"/>
          </a:xfrm>
          <a:custGeom>
            <a:avLst/>
            <a:gdLst>
              <a:gd name="T0" fmla="*/ 31 w 162"/>
              <a:gd name="T1" fmla="*/ 13 h 181"/>
              <a:gd name="T2" fmla="*/ 17 w 162"/>
              <a:gd name="T3" fmla="*/ 9 h 181"/>
              <a:gd name="T4" fmla="*/ 9 w 162"/>
              <a:gd name="T5" fmla="*/ 0 h 181"/>
              <a:gd name="T6" fmla="*/ 0 w 162"/>
              <a:gd name="T7" fmla="*/ 9 h 181"/>
              <a:gd name="T8" fmla="*/ 7 w 162"/>
              <a:gd name="T9" fmla="*/ 23 h 181"/>
              <a:gd name="T10" fmla="*/ 13 w 162"/>
              <a:gd name="T11" fmla="*/ 32 h 181"/>
              <a:gd name="T12" fmla="*/ 20 w 162"/>
              <a:gd name="T13" fmla="*/ 35 h 181"/>
              <a:gd name="T14" fmla="*/ 29 w 162"/>
              <a:gd name="T15" fmla="*/ 25 h 181"/>
              <a:gd name="T16" fmla="*/ 31 w 162"/>
              <a:gd name="T17" fmla="*/ 1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2" h="181">
                <a:moveTo>
                  <a:pt x="162" y="67"/>
                </a:moveTo>
                <a:lnTo>
                  <a:pt x="91" y="45"/>
                </a:lnTo>
                <a:lnTo>
                  <a:pt x="45" y="0"/>
                </a:lnTo>
                <a:lnTo>
                  <a:pt x="0" y="45"/>
                </a:lnTo>
                <a:lnTo>
                  <a:pt x="36" y="121"/>
                </a:lnTo>
                <a:lnTo>
                  <a:pt x="66" y="163"/>
                </a:lnTo>
                <a:lnTo>
                  <a:pt x="102" y="181"/>
                </a:lnTo>
                <a:lnTo>
                  <a:pt x="150" y="127"/>
                </a:lnTo>
                <a:lnTo>
                  <a:pt x="162" y="67"/>
                </a:lnTo>
                <a:close/>
              </a:path>
            </a:pathLst>
          </a:custGeom>
          <a:solidFill>
            <a:schemeClr val="accent4">
              <a:lumMod val="7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ysClr val="windowText" lastClr="000000"/>
              </a:solidFill>
              <a:effectLst/>
              <a:uLnTx/>
              <a:uFillTx/>
              <a:latin typeface="Calibri"/>
              <a:ea typeface="宋体" panose="02010600030101010101" pitchFamily="2" charset="-122"/>
              <a:cs typeface="+mn-cs"/>
            </a:endParaRPr>
          </a:p>
        </p:txBody>
      </p:sp>
      <p:sp>
        <p:nvSpPr>
          <p:cNvPr id="116" name="TextBox 115">
            <a:extLst>
              <a:ext uri="{FF2B5EF4-FFF2-40B4-BE49-F238E27FC236}">
                <a16:creationId xmlns:a16="http://schemas.microsoft.com/office/drawing/2014/main" id="{4E8C0A42-90C6-4B60-A830-14E1745927BD}"/>
              </a:ext>
            </a:extLst>
          </p:cNvPr>
          <p:cNvSpPr txBox="1"/>
          <p:nvPr/>
        </p:nvSpPr>
        <p:spPr>
          <a:xfrm>
            <a:off x="71676" y="121491"/>
            <a:ext cx="6593456" cy="120032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95D1"/>
                </a:solidFill>
                <a:effectLst/>
                <a:uLnTx/>
                <a:uFillTx/>
                <a:latin typeface="Franklin Gothic Medium"/>
                <a:ea typeface="+mn-ea"/>
                <a:cs typeface="+mn-cs"/>
              </a:rPr>
              <a:t>National Area Council Committee Representative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70AD47"/>
                </a:solidFill>
                <a:effectLst/>
                <a:uLnTx/>
                <a:uFillTx/>
                <a:latin typeface="Calibri" panose="020F0502020204030204"/>
                <a:ea typeface="+mn-lt"/>
                <a:cs typeface="Calibri" panose="020F0502020204030204"/>
              </a:rPr>
              <a:t>Directory / Contact Information</a:t>
            </a: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118" name="TextBox 117">
            <a:extLst>
              <a:ext uri="{FF2B5EF4-FFF2-40B4-BE49-F238E27FC236}">
                <a16:creationId xmlns:a16="http://schemas.microsoft.com/office/drawing/2014/main" id="{84B2EFC4-FEBB-4A09-A6C4-5AC0C4F65D6B}"/>
              </a:ext>
            </a:extLst>
          </p:cNvPr>
          <p:cNvSpPr txBox="1"/>
          <p:nvPr/>
        </p:nvSpPr>
        <p:spPr>
          <a:xfrm>
            <a:off x="176496" y="5110406"/>
            <a:ext cx="3110452" cy="93871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solidFill>
                  <a:prstClr val="black"/>
                </a:solidFill>
                <a:effectLst/>
                <a:uLnTx/>
                <a:uFillTx/>
                <a:latin typeface="Calibri"/>
                <a:ea typeface="+mn-ea"/>
                <a:cs typeface="+mn-cs"/>
              </a:rPr>
              <a:t>Pacific</a:t>
            </a:r>
            <a:endParaRPr kumimoji="0" lang="en-US" sz="11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Ann Farrell - </a:t>
            </a:r>
            <a:r>
              <a:rPr kumimoji="0" lang="en-US" sz="1100" b="0" i="0" u="none" strike="noStrike" kern="1200" cap="none" spc="0" normalizeH="0" baseline="0" noProof="0">
                <a:ln>
                  <a:noFill/>
                </a:ln>
                <a:solidFill>
                  <a:prstClr val="black"/>
                </a:solidFill>
                <a:effectLst/>
                <a:uLnTx/>
                <a:uFillTx/>
                <a:latin typeface="Calibri"/>
                <a:ea typeface="+mn-ea"/>
                <a:cs typeface="+mn-cs"/>
                <a:hlinkClick r:id="rId3"/>
              </a:rPr>
              <a:t>ann.farrell@alignunifythrive.com</a:t>
            </a:r>
            <a:endParaRPr kumimoji="0" lang="en-US" sz="11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Jim Hammack - </a:t>
            </a:r>
            <a:r>
              <a:rPr kumimoji="0" lang="en-US" sz="1100" b="0" i="0" u="none" strike="noStrike" kern="1200" cap="none" spc="0" normalizeH="0" baseline="0" noProof="0">
                <a:ln>
                  <a:noFill/>
                </a:ln>
                <a:solidFill>
                  <a:prstClr val="black"/>
                </a:solidFill>
                <a:effectLst/>
                <a:uLnTx/>
                <a:uFillTx/>
                <a:latin typeface="Calibri"/>
                <a:ea typeface="+mn-ea"/>
                <a:cs typeface="+mn-cs"/>
                <a:hlinkClick r:id="rId4"/>
              </a:rPr>
              <a:t>jim@nerdcrossing.com</a:t>
            </a:r>
            <a:r>
              <a:rPr kumimoji="0" lang="en-US" sz="11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Dawn Miller – </a:t>
            </a:r>
            <a:r>
              <a:rPr kumimoji="0" lang="en-US" sz="1100" b="0" i="0" u="none" strike="noStrike" kern="1200" cap="none" spc="0" normalizeH="0" baseline="0" noProof="0">
                <a:ln>
                  <a:noFill/>
                </a:ln>
                <a:solidFill>
                  <a:prstClr val="black"/>
                </a:solidFill>
                <a:effectLst/>
                <a:uLnTx/>
                <a:uFillTx/>
                <a:latin typeface="Calibri"/>
                <a:ea typeface="+mn-ea"/>
                <a:cs typeface="+mn-cs"/>
                <a:hlinkClick r:id="rId5"/>
              </a:rPr>
              <a:t>drdawnmiller@sbcglobal.net</a:t>
            </a:r>
            <a:endParaRPr kumimoji="0" lang="en-US" sz="1100" b="0" i="0" u="none" strike="noStrike" kern="1200" cap="none" spc="0" normalizeH="0" baseline="0" noProof="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Doug Miller – </a:t>
            </a:r>
            <a:r>
              <a:rPr kumimoji="0" lang="en-US" sz="1100" b="0" i="0" u="none" strike="noStrike" kern="1200" cap="none" spc="0" normalizeH="0" baseline="0" noProof="0">
                <a:ln>
                  <a:noFill/>
                </a:ln>
                <a:solidFill>
                  <a:prstClr val="black"/>
                </a:solidFill>
                <a:effectLst/>
                <a:uLnTx/>
                <a:uFillTx/>
                <a:latin typeface="Calibri"/>
                <a:ea typeface="+mn-ea"/>
                <a:cs typeface="+mn-cs"/>
                <a:hlinkClick r:id="rId6"/>
              </a:rPr>
              <a:t>dpmiller89@yahoo.com</a:t>
            </a: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1" name="TextBox 120">
            <a:extLst>
              <a:ext uri="{FF2B5EF4-FFF2-40B4-BE49-F238E27FC236}">
                <a16:creationId xmlns:a16="http://schemas.microsoft.com/office/drawing/2014/main" id="{ECF049B3-91D8-4035-8724-9E45607A25B3}"/>
              </a:ext>
            </a:extLst>
          </p:cNvPr>
          <p:cNvSpPr txBox="1"/>
          <p:nvPr/>
        </p:nvSpPr>
        <p:spPr>
          <a:xfrm>
            <a:off x="3380949" y="5485018"/>
            <a:ext cx="512001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a:ea typeface="+mn-ea"/>
                <a:cs typeface="+mn-cs"/>
              </a:rPr>
              <a:t>Southwest</a:t>
            </a: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an Cundy – </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7"/>
              </a:rPr>
              <a:t>jan@cundy.biz</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Jim Petty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8"/>
              </a:rPr>
              <a:t>jim@thesrc.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ony Trevino, Jr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9"/>
              </a:rPr>
              <a:t>tonytrevino9@gmail.com</a:t>
            </a: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00296092-8BC6-4F4D-8E96-472AB821C59D}"/>
              </a:ext>
            </a:extLst>
          </p:cNvPr>
          <p:cNvSpPr txBox="1"/>
          <p:nvPr/>
        </p:nvSpPr>
        <p:spPr>
          <a:xfrm>
            <a:off x="7698276" y="5457261"/>
            <a:ext cx="460874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a:ea typeface="+mn-ea"/>
                <a:cs typeface="+mn-cs"/>
              </a:rPr>
              <a:t>Southea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on Anderso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0"/>
              </a:rPr>
              <a:t>jander2938@aol.com</a:t>
            </a: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Arthur Culle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1"/>
              </a:rPr>
              <a:t>arthurcullen@gmail.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ony Melso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2"/>
              </a:rPr>
              <a:t>armelson1@gmail.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im Newland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3"/>
              </a:rPr>
              <a:t>jamesnewland2@charter.net</a:t>
            </a:r>
            <a:r>
              <a:rPr kumimoji="0" lang="en-US" sz="1200" b="0" i="0" u="none" strike="noStrike" kern="1200" cap="none" spc="0" normalizeH="0" baseline="0" noProof="0">
                <a:ln>
                  <a:noFill/>
                </a:ln>
                <a:solidFill>
                  <a:prstClr val="black"/>
                </a:solidFill>
                <a:effectLst/>
                <a:uLnTx/>
                <a:uFillTx/>
                <a:latin typeface="Calibri"/>
                <a:ea typeface="+mn-ea"/>
                <a:cs typeface="+mn-cs"/>
              </a:rPr>
              <a:t> </a:t>
            </a:r>
          </a:p>
        </p:txBody>
      </p:sp>
      <p:sp>
        <p:nvSpPr>
          <p:cNvPr id="126" name="TextBox 125">
            <a:extLst>
              <a:ext uri="{FF2B5EF4-FFF2-40B4-BE49-F238E27FC236}">
                <a16:creationId xmlns:a16="http://schemas.microsoft.com/office/drawing/2014/main" id="{F20D9B66-A195-4C5B-82D5-63578E3EAFFF}"/>
              </a:ext>
            </a:extLst>
          </p:cNvPr>
          <p:cNvSpPr txBox="1"/>
          <p:nvPr/>
        </p:nvSpPr>
        <p:spPr>
          <a:xfrm>
            <a:off x="9656419" y="886292"/>
            <a:ext cx="2378007" cy="138499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a:ea typeface="+mn-ea"/>
                <a:cs typeface="+mn-cs"/>
              </a:rPr>
              <a:t>Northeast (includes Puerto Rico)</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Phil Jackso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4"/>
              </a:rPr>
              <a:t>jacksonp@univest.net</a:t>
            </a:r>
            <a:r>
              <a:rPr kumimoji="0" lang="en-US" sz="1200" b="0" i="0" u="none" strike="noStrike" kern="1200" cap="none" spc="0" normalizeH="0" baseline="0" noProof="0">
                <a:ln>
                  <a:noFill/>
                </a:ln>
                <a:solidFill>
                  <a:prstClr val="black"/>
                </a:solidFill>
                <a:effectLst/>
                <a:uLnTx/>
                <a:uFillTx/>
                <a:latin typeface="Calibri"/>
                <a:ea typeface="+mn-ea"/>
                <a:cs typeface="+mn-cs"/>
              </a:rPr>
              <a:t> </a:t>
            </a:r>
            <a:endParaRPr kumimoji="0" lang="en-US" sz="1200" b="0" i="0" u="none" strike="noStrike" kern="1200" cap="none" spc="0" normalizeH="0" baseline="0" noProof="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Harry </a:t>
            </a:r>
            <a:r>
              <a:rPr kumimoji="0" lang="en-US" sz="1200" b="0" i="0" u="none" strike="noStrike" kern="1200" cap="none" spc="0" normalizeH="0" baseline="0" noProof="0" err="1">
                <a:ln>
                  <a:noFill/>
                </a:ln>
                <a:solidFill>
                  <a:prstClr val="black"/>
                </a:solidFill>
                <a:effectLst/>
                <a:uLnTx/>
                <a:uFillTx/>
                <a:latin typeface="Calibri"/>
                <a:ea typeface="+mn-ea"/>
                <a:cs typeface="+mn-cs"/>
              </a:rPr>
              <a:t>Malone-</a:t>
            </a:r>
            <a:r>
              <a:rPr kumimoji="0" lang="en-US" sz="1200" b="0" i="0" u="none" strike="noStrike" kern="1200" cap="none" spc="0" normalizeH="0" baseline="0" noProof="0" err="1">
                <a:ln>
                  <a:noFill/>
                </a:ln>
                <a:solidFill>
                  <a:srgbClr val="4472C4"/>
                </a:solidFill>
                <a:effectLst/>
                <a:uLnTx/>
                <a:uFillTx/>
                <a:latin typeface="Calibri"/>
                <a:ea typeface="+mn-ea"/>
                <a:cs typeface="+mn-cs"/>
                <a:hlinkClick r:id="rId15">
                  <a:extLst>
                    <a:ext uri="{A12FA001-AC4F-418D-AE19-62706E023703}">
                      <ahyp:hlinkClr xmlns:ahyp="http://schemas.microsoft.com/office/drawing/2018/hyperlinkcolor" val="tx"/>
                    </a:ext>
                  </a:extLst>
                </a:hlinkClick>
              </a:rPr>
              <a:t>hnmalone</a:t>
            </a:r>
            <a:r>
              <a:rPr kumimoji="0" lang="en-US" sz="1200" b="0" i="0" u="none" strike="noStrike" kern="1200" cap="none" spc="0" normalizeH="0" baseline="0" noProof="0" err="1">
                <a:ln>
                  <a:noFill/>
                </a:ln>
                <a:solidFill>
                  <a:srgbClr val="4472C4"/>
                </a:solidFill>
                <a:effectLst/>
                <a:uLnTx/>
                <a:uFillTx/>
                <a:latin typeface="Calibri" panose="020F0502020204030204"/>
                <a:ea typeface="+mn-lt"/>
                <a:cs typeface="Calibri" panose="020F0502020204030204"/>
                <a:hlinkClick r:id="rId15">
                  <a:extLst>
                    <a:ext uri="{A12FA001-AC4F-418D-AE19-62706E023703}">
                      <ahyp:hlinkClr xmlns:ahyp="http://schemas.microsoft.com/office/drawing/2018/hyperlinkcolor" val="tx"/>
                    </a:ext>
                  </a:extLst>
                </a:hlinkClick>
              </a:rPr>
              <a:t>+bgc</a:t>
            </a:r>
            <a:r>
              <a:rPr kumimoji="0" lang="en-US" sz="1200" b="0" i="0" u="none" strike="noStrike" kern="1200" cap="none" spc="0" normalizeH="0" baseline="0" noProof="0">
                <a:ln>
                  <a:noFill/>
                </a:ln>
                <a:solidFill>
                  <a:srgbClr val="4472C4"/>
                </a:solidFill>
                <a:effectLst/>
                <a:uLnTx/>
                <a:uFillTx/>
                <a:latin typeface="Calibri" panose="020F0502020204030204"/>
                <a:ea typeface="+mn-lt"/>
                <a:cs typeface="Calibri" panose="020F0502020204030204"/>
                <a:hlinkClick r:id="rId15">
                  <a:extLst>
                    <a:ext uri="{A12FA001-AC4F-418D-AE19-62706E023703}">
                      <ahyp:hlinkClr xmlns:ahyp="http://schemas.microsoft.com/office/drawing/2018/hyperlinkcolor" val="tx"/>
                    </a:ext>
                  </a:extLst>
                </a:hlinkClick>
              </a:rPr>
              <a:t>@gmail.co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oe Pagliaro, JR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6"/>
              </a:rPr>
              <a:t>joepags68@outlook.com</a:t>
            </a:r>
            <a:endParaRPr kumimoji="0" lang="en-US" sz="1200" b="0" i="0" u="none" strike="noStrike" kern="1200" cap="none" spc="0" normalizeH="0" baseline="0" noProof="0">
              <a:ln>
                <a:noFill/>
              </a:ln>
              <a:solidFill>
                <a:prstClr val="black"/>
              </a:solidFill>
              <a:effectLst/>
              <a:uLnTx/>
              <a:uFillTx/>
              <a:latin typeface="Calibri"/>
              <a:ea typeface="+mn-ea"/>
              <a:cs typeface="Calibri"/>
            </a:endParaRPr>
          </a:p>
        </p:txBody>
      </p:sp>
      <p:sp>
        <p:nvSpPr>
          <p:cNvPr id="127" name="TextBox 126">
            <a:extLst>
              <a:ext uri="{FF2B5EF4-FFF2-40B4-BE49-F238E27FC236}">
                <a16:creationId xmlns:a16="http://schemas.microsoft.com/office/drawing/2014/main" id="{47041140-F968-450A-9FE1-F4C029BBC468}"/>
              </a:ext>
            </a:extLst>
          </p:cNvPr>
          <p:cNvSpPr txBox="1"/>
          <p:nvPr/>
        </p:nvSpPr>
        <p:spPr>
          <a:xfrm>
            <a:off x="6257365" y="580515"/>
            <a:ext cx="322588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prstClr val="black"/>
                </a:solidFill>
                <a:effectLst/>
                <a:uLnTx/>
                <a:uFillTx/>
                <a:latin typeface="Calibri"/>
                <a:ea typeface="+mn-ea"/>
                <a:cs typeface="+mn-cs"/>
              </a:rPr>
              <a:t>Midwest</a:t>
            </a:r>
            <a:endParaRPr kumimoji="0" lang="en-US" sz="12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im Frankli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7"/>
              </a:rPr>
              <a:t>jimtfranklin@me.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Don Harbaugh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8"/>
              </a:rPr>
              <a:t>dharbaugh@hddholdings.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ichard Peterson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19"/>
              </a:rPr>
              <a:t>rpeterson@porteradvertising.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Guy Smith – </a:t>
            </a:r>
            <a:r>
              <a:rPr kumimoji="0" lang="en-US" sz="1200" b="0" i="0" u="none" strike="noStrike" kern="1200" cap="none" spc="0" normalizeH="0" baseline="0" noProof="0">
                <a:ln>
                  <a:noFill/>
                </a:ln>
                <a:solidFill>
                  <a:prstClr val="black"/>
                </a:solidFill>
                <a:effectLst/>
                <a:uLnTx/>
                <a:uFillTx/>
                <a:latin typeface="Calibri"/>
                <a:ea typeface="+mn-ea"/>
                <a:cs typeface="+mn-cs"/>
                <a:hlinkClick r:id="rId20"/>
              </a:rPr>
              <a:t>gsmith@lillycreekcapital.com</a:t>
            </a:r>
            <a:r>
              <a:rPr kumimoji="0" lang="en-US" sz="1200" b="0" i="0" u="none" strike="noStrike" kern="1200" cap="none" spc="0" normalizeH="0" baseline="0" noProof="0">
                <a:ln>
                  <a:noFill/>
                </a:ln>
                <a:solidFill>
                  <a:prstClr val="black"/>
                </a:solidFill>
                <a:effectLst/>
                <a:uLnTx/>
                <a:uFillTx/>
                <a:latin typeface="Calibri"/>
                <a:ea typeface="+mn-ea"/>
                <a:cs typeface="+mn-cs"/>
              </a:rPr>
              <a:t> </a:t>
            </a:r>
          </a:p>
        </p:txBody>
      </p:sp>
      <p:sp>
        <p:nvSpPr>
          <p:cNvPr id="56" name="Date Placeholder 55">
            <a:extLst>
              <a:ext uri="{FF2B5EF4-FFF2-40B4-BE49-F238E27FC236}">
                <a16:creationId xmlns:a16="http://schemas.microsoft.com/office/drawing/2014/main" id="{329FC323-2EC8-A75D-BE70-C897D73131E9}"/>
              </a:ext>
            </a:extLst>
          </p:cNvPr>
          <p:cNvSpPr>
            <a:spLocks noGrp="1"/>
          </p:cNvSpPr>
          <p:nvPr>
            <p:ph type="dt" sz="half" idx="4294967295"/>
          </p:nvPr>
        </p:nvSpPr>
        <p:spPr>
          <a:xfrm>
            <a:off x="0" y="6356350"/>
            <a:ext cx="28448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AD1BC92-BD99-4D40-BD55-23DDDF3A5D08}" type="datetime1">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2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49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1114943"/>
            <a:ext cx="2805921" cy="4930246"/>
          </a:xfrm>
        </p:spPr>
        <p:txBody>
          <a:bodyPr anchor="ctr">
            <a:normAutofit/>
          </a:bodyPr>
          <a:lstStyle/>
          <a:p>
            <a:pPr algn="ctr"/>
            <a:r>
              <a:rPr lang="en-US" sz="3600">
                <a:solidFill>
                  <a:schemeClr val="accent1"/>
                </a:solidFill>
                <a:latin typeface="Calibri" panose="020F0502020204030204" pitchFamily="34" charset="0"/>
                <a:cs typeface="Calibri" panose="020F0502020204030204" pitchFamily="34" charset="0"/>
              </a:rPr>
              <a:t>Impact and Benefits to Local Organizations</a:t>
            </a:r>
          </a:p>
        </p:txBody>
      </p:sp>
      <p:sp>
        <p:nvSpPr>
          <p:cNvPr id="3" name="Content Placeholder 2"/>
          <p:cNvSpPr>
            <a:spLocks noGrp="1"/>
          </p:cNvSpPr>
          <p:nvPr>
            <p:ph idx="1"/>
          </p:nvPr>
        </p:nvSpPr>
        <p:spPr>
          <a:xfrm>
            <a:off x="5162580" y="508879"/>
            <a:ext cx="6251238" cy="5221023"/>
          </a:xfrm>
        </p:spPr>
        <p:txBody>
          <a:bodyPr anchor="ctr">
            <a:normAutofit/>
          </a:bodyPr>
          <a:lstStyle/>
          <a:p>
            <a:r>
              <a:rPr lang="en-US" sz="2000">
                <a:latin typeface="Arial" panose="020B0604020202020204" pitchFamily="34" charset="0"/>
                <a:cs typeface="Arial" panose="020B0604020202020204" pitchFamily="34" charset="0"/>
              </a:rPr>
              <a:t>Resources and experiences outside your local Club to address issues and challenges</a:t>
            </a:r>
          </a:p>
          <a:p>
            <a:endParaRPr lang="en-US" sz="2000">
              <a:latin typeface="Arial" panose="020B0604020202020204" pitchFamily="34" charset="0"/>
              <a:cs typeface="Arial" panose="020B0604020202020204" pitchFamily="34" charset="0"/>
            </a:endParaRPr>
          </a:p>
          <a:p>
            <a:r>
              <a:rPr lang="en-US" sz="2000">
                <a:latin typeface="Arial" panose="020B0604020202020204" pitchFamily="34" charset="0"/>
                <a:cs typeface="Arial" panose="020B0604020202020204" pitchFamily="34" charset="0"/>
              </a:rPr>
              <a:t>Opportunity to network with other board members and CEO’s within your state or region on key strategic issues or important topics</a:t>
            </a:r>
          </a:p>
          <a:p>
            <a:endParaRPr lang="en-US" sz="2000">
              <a:latin typeface="Arial" panose="020B0604020202020204" pitchFamily="34" charset="0"/>
              <a:cs typeface="Arial" panose="020B0604020202020204" pitchFamily="34" charset="0"/>
            </a:endParaRPr>
          </a:p>
          <a:p>
            <a:r>
              <a:rPr lang="en-US" sz="2000">
                <a:latin typeface="Arial" panose="020B0604020202020204" pitchFamily="34" charset="0"/>
                <a:cs typeface="Arial" panose="020B0604020202020204" pitchFamily="34" charset="0"/>
              </a:rPr>
              <a:t>Opportunity to interact with regional or national staff on subjects such as Safety, Diversity/Equity/Inclusion (DEI), Resource Development, Policies/Procedures, Governance and staff related issues</a:t>
            </a:r>
          </a:p>
          <a:p>
            <a:endParaRPr lang="en-US" sz="2000">
              <a:latin typeface="Arial" panose="020B0604020202020204" pitchFamily="34" charset="0"/>
              <a:cs typeface="Arial" panose="020B0604020202020204" pitchFamily="34" charset="0"/>
            </a:endParaRPr>
          </a:p>
          <a:p>
            <a:r>
              <a:rPr lang="en-US" sz="2000">
                <a:latin typeface="Arial" panose="020B0604020202020204" pitchFamily="34" charset="0"/>
                <a:cs typeface="Arial" panose="020B0604020202020204" pitchFamily="34" charset="0"/>
              </a:rPr>
              <a:t>Leverage the Boys &amp; Girls Club brand and best practices beyond your local community</a:t>
            </a:r>
          </a:p>
          <a:p>
            <a:pPr marL="342900" lvl="1" indent="0">
              <a:buNone/>
            </a:pPr>
            <a:endParaRPr lang="en-US">
              <a:latin typeface="Arial" panose="020B0604020202020204" pitchFamily="34" charset="0"/>
              <a:cs typeface="Arial" panose="020B0604020202020204" pitchFamily="34" charset="0"/>
            </a:endParaRPr>
          </a:p>
        </p:txBody>
      </p:sp>
      <p:pic>
        <p:nvPicPr>
          <p:cNvPr id="32" name="Picture 31">
            <a:extLst>
              <a:ext uri="{FF2B5EF4-FFF2-40B4-BE49-F238E27FC236}">
                <a16:creationId xmlns:a16="http://schemas.microsoft.com/office/drawing/2014/main" id="{1E6A38A4-434B-6144-A7FB-389363907652}"/>
              </a:ext>
            </a:extLst>
          </p:cNvPr>
          <p:cNvPicPr>
            <a:picLocks noChangeAspect="1"/>
          </p:cNvPicPr>
          <p:nvPr/>
        </p:nvPicPr>
        <p:blipFill>
          <a:blip r:embed="rId3"/>
          <a:stretch>
            <a:fillRect/>
          </a:stretch>
        </p:blipFill>
        <p:spPr>
          <a:xfrm>
            <a:off x="135926" y="197026"/>
            <a:ext cx="2588252" cy="1811021"/>
          </a:xfrm>
          <a:prstGeom prst="rect">
            <a:avLst/>
          </a:prstGeom>
        </p:spPr>
      </p:pic>
      <p:sp>
        <p:nvSpPr>
          <p:cNvPr id="10" name="Rectangle 9" descr="Connections">
            <a:extLst>
              <a:ext uri="{FF2B5EF4-FFF2-40B4-BE49-F238E27FC236}">
                <a16:creationId xmlns:a16="http://schemas.microsoft.com/office/drawing/2014/main" id="{8BE1AAA0-844F-45BE-B647-C25E52D1184B}"/>
              </a:ext>
            </a:extLst>
          </p:cNvPr>
          <p:cNvSpPr/>
          <p:nvPr/>
        </p:nvSpPr>
        <p:spPr>
          <a:xfrm>
            <a:off x="3514156" y="1945846"/>
            <a:ext cx="1021932" cy="977901"/>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w="12700" cap="flat" cmpd="sng" algn="ctr">
            <a:noFill/>
            <a:prstDash val="solid"/>
            <a:miter lim="800000"/>
          </a:ln>
          <a:effectLst/>
        </p:spPr>
      </p:sp>
      <p:sp>
        <p:nvSpPr>
          <p:cNvPr id="11" name="Rectangle 10" descr="Megaphone">
            <a:extLst>
              <a:ext uri="{FF2B5EF4-FFF2-40B4-BE49-F238E27FC236}">
                <a16:creationId xmlns:a16="http://schemas.microsoft.com/office/drawing/2014/main" id="{3BC73E93-47B8-493C-941D-8D05118FCB00}"/>
              </a:ext>
            </a:extLst>
          </p:cNvPr>
          <p:cNvSpPr/>
          <p:nvPr/>
        </p:nvSpPr>
        <p:spPr>
          <a:xfrm>
            <a:off x="3514156" y="4150821"/>
            <a:ext cx="1021932" cy="977901"/>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noFill/>
            <a:prstDash val="solid"/>
            <a:miter lim="800000"/>
          </a:ln>
          <a:effectLst/>
        </p:spPr>
      </p:sp>
      <p:sp>
        <p:nvSpPr>
          <p:cNvPr id="12" name="Rectangle 11" descr="MentalHealth">
            <a:extLst>
              <a:ext uri="{FF2B5EF4-FFF2-40B4-BE49-F238E27FC236}">
                <a16:creationId xmlns:a16="http://schemas.microsoft.com/office/drawing/2014/main" id="{427079FF-769E-4755-ABF6-80ACB928254A}"/>
              </a:ext>
            </a:extLst>
          </p:cNvPr>
          <p:cNvSpPr/>
          <p:nvPr/>
        </p:nvSpPr>
        <p:spPr>
          <a:xfrm>
            <a:off x="3514156" y="613585"/>
            <a:ext cx="1021932" cy="977901"/>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2700" cap="flat" cmpd="sng" algn="ctr">
            <a:noFill/>
            <a:prstDash val="solid"/>
            <a:miter lim="800000"/>
          </a:ln>
          <a:effectLst/>
        </p:spPr>
      </p:sp>
      <p:sp>
        <p:nvSpPr>
          <p:cNvPr id="13" name="Rectangle 12" descr="Handshake">
            <a:extLst>
              <a:ext uri="{FF2B5EF4-FFF2-40B4-BE49-F238E27FC236}">
                <a16:creationId xmlns:a16="http://schemas.microsoft.com/office/drawing/2014/main" id="{9BAA9F5F-0BD6-4900-B701-90DB7ADE4F61}"/>
              </a:ext>
            </a:extLst>
          </p:cNvPr>
          <p:cNvSpPr/>
          <p:nvPr/>
        </p:nvSpPr>
        <p:spPr>
          <a:xfrm>
            <a:off x="3514156" y="3119390"/>
            <a:ext cx="1097280" cy="1097280"/>
          </a:xfrm>
          <a:prstGeom prst="rect">
            <a:avLst/>
          </a:prstGeom>
          <a:blipFill>
            <a:blip r:embed="rId10">
              <a:extLst>
                <a:ext uri="{96DAC541-7B7A-43D3-8B79-37D633B846F1}">
                  <asvg:svgBlip xmlns:asvg="http://schemas.microsoft.com/office/drawing/2016/SVG/main" r:embed="rId11"/>
                </a:ext>
              </a:extLst>
            </a:blip>
            <a:srcRect/>
            <a:stretch>
              <a:fillRect/>
            </a:stretch>
          </a:blipFill>
          <a:ln w="12700" cap="flat" cmpd="sng" algn="ctr">
            <a:noFill/>
            <a:prstDash val="solid"/>
            <a:miter lim="800000"/>
          </a:ln>
          <a:effectLst/>
        </p:spPr>
      </p:sp>
    </p:spTree>
    <p:extLst>
      <p:ext uri="{BB962C8B-B14F-4D97-AF65-F5344CB8AC3E}">
        <p14:creationId xmlns:p14="http://schemas.microsoft.com/office/powerpoint/2010/main" val="9438679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Rectangle 205">
            <a:extLst>
              <a:ext uri="{FF2B5EF4-FFF2-40B4-BE49-F238E27FC236}">
                <a16:creationId xmlns:a16="http://schemas.microsoft.com/office/drawing/2014/main" id="{B080863E-C420-034E-AF3C-EA6D0510C51F}"/>
              </a:ext>
            </a:extLst>
          </p:cNvPr>
          <p:cNvSpPr/>
          <p:nvPr/>
        </p:nvSpPr>
        <p:spPr>
          <a:xfrm>
            <a:off x="9544139" y="6030560"/>
            <a:ext cx="2432271" cy="570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5215B9C0-B76E-45E4-A834-81A52DDB8124}"/>
              </a:ext>
            </a:extLst>
          </p:cNvPr>
          <p:cNvSpPr>
            <a:spLocks noGrp="1"/>
          </p:cNvSpPr>
          <p:nvPr>
            <p:ph type="title"/>
          </p:nvPr>
        </p:nvSpPr>
        <p:spPr>
          <a:xfrm>
            <a:off x="563626" y="378070"/>
            <a:ext cx="4196563" cy="2144929"/>
          </a:xfrm>
        </p:spPr>
        <p:txBody>
          <a:bodyPr>
            <a:normAutofit/>
          </a:bodyPr>
          <a:lstStyle/>
          <a:p>
            <a:r>
              <a:rPr lang="en-US"/>
              <a:t>Key Elements of High Performing Area Councils</a:t>
            </a:r>
          </a:p>
        </p:txBody>
      </p:sp>
      <p:sp>
        <p:nvSpPr>
          <p:cNvPr id="10" name="Content Placeholder 9">
            <a:extLst>
              <a:ext uri="{FF2B5EF4-FFF2-40B4-BE49-F238E27FC236}">
                <a16:creationId xmlns:a16="http://schemas.microsoft.com/office/drawing/2014/main" id="{BAF849D7-224E-EB43-BDF6-FD8A115C15FB}"/>
              </a:ext>
            </a:extLst>
          </p:cNvPr>
          <p:cNvSpPr>
            <a:spLocks noGrp="1"/>
          </p:cNvSpPr>
          <p:nvPr>
            <p:ph sz="half" idx="4294967295"/>
          </p:nvPr>
        </p:nvSpPr>
        <p:spPr>
          <a:xfrm>
            <a:off x="0" y="7658100"/>
            <a:ext cx="5492750" cy="4076700"/>
          </a:xfrm>
        </p:spPr>
        <p:txBody>
          <a:bodyPr numCol="1" spcCol="228600">
            <a:normAutofit/>
          </a:bodyPr>
          <a:lstStyle/>
          <a:p>
            <a:pPr marL="463550" indent="-454025">
              <a:spcAft>
                <a:spcPts val="0"/>
              </a:spcAft>
              <a:buNone/>
            </a:pPr>
            <a:r>
              <a:rPr lang="en-US" sz="1600" b="1">
                <a:solidFill>
                  <a:srgbClr val="009DDC"/>
                </a:solidFill>
              </a:rPr>
              <a:t>1. 	Meeting Attendance</a:t>
            </a:r>
          </a:p>
          <a:p>
            <a:pPr marL="463550" indent="-454025">
              <a:spcAft>
                <a:spcPts val="0"/>
              </a:spcAft>
              <a:buNone/>
            </a:pPr>
            <a:r>
              <a:rPr lang="en-US" sz="1600"/>
              <a:t>	Board engagement is critical to the organizational strength. </a:t>
            </a:r>
          </a:p>
          <a:p>
            <a:pPr marL="463550" indent="-454025">
              <a:spcAft>
                <a:spcPts val="0"/>
              </a:spcAft>
              <a:buNone/>
            </a:pPr>
            <a:endParaRPr lang="en-US" sz="1600"/>
          </a:p>
          <a:p>
            <a:pPr marL="463550" indent="-454025">
              <a:spcAft>
                <a:spcPts val="0"/>
              </a:spcAft>
              <a:buNone/>
            </a:pPr>
            <a:r>
              <a:rPr lang="en-US" sz="1600" b="1">
                <a:solidFill>
                  <a:srgbClr val="009DDC"/>
                </a:solidFill>
              </a:rPr>
              <a:t>2.	Personal Unrestricted </a:t>
            </a:r>
            <a:r>
              <a:rPr lang="en-US" sz="1600">
                <a:solidFill>
                  <a:srgbClr val="009DDC"/>
                </a:solidFill>
              </a:rPr>
              <a:t>F</a:t>
            </a:r>
            <a:r>
              <a:rPr lang="en-US" sz="1600" b="1">
                <a:solidFill>
                  <a:srgbClr val="009DDC"/>
                </a:solidFill>
              </a:rPr>
              <a:t>inancial </a:t>
            </a:r>
            <a:r>
              <a:rPr lang="en-US" sz="1600">
                <a:solidFill>
                  <a:srgbClr val="009DDC"/>
                </a:solidFill>
              </a:rPr>
              <a:t>G</a:t>
            </a:r>
            <a:r>
              <a:rPr lang="en-US" sz="1600" b="1">
                <a:solidFill>
                  <a:srgbClr val="009DDC"/>
                </a:solidFill>
              </a:rPr>
              <a:t>ift</a:t>
            </a:r>
          </a:p>
          <a:p>
            <a:pPr marL="463550" indent="-454025">
              <a:spcAft>
                <a:spcPts val="0"/>
              </a:spcAft>
              <a:buNone/>
            </a:pPr>
            <a:r>
              <a:rPr lang="en-US" sz="1600"/>
              <a:t>	Strong boards demonstrate their commitment to the organization through their financial support.</a:t>
            </a:r>
          </a:p>
          <a:p>
            <a:pPr marL="463550" indent="-454025">
              <a:spcAft>
                <a:spcPts val="0"/>
              </a:spcAft>
              <a:buNone/>
            </a:pPr>
            <a:endParaRPr lang="en-US" sz="1600"/>
          </a:p>
          <a:p>
            <a:pPr marL="463550" indent="-454025">
              <a:spcAft>
                <a:spcPts val="0"/>
              </a:spcAft>
              <a:buNone/>
            </a:pPr>
            <a:r>
              <a:rPr lang="en-US" sz="1600" b="1">
                <a:solidFill>
                  <a:srgbClr val="009DDC"/>
                </a:solidFill>
              </a:rPr>
              <a:t>3.	Face-to-face Solicitation</a:t>
            </a:r>
          </a:p>
          <a:p>
            <a:pPr marL="463550" indent="-454025">
              <a:spcAft>
                <a:spcPts val="0"/>
              </a:spcAft>
              <a:buNone/>
            </a:pPr>
            <a:r>
              <a:rPr lang="en-US" sz="1600"/>
              <a:t>	Strong boards support the organization’s resource development goals.</a:t>
            </a:r>
          </a:p>
        </p:txBody>
      </p:sp>
      <p:sp>
        <p:nvSpPr>
          <p:cNvPr id="4" name="Content Placeholder 3">
            <a:extLst>
              <a:ext uri="{FF2B5EF4-FFF2-40B4-BE49-F238E27FC236}">
                <a16:creationId xmlns:a16="http://schemas.microsoft.com/office/drawing/2014/main" id="{DD39A734-BEFC-DF44-B477-17F7C1407804}"/>
              </a:ext>
            </a:extLst>
          </p:cNvPr>
          <p:cNvSpPr>
            <a:spLocks noGrp="1"/>
          </p:cNvSpPr>
          <p:nvPr>
            <p:ph sz="half" idx="4294967295"/>
          </p:nvPr>
        </p:nvSpPr>
        <p:spPr>
          <a:xfrm>
            <a:off x="6692900" y="7658100"/>
            <a:ext cx="5499100" cy="4076700"/>
          </a:xfrm>
        </p:spPr>
        <p:txBody>
          <a:bodyPr>
            <a:normAutofit fontScale="92500" lnSpcReduction="10000"/>
          </a:bodyPr>
          <a:lstStyle/>
          <a:p>
            <a:pPr marL="463550" lvl="0" indent="-454025">
              <a:spcBef>
                <a:spcPts val="0"/>
              </a:spcBef>
              <a:buClr>
                <a:srgbClr val="009DDC"/>
              </a:buClr>
              <a:buNone/>
              <a:defRPr/>
            </a:pPr>
            <a:r>
              <a:rPr lang="en-US">
                <a:solidFill>
                  <a:srgbClr val="009DDC"/>
                </a:solidFill>
                <a:latin typeface="Arial" panose="020B0604020202020204" pitchFamily="34" charset="0"/>
                <a:cs typeface="Arial" panose="020B0604020202020204" pitchFamily="34" charset="0"/>
              </a:rPr>
              <a:t>4.	Annual Personal Engagement Plan </a:t>
            </a:r>
            <a:br>
              <a:rPr lang="en-US">
                <a:solidFill>
                  <a:srgbClr val="009DDC"/>
                </a:solidFill>
                <a:latin typeface="Arial" panose="020B0604020202020204" pitchFamily="34" charset="0"/>
                <a:cs typeface="Arial" panose="020B0604020202020204" pitchFamily="34" charset="0"/>
              </a:rPr>
            </a:br>
            <a:r>
              <a:rPr lang="en-US" b="0">
                <a:solidFill>
                  <a:srgbClr val="000000"/>
                </a:solidFill>
                <a:latin typeface="Arial" panose="020B0604020202020204" pitchFamily="34" charset="0"/>
                <a:cs typeface="Arial" panose="020B0604020202020204" pitchFamily="34" charset="0"/>
              </a:rPr>
              <a:t>Effective boards clearly define the role each board members plays in the success of the organization.</a:t>
            </a:r>
          </a:p>
          <a:p>
            <a:pPr marL="463550" lvl="0" indent="-454025">
              <a:spcBef>
                <a:spcPts val="0"/>
              </a:spcBef>
              <a:buClr>
                <a:srgbClr val="009DDC"/>
              </a:buClr>
              <a:buNone/>
              <a:defRPr/>
            </a:pPr>
            <a:endParaRPr lang="en-US" b="0">
              <a:solidFill>
                <a:srgbClr val="000000"/>
              </a:solidFill>
              <a:latin typeface="Arial" panose="020B0604020202020204" pitchFamily="34" charset="0"/>
              <a:cs typeface="Arial" panose="020B0604020202020204" pitchFamily="34" charset="0"/>
            </a:endParaRPr>
          </a:p>
          <a:p>
            <a:pPr marL="463550" lvl="0" indent="-454025">
              <a:spcBef>
                <a:spcPts val="0"/>
              </a:spcBef>
              <a:buClr>
                <a:srgbClr val="009DDC"/>
              </a:buClr>
              <a:buNone/>
              <a:defRPr/>
            </a:pPr>
            <a:r>
              <a:rPr lang="en-US">
                <a:solidFill>
                  <a:srgbClr val="009DDC"/>
                </a:solidFill>
                <a:latin typeface="Arial" panose="020B0604020202020204" pitchFamily="34" charset="0"/>
                <a:cs typeface="Arial" panose="020B0604020202020204" pitchFamily="34" charset="0"/>
              </a:rPr>
              <a:t>5.	Serving on a Standing Committee or Task  Group</a:t>
            </a:r>
          </a:p>
          <a:p>
            <a:pPr marL="463550" lvl="0" indent="-454025">
              <a:spcBef>
                <a:spcPts val="0"/>
              </a:spcBef>
              <a:buClr>
                <a:srgbClr val="009DDC"/>
              </a:buClr>
              <a:buNone/>
              <a:defRPr/>
            </a:pPr>
            <a:r>
              <a:rPr lang="en-US" b="0">
                <a:solidFill>
                  <a:srgbClr val="000000"/>
                </a:solidFill>
                <a:latin typeface="Arial" panose="020B0604020202020204" pitchFamily="34" charset="0"/>
                <a:cs typeface="Arial" panose="020B0604020202020204" pitchFamily="34" charset="0"/>
              </a:rPr>
              <a:t>	Strong boards engage board members in the work that makes a difference to the strength of the organization.</a:t>
            </a:r>
          </a:p>
          <a:p>
            <a:pPr marL="463550" lvl="0" indent="-454025">
              <a:spcBef>
                <a:spcPts val="0"/>
              </a:spcBef>
              <a:buClr>
                <a:srgbClr val="009DDC"/>
              </a:buClr>
              <a:buNone/>
              <a:defRPr/>
            </a:pPr>
            <a:endParaRPr lang="en-US" b="0">
              <a:solidFill>
                <a:srgbClr val="000000"/>
              </a:solidFill>
              <a:latin typeface="Arial" panose="020B0604020202020204" pitchFamily="34" charset="0"/>
              <a:cs typeface="Arial" panose="020B0604020202020204" pitchFamily="34" charset="0"/>
            </a:endParaRPr>
          </a:p>
          <a:p>
            <a:pPr marL="463550" lvl="0" indent="-454025">
              <a:spcBef>
                <a:spcPts val="0"/>
              </a:spcBef>
              <a:buClr>
                <a:srgbClr val="009DDC"/>
              </a:buClr>
              <a:buNone/>
              <a:defRPr/>
            </a:pPr>
            <a:r>
              <a:rPr lang="en-US">
                <a:solidFill>
                  <a:srgbClr val="009DDC"/>
                </a:solidFill>
                <a:latin typeface="Arial" panose="020B0604020202020204" pitchFamily="34" charset="0"/>
                <a:cs typeface="Arial" panose="020B0604020202020204" pitchFamily="34" charset="0"/>
              </a:rPr>
              <a:t>6.	Achieving Strategic Initiatives of the Organization</a:t>
            </a:r>
          </a:p>
          <a:p>
            <a:pPr marL="463550" lvl="0" indent="-454025">
              <a:spcBef>
                <a:spcPts val="0"/>
              </a:spcBef>
              <a:buClr>
                <a:srgbClr val="009DDC"/>
              </a:buClr>
              <a:buNone/>
              <a:defRPr/>
            </a:pPr>
            <a:r>
              <a:rPr lang="en-US" b="0">
                <a:solidFill>
                  <a:srgbClr val="000000"/>
                </a:solidFill>
                <a:latin typeface="Arial" panose="020B0604020202020204" pitchFamily="34" charset="0"/>
                <a:cs typeface="Arial" panose="020B0604020202020204" pitchFamily="34" charset="0"/>
              </a:rPr>
              <a:t>	Strong boards have members viewed as leaders in the community with access to people and resources.</a:t>
            </a:r>
          </a:p>
        </p:txBody>
      </p:sp>
      <p:sp>
        <p:nvSpPr>
          <p:cNvPr id="32" name="Rectangle 31">
            <a:extLst>
              <a:ext uri="{FF2B5EF4-FFF2-40B4-BE49-F238E27FC236}">
                <a16:creationId xmlns:a16="http://schemas.microsoft.com/office/drawing/2014/main" id="{95EC6CED-FA54-BA46-91EB-A77FC7BC4BEB}"/>
              </a:ext>
            </a:extLst>
          </p:cNvPr>
          <p:cNvSpPr/>
          <p:nvPr/>
        </p:nvSpPr>
        <p:spPr>
          <a:xfrm>
            <a:off x="6706705" y="383478"/>
            <a:ext cx="3068361" cy="646331"/>
          </a:xfrm>
          <a:prstGeom prst="rect">
            <a:avLst/>
          </a:prstGeom>
        </p:spPr>
        <p:txBody>
          <a:bodyPr wrap="square">
            <a:spAutoFit/>
          </a:bodyPr>
          <a:lstStyle/>
          <a:p>
            <a:pPr indent="-454025" algn="ctr">
              <a:spcAft>
                <a:spcPts val="0"/>
              </a:spcAft>
              <a:buNone/>
            </a:pPr>
            <a:r>
              <a:rPr lang="en-US" b="1">
                <a:solidFill>
                  <a:schemeClr val="accent5"/>
                </a:solidFill>
                <a:latin typeface="Arial" panose="020B0604020202020204" pitchFamily="34" charset="0"/>
                <a:cs typeface="Arial" panose="020B0604020202020204" pitchFamily="34" charset="0"/>
              </a:rPr>
              <a:t>Quarterly Meetings with at Least 1 Face to Face</a:t>
            </a:r>
          </a:p>
        </p:txBody>
      </p:sp>
      <p:sp>
        <p:nvSpPr>
          <p:cNvPr id="51" name="Rectangle 50">
            <a:extLst>
              <a:ext uri="{FF2B5EF4-FFF2-40B4-BE49-F238E27FC236}">
                <a16:creationId xmlns:a16="http://schemas.microsoft.com/office/drawing/2014/main" id="{630DFE11-535D-DC43-A28F-E1319A1974C6}"/>
              </a:ext>
            </a:extLst>
          </p:cNvPr>
          <p:cNvSpPr/>
          <p:nvPr/>
        </p:nvSpPr>
        <p:spPr>
          <a:xfrm>
            <a:off x="9581202" y="1453680"/>
            <a:ext cx="2229797" cy="923330"/>
          </a:xfrm>
          <a:prstGeom prst="rect">
            <a:avLst/>
          </a:prstGeom>
        </p:spPr>
        <p:txBody>
          <a:bodyPr wrap="square">
            <a:spAutoFit/>
          </a:bodyPr>
          <a:lstStyle/>
          <a:p>
            <a:pPr indent="-454025" algn="ctr">
              <a:spcAft>
                <a:spcPts val="0"/>
              </a:spcAft>
              <a:buNone/>
            </a:pPr>
            <a:r>
              <a:rPr lang="en-US" b="1">
                <a:solidFill>
                  <a:schemeClr val="accent5"/>
                </a:solidFill>
                <a:latin typeface="Arial" panose="020B0604020202020204" pitchFamily="34" charset="0"/>
                <a:cs typeface="Arial" panose="020B0604020202020204" pitchFamily="34" charset="0"/>
              </a:rPr>
              <a:t>Consistent Communication with ACL</a:t>
            </a:r>
          </a:p>
        </p:txBody>
      </p:sp>
      <p:sp>
        <p:nvSpPr>
          <p:cNvPr id="126" name="Rectangle 125">
            <a:extLst>
              <a:ext uri="{FF2B5EF4-FFF2-40B4-BE49-F238E27FC236}">
                <a16:creationId xmlns:a16="http://schemas.microsoft.com/office/drawing/2014/main" id="{640D196B-0E78-BA47-A5B8-AD3AB0DE5E2C}"/>
              </a:ext>
            </a:extLst>
          </p:cNvPr>
          <p:cNvSpPr/>
          <p:nvPr/>
        </p:nvSpPr>
        <p:spPr>
          <a:xfrm>
            <a:off x="4535943" y="2817585"/>
            <a:ext cx="1265114" cy="923330"/>
          </a:xfrm>
          <a:prstGeom prst="rect">
            <a:avLst/>
          </a:prstGeom>
        </p:spPr>
        <p:txBody>
          <a:bodyPr wrap="square">
            <a:spAutoFit/>
          </a:bodyPr>
          <a:lstStyle/>
          <a:p>
            <a:pPr indent="-454025" algn="ctr"/>
            <a:r>
              <a:rPr lang="en-US" b="1">
                <a:solidFill>
                  <a:schemeClr val="accent5"/>
                </a:solidFill>
                <a:latin typeface="Arial" panose="020B0604020202020204" pitchFamily="34" charset="0"/>
                <a:cs typeface="Arial" panose="020B0604020202020204" pitchFamily="34" charset="0"/>
              </a:rPr>
              <a:t>AC Strategic Plan</a:t>
            </a:r>
          </a:p>
        </p:txBody>
      </p:sp>
      <p:sp>
        <p:nvSpPr>
          <p:cNvPr id="68" name="Rectangle 67">
            <a:extLst>
              <a:ext uri="{FF2B5EF4-FFF2-40B4-BE49-F238E27FC236}">
                <a16:creationId xmlns:a16="http://schemas.microsoft.com/office/drawing/2014/main" id="{EEAD2A33-DCC1-6A4F-9661-CEE6DD97F987}"/>
              </a:ext>
            </a:extLst>
          </p:cNvPr>
          <p:cNvSpPr/>
          <p:nvPr/>
        </p:nvSpPr>
        <p:spPr>
          <a:xfrm>
            <a:off x="4350072" y="4755655"/>
            <a:ext cx="1497426" cy="646331"/>
          </a:xfrm>
          <a:prstGeom prst="rect">
            <a:avLst/>
          </a:prstGeom>
        </p:spPr>
        <p:txBody>
          <a:bodyPr wrap="square">
            <a:spAutoFit/>
          </a:bodyPr>
          <a:lstStyle/>
          <a:p>
            <a:pPr indent="-454025" algn="ctr">
              <a:spcAft>
                <a:spcPts val="0"/>
              </a:spcAft>
              <a:buNone/>
            </a:pPr>
            <a:r>
              <a:rPr lang="en-US" b="1">
                <a:solidFill>
                  <a:schemeClr val="accent5"/>
                </a:solidFill>
                <a:latin typeface="Arial" panose="020B0604020202020204" pitchFamily="34" charset="0"/>
                <a:cs typeface="Arial" panose="020B0604020202020204" pitchFamily="34" charset="0"/>
              </a:rPr>
              <a:t>Strong Leadership</a:t>
            </a:r>
          </a:p>
        </p:txBody>
      </p:sp>
      <p:sp>
        <p:nvSpPr>
          <p:cNvPr id="102" name="Rectangle 101">
            <a:extLst>
              <a:ext uri="{FF2B5EF4-FFF2-40B4-BE49-F238E27FC236}">
                <a16:creationId xmlns:a16="http://schemas.microsoft.com/office/drawing/2014/main" id="{073AB12F-3A2E-3646-99C7-C752E5BDABA4}"/>
              </a:ext>
            </a:extLst>
          </p:cNvPr>
          <p:cNvSpPr/>
          <p:nvPr/>
        </p:nvSpPr>
        <p:spPr>
          <a:xfrm>
            <a:off x="8220213" y="5974334"/>
            <a:ext cx="3429236" cy="369332"/>
          </a:xfrm>
          <a:prstGeom prst="rect">
            <a:avLst/>
          </a:prstGeom>
        </p:spPr>
        <p:txBody>
          <a:bodyPr wrap="square">
            <a:spAutoFit/>
          </a:bodyPr>
          <a:lstStyle/>
          <a:p>
            <a:pPr indent="-454025" algn="ctr"/>
            <a:r>
              <a:rPr lang="en-US" b="1">
                <a:solidFill>
                  <a:schemeClr val="accent5"/>
                </a:solidFill>
                <a:latin typeface="Arial" panose="020B0604020202020204" pitchFamily="34" charset="0"/>
                <a:cs typeface="Arial" panose="020B0604020202020204" pitchFamily="34" charset="0"/>
              </a:rPr>
              <a:t>Annual Self Evaluation</a:t>
            </a:r>
          </a:p>
        </p:txBody>
      </p:sp>
      <p:sp>
        <p:nvSpPr>
          <p:cNvPr id="220" name="Freeform 219">
            <a:extLst>
              <a:ext uri="{FF2B5EF4-FFF2-40B4-BE49-F238E27FC236}">
                <a16:creationId xmlns:a16="http://schemas.microsoft.com/office/drawing/2014/main" id="{1098D3C3-E5E4-F24B-ADC8-C0428C843EE1}"/>
              </a:ext>
            </a:extLst>
          </p:cNvPr>
          <p:cNvSpPr>
            <a:spLocks noChangeAspect="1"/>
          </p:cNvSpPr>
          <p:nvPr/>
        </p:nvSpPr>
        <p:spPr>
          <a:xfrm>
            <a:off x="7432084" y="1048216"/>
            <a:ext cx="1477713" cy="1477713"/>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accent1">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1852" tIns="271852" rIns="271852" bIns="271852" numCol="1" spcCol="1270" anchor="ctr" anchorCtr="0">
            <a:noAutofit/>
          </a:bodyPr>
          <a:lstStyle/>
          <a:p>
            <a:pPr marL="0" lvl="0" indent="0" algn="ctr" defTabSz="2578100">
              <a:lnSpc>
                <a:spcPct val="90000"/>
              </a:lnSpc>
              <a:spcBef>
                <a:spcPct val="0"/>
              </a:spcBef>
              <a:spcAft>
                <a:spcPct val="35000"/>
              </a:spcAft>
              <a:buNone/>
            </a:pPr>
            <a:endParaRPr lang="en-US" sz="5800" kern="1200"/>
          </a:p>
        </p:txBody>
      </p:sp>
      <p:sp>
        <p:nvSpPr>
          <p:cNvPr id="222" name="Freeform 221">
            <a:extLst>
              <a:ext uri="{FF2B5EF4-FFF2-40B4-BE49-F238E27FC236}">
                <a16:creationId xmlns:a16="http://schemas.microsoft.com/office/drawing/2014/main" id="{2ED9EED2-315C-1C45-A065-81AAE1EC138A}"/>
              </a:ext>
            </a:extLst>
          </p:cNvPr>
          <p:cNvSpPr>
            <a:spLocks noChangeAspect="1"/>
          </p:cNvSpPr>
          <p:nvPr/>
        </p:nvSpPr>
        <p:spPr>
          <a:xfrm>
            <a:off x="9151881" y="2339772"/>
            <a:ext cx="1477713" cy="1477713"/>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accent1">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1852" tIns="271852" rIns="271852" bIns="271852" numCol="1" spcCol="1270" anchor="ctr" anchorCtr="0">
            <a:noAutofit/>
          </a:bodyPr>
          <a:lstStyle/>
          <a:p>
            <a:pPr marL="0" lvl="0" indent="0" algn="ctr" defTabSz="2578100">
              <a:lnSpc>
                <a:spcPct val="90000"/>
              </a:lnSpc>
              <a:spcBef>
                <a:spcPct val="0"/>
              </a:spcBef>
              <a:spcAft>
                <a:spcPct val="35000"/>
              </a:spcAft>
              <a:buNone/>
            </a:pPr>
            <a:endParaRPr lang="en-US" sz="5800" kern="1200"/>
          </a:p>
        </p:txBody>
      </p:sp>
      <p:sp>
        <p:nvSpPr>
          <p:cNvPr id="223" name="Freeform 222">
            <a:extLst>
              <a:ext uri="{FF2B5EF4-FFF2-40B4-BE49-F238E27FC236}">
                <a16:creationId xmlns:a16="http://schemas.microsoft.com/office/drawing/2014/main" id="{3EBEEAF0-6474-2B4D-B547-19D89469BF02}"/>
              </a:ext>
            </a:extLst>
          </p:cNvPr>
          <p:cNvSpPr>
            <a:spLocks noChangeAspect="1"/>
          </p:cNvSpPr>
          <p:nvPr/>
        </p:nvSpPr>
        <p:spPr>
          <a:xfrm>
            <a:off x="9151881" y="4353907"/>
            <a:ext cx="1477713" cy="1477713"/>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accent2">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1852" tIns="271852" rIns="271852" bIns="271852" numCol="1" spcCol="1270" anchor="ctr" anchorCtr="0">
            <a:noAutofit/>
          </a:bodyPr>
          <a:lstStyle/>
          <a:p>
            <a:pPr marL="0" lvl="0" indent="0" algn="ctr" defTabSz="2578100">
              <a:lnSpc>
                <a:spcPct val="90000"/>
              </a:lnSpc>
              <a:spcBef>
                <a:spcPct val="0"/>
              </a:spcBef>
              <a:spcAft>
                <a:spcPct val="35000"/>
              </a:spcAft>
              <a:buNone/>
            </a:pPr>
            <a:endParaRPr lang="en-US" sz="5800" kern="1200"/>
          </a:p>
        </p:txBody>
      </p:sp>
      <p:sp>
        <p:nvSpPr>
          <p:cNvPr id="224" name="Freeform 223">
            <a:extLst>
              <a:ext uri="{FF2B5EF4-FFF2-40B4-BE49-F238E27FC236}">
                <a16:creationId xmlns:a16="http://schemas.microsoft.com/office/drawing/2014/main" id="{B682847E-03F5-7140-882D-F7958A0E6BB1}"/>
              </a:ext>
            </a:extLst>
          </p:cNvPr>
          <p:cNvSpPr>
            <a:spLocks noChangeAspect="1"/>
          </p:cNvSpPr>
          <p:nvPr/>
        </p:nvSpPr>
        <p:spPr>
          <a:xfrm>
            <a:off x="6159338" y="4353158"/>
            <a:ext cx="1477713" cy="1477713"/>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accent1">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1852" tIns="271852" rIns="271852" bIns="271852" numCol="1" spcCol="1270" anchor="ctr" anchorCtr="0">
            <a:noAutofit/>
          </a:bodyPr>
          <a:lstStyle/>
          <a:p>
            <a:pPr marL="0" lvl="0" indent="0" algn="ctr" defTabSz="2578100">
              <a:lnSpc>
                <a:spcPct val="90000"/>
              </a:lnSpc>
              <a:spcBef>
                <a:spcPct val="0"/>
              </a:spcBef>
              <a:spcAft>
                <a:spcPct val="35000"/>
              </a:spcAft>
              <a:buNone/>
            </a:pPr>
            <a:endParaRPr lang="en-US" sz="5800" kern="1200"/>
          </a:p>
        </p:txBody>
      </p:sp>
      <p:sp>
        <p:nvSpPr>
          <p:cNvPr id="225" name="Freeform 224">
            <a:extLst>
              <a:ext uri="{FF2B5EF4-FFF2-40B4-BE49-F238E27FC236}">
                <a16:creationId xmlns:a16="http://schemas.microsoft.com/office/drawing/2014/main" id="{64D31D32-6A27-1C46-9BAD-E66B6980578E}"/>
              </a:ext>
            </a:extLst>
          </p:cNvPr>
          <p:cNvSpPr>
            <a:spLocks noChangeAspect="1"/>
          </p:cNvSpPr>
          <p:nvPr/>
        </p:nvSpPr>
        <p:spPr>
          <a:xfrm>
            <a:off x="6159338" y="2454023"/>
            <a:ext cx="1477713" cy="1477713"/>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chemeClr val="accent2">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1852" tIns="271852" rIns="271852" bIns="271852" numCol="1" spcCol="1270" anchor="ctr" anchorCtr="0">
            <a:noAutofit/>
          </a:bodyPr>
          <a:lstStyle/>
          <a:p>
            <a:pPr marL="0" lvl="0" indent="0" algn="ctr" defTabSz="2578100">
              <a:lnSpc>
                <a:spcPct val="90000"/>
              </a:lnSpc>
              <a:spcBef>
                <a:spcPct val="0"/>
              </a:spcBef>
              <a:spcAft>
                <a:spcPct val="35000"/>
              </a:spcAft>
              <a:buNone/>
            </a:pPr>
            <a:endParaRPr lang="en-US" sz="5800" kern="1200"/>
          </a:p>
        </p:txBody>
      </p:sp>
      <p:grpSp>
        <p:nvGrpSpPr>
          <p:cNvPr id="28" name="Group 27">
            <a:extLst>
              <a:ext uri="{FF2B5EF4-FFF2-40B4-BE49-F238E27FC236}">
                <a16:creationId xmlns:a16="http://schemas.microsoft.com/office/drawing/2014/main" id="{E021A0A8-F125-A44B-805D-37BCC86959D4}"/>
              </a:ext>
            </a:extLst>
          </p:cNvPr>
          <p:cNvGrpSpPr/>
          <p:nvPr/>
        </p:nvGrpSpPr>
        <p:grpSpPr>
          <a:xfrm>
            <a:off x="7589935" y="1160699"/>
            <a:ext cx="1151522" cy="1179073"/>
            <a:chOff x="5259038" y="2594324"/>
            <a:chExt cx="1719833" cy="1760982"/>
          </a:xfrm>
          <a:solidFill>
            <a:srgbClr val="009DDC"/>
          </a:solidFill>
        </p:grpSpPr>
        <p:sp>
          <p:nvSpPr>
            <p:cNvPr id="15" name="Freeform 14">
              <a:extLst>
                <a:ext uri="{FF2B5EF4-FFF2-40B4-BE49-F238E27FC236}">
                  <a16:creationId xmlns:a16="http://schemas.microsoft.com/office/drawing/2014/main" id="{54C3469A-2B74-9F4F-9918-8C3CF14DF5FF}"/>
                </a:ext>
              </a:extLst>
            </p:cNvPr>
            <p:cNvSpPr/>
            <p:nvPr/>
          </p:nvSpPr>
          <p:spPr>
            <a:xfrm>
              <a:off x="5931408" y="3411188"/>
              <a:ext cx="358520" cy="358711"/>
            </a:xfrm>
            <a:custGeom>
              <a:avLst/>
              <a:gdLst>
                <a:gd name="connsiteX0" fmla="*/ 179261 w 358520"/>
                <a:gd name="connsiteY0" fmla="*/ 358711 h 358711"/>
                <a:gd name="connsiteX1" fmla="*/ 358521 w 358520"/>
                <a:gd name="connsiteY1" fmla="*/ 179356 h 358711"/>
                <a:gd name="connsiteX2" fmla="*/ 179261 w 358520"/>
                <a:gd name="connsiteY2" fmla="*/ 0 h 358711"/>
                <a:gd name="connsiteX3" fmla="*/ 0 w 358520"/>
                <a:gd name="connsiteY3" fmla="*/ 179356 h 358711"/>
                <a:gd name="connsiteX4" fmla="*/ 179261 w 358520"/>
                <a:gd name="connsiteY4" fmla="*/ 358711 h 358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20" h="358711">
                  <a:moveTo>
                    <a:pt x="179261" y="358711"/>
                  </a:moveTo>
                  <a:cubicBezTo>
                    <a:pt x="278225" y="358711"/>
                    <a:pt x="358521" y="278416"/>
                    <a:pt x="358521" y="179356"/>
                  </a:cubicBezTo>
                  <a:cubicBezTo>
                    <a:pt x="358521" y="80296"/>
                    <a:pt x="278225" y="0"/>
                    <a:pt x="179261" y="0"/>
                  </a:cubicBezTo>
                  <a:cubicBezTo>
                    <a:pt x="80200" y="0"/>
                    <a:pt x="0" y="80201"/>
                    <a:pt x="0" y="179356"/>
                  </a:cubicBezTo>
                  <a:cubicBezTo>
                    <a:pt x="0" y="278416"/>
                    <a:pt x="80296" y="358711"/>
                    <a:pt x="179261" y="358711"/>
                  </a:cubicBezTo>
                  <a:close/>
                </a:path>
              </a:pathLst>
            </a:custGeom>
            <a:grpFill/>
            <a:ln w="9525" cap="flat">
              <a:noFill/>
              <a:prstDash val="solid"/>
              <a:miter/>
            </a:ln>
          </p:spPr>
          <p:txBody>
            <a:bodyPr rtlCol="0" anchor="ctr"/>
            <a:lstStyle/>
            <a:p>
              <a:endParaRPr lang="en-US"/>
            </a:p>
          </p:txBody>
        </p:sp>
        <p:grpSp>
          <p:nvGrpSpPr>
            <p:cNvPr id="17" name="Graphic 8">
              <a:extLst>
                <a:ext uri="{FF2B5EF4-FFF2-40B4-BE49-F238E27FC236}">
                  <a16:creationId xmlns:a16="http://schemas.microsoft.com/office/drawing/2014/main" id="{6E14CF24-D6A1-604C-9991-EB7CD0D99B1E}"/>
                </a:ext>
              </a:extLst>
            </p:cNvPr>
            <p:cNvGrpSpPr/>
            <p:nvPr/>
          </p:nvGrpSpPr>
          <p:grpSpPr>
            <a:xfrm>
              <a:off x="5259038" y="2594324"/>
              <a:ext cx="606300" cy="1181576"/>
              <a:chOff x="5259038" y="2594324"/>
              <a:chExt cx="606300" cy="1181576"/>
            </a:xfrm>
            <a:grpFill/>
          </p:grpSpPr>
          <p:sp>
            <p:nvSpPr>
              <p:cNvPr id="18" name="Freeform 17">
                <a:extLst>
                  <a:ext uri="{FF2B5EF4-FFF2-40B4-BE49-F238E27FC236}">
                    <a16:creationId xmlns:a16="http://schemas.microsoft.com/office/drawing/2014/main" id="{DA186D8E-01B9-6A4C-A39E-62AA85BEB8A7}"/>
                  </a:ext>
                </a:extLst>
              </p:cNvPr>
              <p:cNvSpPr/>
              <p:nvPr/>
            </p:nvSpPr>
            <p:spPr>
              <a:xfrm>
                <a:off x="5261229" y="2594324"/>
                <a:ext cx="337185" cy="337184"/>
              </a:xfrm>
              <a:custGeom>
                <a:avLst/>
                <a:gdLst>
                  <a:gd name="connsiteX0" fmla="*/ 168593 w 337185"/>
                  <a:gd name="connsiteY0" fmla="*/ 337185 h 337184"/>
                  <a:gd name="connsiteX1" fmla="*/ 337185 w 337185"/>
                  <a:gd name="connsiteY1" fmla="*/ 168593 h 337184"/>
                  <a:gd name="connsiteX2" fmla="*/ 168593 w 337185"/>
                  <a:gd name="connsiteY2" fmla="*/ 0 h 337184"/>
                  <a:gd name="connsiteX3" fmla="*/ 0 w 337185"/>
                  <a:gd name="connsiteY3" fmla="*/ 168593 h 337184"/>
                  <a:gd name="connsiteX4" fmla="*/ 168593 w 337185"/>
                  <a:gd name="connsiteY4" fmla="*/ 337185 h 337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5" h="337184">
                    <a:moveTo>
                      <a:pt x="168593" y="337185"/>
                    </a:moveTo>
                    <a:cubicBezTo>
                      <a:pt x="261652" y="337185"/>
                      <a:pt x="337185" y="261747"/>
                      <a:pt x="337185" y="168593"/>
                    </a:cubicBezTo>
                    <a:cubicBezTo>
                      <a:pt x="337185" y="75438"/>
                      <a:pt x="261747" y="0"/>
                      <a:pt x="168593" y="0"/>
                    </a:cubicBezTo>
                    <a:cubicBezTo>
                      <a:pt x="75533" y="0"/>
                      <a:pt x="0" y="75438"/>
                      <a:pt x="0" y="168593"/>
                    </a:cubicBezTo>
                    <a:cubicBezTo>
                      <a:pt x="0" y="261747"/>
                      <a:pt x="75533" y="337185"/>
                      <a:pt x="168593" y="337185"/>
                    </a:cubicBezTo>
                    <a:close/>
                  </a:path>
                </a:pathLst>
              </a:custGeom>
              <a:grpFill/>
              <a:ln w="9525"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1EF2278-B160-EC4A-B6D5-46006F9060A3}"/>
                  </a:ext>
                </a:extLst>
              </p:cNvPr>
              <p:cNvSpPr/>
              <p:nvPr/>
            </p:nvSpPr>
            <p:spPr>
              <a:xfrm>
                <a:off x="5385532" y="3068365"/>
                <a:ext cx="479806" cy="435603"/>
              </a:xfrm>
              <a:custGeom>
                <a:avLst/>
                <a:gdLst>
                  <a:gd name="connsiteX0" fmla="*/ 379950 w 479806"/>
                  <a:gd name="connsiteY0" fmla="*/ 434072 h 435603"/>
                  <a:gd name="connsiteX1" fmla="*/ 99058 w 479806"/>
                  <a:gd name="connsiteY1" fmla="*/ 379684 h 435603"/>
                  <a:gd name="connsiteX2" fmla="*/ 379 w 479806"/>
                  <a:gd name="connsiteY2" fmla="*/ 249954 h 435603"/>
                  <a:gd name="connsiteX3" fmla="*/ 474 w 479806"/>
                  <a:gd name="connsiteY3" fmla="*/ 248811 h 435603"/>
                  <a:gd name="connsiteX4" fmla="*/ 28573 w 479806"/>
                  <a:gd name="connsiteY4" fmla="*/ 22782 h 435603"/>
                  <a:gd name="connsiteX5" fmla="*/ 57529 w 479806"/>
                  <a:gd name="connsiteY5" fmla="*/ 208 h 435603"/>
                  <a:gd name="connsiteX6" fmla="*/ 80103 w 479806"/>
                  <a:gd name="connsiteY6" fmla="*/ 29164 h 435603"/>
                  <a:gd name="connsiteX7" fmla="*/ 52099 w 479806"/>
                  <a:gd name="connsiteY7" fmla="*/ 254621 h 435603"/>
                  <a:gd name="connsiteX8" fmla="*/ 108868 w 479806"/>
                  <a:gd name="connsiteY8" fmla="*/ 328630 h 435603"/>
                  <a:gd name="connsiteX9" fmla="*/ 389761 w 479806"/>
                  <a:gd name="connsiteY9" fmla="*/ 383018 h 435603"/>
                  <a:gd name="connsiteX10" fmla="*/ 427194 w 479806"/>
                  <a:gd name="connsiteY10" fmla="*/ 357681 h 435603"/>
                  <a:gd name="connsiteX11" fmla="*/ 401857 w 479806"/>
                  <a:gd name="connsiteY11" fmla="*/ 320248 h 435603"/>
                  <a:gd name="connsiteX12" fmla="*/ 153541 w 479806"/>
                  <a:gd name="connsiteY12" fmla="*/ 272147 h 435603"/>
                  <a:gd name="connsiteX13" fmla="*/ 132681 w 479806"/>
                  <a:gd name="connsiteY13" fmla="*/ 244048 h 435603"/>
                  <a:gd name="connsiteX14" fmla="*/ 144873 w 479806"/>
                  <a:gd name="connsiteY14" fmla="*/ 122795 h 435603"/>
                  <a:gd name="connsiteX15" fmla="*/ 173353 w 479806"/>
                  <a:gd name="connsiteY15" fmla="*/ 99554 h 435603"/>
                  <a:gd name="connsiteX16" fmla="*/ 196594 w 479806"/>
                  <a:gd name="connsiteY16" fmla="*/ 128034 h 435603"/>
                  <a:gd name="connsiteX17" fmla="*/ 186783 w 479806"/>
                  <a:gd name="connsiteY17" fmla="*/ 225665 h 435603"/>
                  <a:gd name="connsiteX18" fmla="*/ 411859 w 479806"/>
                  <a:gd name="connsiteY18" fmla="*/ 269194 h 435603"/>
                  <a:gd name="connsiteX19" fmla="*/ 478248 w 479806"/>
                  <a:gd name="connsiteY19" fmla="*/ 367492 h 435603"/>
                  <a:gd name="connsiteX20" fmla="*/ 379950 w 479806"/>
                  <a:gd name="connsiteY20" fmla="*/ 434072 h 43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806" h="435603">
                    <a:moveTo>
                      <a:pt x="379950" y="434072"/>
                    </a:moveTo>
                    <a:lnTo>
                      <a:pt x="99058" y="379684"/>
                    </a:lnTo>
                    <a:cubicBezTo>
                      <a:pt x="37907" y="367873"/>
                      <a:pt x="-4479" y="312057"/>
                      <a:pt x="379" y="249954"/>
                    </a:cubicBezTo>
                    <a:cubicBezTo>
                      <a:pt x="379" y="249573"/>
                      <a:pt x="474" y="249192"/>
                      <a:pt x="474" y="248811"/>
                    </a:cubicBezTo>
                    <a:lnTo>
                      <a:pt x="28573" y="22782"/>
                    </a:lnTo>
                    <a:cubicBezTo>
                      <a:pt x="30382" y="8590"/>
                      <a:pt x="43336" y="-1602"/>
                      <a:pt x="57529" y="208"/>
                    </a:cubicBezTo>
                    <a:cubicBezTo>
                      <a:pt x="71721" y="2018"/>
                      <a:pt x="81913" y="14972"/>
                      <a:pt x="80103" y="29164"/>
                    </a:cubicBezTo>
                    <a:lnTo>
                      <a:pt x="52099" y="254621"/>
                    </a:lnTo>
                    <a:cubicBezTo>
                      <a:pt x="49528" y="290149"/>
                      <a:pt x="73912" y="321867"/>
                      <a:pt x="108868" y="328630"/>
                    </a:cubicBezTo>
                    <a:lnTo>
                      <a:pt x="389761" y="383018"/>
                    </a:lnTo>
                    <a:cubicBezTo>
                      <a:pt x="407096" y="386352"/>
                      <a:pt x="423860" y="375017"/>
                      <a:pt x="427194" y="357681"/>
                    </a:cubicBezTo>
                    <a:cubicBezTo>
                      <a:pt x="430528" y="340346"/>
                      <a:pt x="419193" y="323582"/>
                      <a:pt x="401857" y="320248"/>
                    </a:cubicBezTo>
                    <a:lnTo>
                      <a:pt x="153541" y="272147"/>
                    </a:lnTo>
                    <a:cubicBezTo>
                      <a:pt x="140396" y="269575"/>
                      <a:pt x="131252" y="257383"/>
                      <a:pt x="132681" y="244048"/>
                    </a:cubicBezTo>
                    <a:lnTo>
                      <a:pt x="144873" y="122795"/>
                    </a:lnTo>
                    <a:cubicBezTo>
                      <a:pt x="146302" y="108507"/>
                      <a:pt x="159065" y="98125"/>
                      <a:pt x="173353" y="99554"/>
                    </a:cubicBezTo>
                    <a:cubicBezTo>
                      <a:pt x="187640" y="100983"/>
                      <a:pt x="198022" y="113746"/>
                      <a:pt x="196594" y="128034"/>
                    </a:cubicBezTo>
                    <a:lnTo>
                      <a:pt x="186783" y="225665"/>
                    </a:lnTo>
                    <a:lnTo>
                      <a:pt x="411859" y="269194"/>
                    </a:lnTo>
                    <a:cubicBezTo>
                      <a:pt x="457293" y="277957"/>
                      <a:pt x="487106" y="322058"/>
                      <a:pt x="478248" y="367492"/>
                    </a:cubicBezTo>
                    <a:cubicBezTo>
                      <a:pt x="469485" y="413117"/>
                      <a:pt x="425384" y="442835"/>
                      <a:pt x="379950" y="434072"/>
                    </a:cubicBezTo>
                    <a:close/>
                  </a:path>
                </a:pathLst>
              </a:custGeom>
              <a:grpFill/>
              <a:ln w="9525"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85EA8579-5C0D-FD48-8775-5981B12C2F72}"/>
                  </a:ext>
                </a:extLst>
              </p:cNvPr>
              <p:cNvSpPr/>
              <p:nvPr/>
            </p:nvSpPr>
            <p:spPr>
              <a:xfrm>
                <a:off x="5259038" y="2950368"/>
                <a:ext cx="440964" cy="698563"/>
              </a:xfrm>
              <a:custGeom>
                <a:avLst/>
                <a:gdLst>
                  <a:gd name="connsiteX0" fmla="*/ 26003 w 440964"/>
                  <a:gd name="connsiteY0" fmla="*/ 698563 h 698563"/>
                  <a:gd name="connsiteX1" fmla="*/ 0 w 440964"/>
                  <a:gd name="connsiteY1" fmla="*/ 672560 h 698563"/>
                  <a:gd name="connsiteX2" fmla="*/ 0 w 440964"/>
                  <a:gd name="connsiteY2" fmla="*/ 220504 h 698563"/>
                  <a:gd name="connsiteX3" fmla="*/ 220504 w 440964"/>
                  <a:gd name="connsiteY3" fmla="*/ 0 h 698563"/>
                  <a:gd name="connsiteX4" fmla="*/ 411861 w 440964"/>
                  <a:gd name="connsiteY4" fmla="*/ 150781 h 698563"/>
                  <a:gd name="connsiteX5" fmla="*/ 440245 w 440964"/>
                  <a:gd name="connsiteY5" fmla="*/ 268986 h 698563"/>
                  <a:gd name="connsiteX6" fmla="*/ 421100 w 440964"/>
                  <a:gd name="connsiteY6" fmla="*/ 300323 h 698563"/>
                  <a:gd name="connsiteX7" fmla="*/ 389763 w 440964"/>
                  <a:gd name="connsiteY7" fmla="*/ 281178 h 698563"/>
                  <a:gd name="connsiteX8" fmla="*/ 361379 w 440964"/>
                  <a:gd name="connsiteY8" fmla="*/ 162973 h 698563"/>
                  <a:gd name="connsiteX9" fmla="*/ 220504 w 440964"/>
                  <a:gd name="connsiteY9" fmla="*/ 52006 h 698563"/>
                  <a:gd name="connsiteX10" fmla="*/ 51911 w 440964"/>
                  <a:gd name="connsiteY10" fmla="*/ 220599 h 698563"/>
                  <a:gd name="connsiteX11" fmla="*/ 51911 w 440964"/>
                  <a:gd name="connsiteY11" fmla="*/ 672655 h 698563"/>
                  <a:gd name="connsiteX12" fmla="*/ 26003 w 440964"/>
                  <a:gd name="connsiteY12" fmla="*/ 698563 h 69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0964" h="698563">
                    <a:moveTo>
                      <a:pt x="26003" y="698563"/>
                    </a:moveTo>
                    <a:cubicBezTo>
                      <a:pt x="11620" y="698563"/>
                      <a:pt x="0" y="686943"/>
                      <a:pt x="0" y="672560"/>
                    </a:cubicBezTo>
                    <a:lnTo>
                      <a:pt x="0" y="220504"/>
                    </a:lnTo>
                    <a:cubicBezTo>
                      <a:pt x="0" y="98869"/>
                      <a:pt x="98965" y="0"/>
                      <a:pt x="220504" y="0"/>
                    </a:cubicBezTo>
                    <a:cubicBezTo>
                      <a:pt x="311849" y="0"/>
                      <a:pt x="390525" y="62008"/>
                      <a:pt x="411861" y="150781"/>
                    </a:cubicBezTo>
                    <a:lnTo>
                      <a:pt x="440245" y="268986"/>
                    </a:lnTo>
                    <a:cubicBezTo>
                      <a:pt x="443579" y="282892"/>
                      <a:pt x="435007" y="296990"/>
                      <a:pt x="421100" y="300323"/>
                    </a:cubicBezTo>
                    <a:cubicBezTo>
                      <a:pt x="407099" y="303657"/>
                      <a:pt x="393097" y="295085"/>
                      <a:pt x="389763" y="281178"/>
                    </a:cubicBezTo>
                    <a:lnTo>
                      <a:pt x="361379" y="162973"/>
                    </a:lnTo>
                    <a:cubicBezTo>
                      <a:pt x="345662" y="97631"/>
                      <a:pt x="287750" y="52006"/>
                      <a:pt x="220504" y="52006"/>
                    </a:cubicBezTo>
                    <a:cubicBezTo>
                      <a:pt x="127540" y="52006"/>
                      <a:pt x="51911" y="127635"/>
                      <a:pt x="51911" y="220599"/>
                    </a:cubicBezTo>
                    <a:lnTo>
                      <a:pt x="51911" y="672655"/>
                    </a:lnTo>
                    <a:cubicBezTo>
                      <a:pt x="51911" y="686943"/>
                      <a:pt x="40291" y="698563"/>
                      <a:pt x="26003" y="698563"/>
                    </a:cubicBezTo>
                    <a:close/>
                  </a:path>
                </a:pathLst>
              </a:custGeom>
              <a:grpFill/>
              <a:ln w="9525"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D4461667-8A97-9348-9549-108753F7A192}"/>
                  </a:ext>
                </a:extLst>
              </p:cNvPr>
              <p:cNvSpPr/>
              <p:nvPr/>
            </p:nvSpPr>
            <p:spPr>
              <a:xfrm>
                <a:off x="5322593" y="3422372"/>
                <a:ext cx="438983" cy="353527"/>
              </a:xfrm>
              <a:custGeom>
                <a:avLst/>
                <a:gdLst>
                  <a:gd name="connsiteX0" fmla="*/ 412980 w 438983"/>
                  <a:gd name="connsiteY0" fmla="*/ 353528 h 353527"/>
                  <a:gd name="connsiteX1" fmla="*/ 25980 w 438983"/>
                  <a:gd name="connsiteY1" fmla="*/ 353528 h 353527"/>
                  <a:gd name="connsiteX2" fmla="*/ 2453 w 438983"/>
                  <a:gd name="connsiteY2" fmla="*/ 339431 h 353527"/>
                  <a:gd name="connsiteX3" fmla="*/ 5977 w 438983"/>
                  <a:gd name="connsiteY3" fmla="*/ 313428 h 353527"/>
                  <a:gd name="connsiteX4" fmla="*/ 275439 w 438983"/>
                  <a:gd name="connsiteY4" fmla="*/ 8818 h 353527"/>
                  <a:gd name="connsiteX5" fmla="*/ 312015 w 438983"/>
                  <a:gd name="connsiteY5" fmla="*/ 5675 h 353527"/>
                  <a:gd name="connsiteX6" fmla="*/ 315349 w 438983"/>
                  <a:gd name="connsiteY6" fmla="*/ 40155 h 353527"/>
                  <a:gd name="connsiteX7" fmla="*/ 81415 w 438983"/>
                  <a:gd name="connsiteY7" fmla="*/ 304569 h 353527"/>
                  <a:gd name="connsiteX8" fmla="*/ 412980 w 438983"/>
                  <a:gd name="connsiteY8" fmla="*/ 304569 h 353527"/>
                  <a:gd name="connsiteX9" fmla="*/ 438984 w 438983"/>
                  <a:gd name="connsiteY9" fmla="*/ 329049 h 353527"/>
                  <a:gd name="connsiteX10" fmla="*/ 412980 w 438983"/>
                  <a:gd name="connsiteY10" fmla="*/ 353528 h 3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983" h="353527">
                    <a:moveTo>
                      <a:pt x="412980" y="353528"/>
                    </a:moveTo>
                    <a:lnTo>
                      <a:pt x="25980" y="353528"/>
                    </a:lnTo>
                    <a:cubicBezTo>
                      <a:pt x="15883" y="353528"/>
                      <a:pt x="6739" y="348003"/>
                      <a:pt x="2453" y="339431"/>
                    </a:cubicBezTo>
                    <a:cubicBezTo>
                      <a:pt x="-1833" y="330858"/>
                      <a:pt x="-405" y="320667"/>
                      <a:pt x="5977" y="313428"/>
                    </a:cubicBezTo>
                    <a:lnTo>
                      <a:pt x="275439" y="8818"/>
                    </a:lnTo>
                    <a:cubicBezTo>
                      <a:pt x="284583" y="-1564"/>
                      <a:pt x="300966" y="-2993"/>
                      <a:pt x="312015" y="5675"/>
                    </a:cubicBezTo>
                    <a:cubicBezTo>
                      <a:pt x="323064" y="14342"/>
                      <a:pt x="324493" y="29773"/>
                      <a:pt x="315349" y="40155"/>
                    </a:cubicBezTo>
                    <a:lnTo>
                      <a:pt x="81415" y="304569"/>
                    </a:lnTo>
                    <a:lnTo>
                      <a:pt x="412980" y="304569"/>
                    </a:lnTo>
                    <a:cubicBezTo>
                      <a:pt x="427363" y="304569"/>
                      <a:pt x="438984" y="315523"/>
                      <a:pt x="438984" y="329049"/>
                    </a:cubicBezTo>
                    <a:cubicBezTo>
                      <a:pt x="438984" y="342574"/>
                      <a:pt x="427363" y="353528"/>
                      <a:pt x="412980" y="353528"/>
                    </a:cubicBezTo>
                    <a:close/>
                  </a:path>
                </a:pathLst>
              </a:custGeom>
              <a:grpFill/>
              <a:ln w="9525" cap="flat">
                <a:noFill/>
                <a:prstDash val="solid"/>
                <a:miter/>
              </a:ln>
            </p:spPr>
            <p:txBody>
              <a:bodyPr rtlCol="0" anchor="ctr"/>
              <a:lstStyle/>
              <a:p>
                <a:endParaRPr lang="en-US"/>
              </a:p>
            </p:txBody>
          </p:sp>
        </p:grpSp>
        <p:grpSp>
          <p:nvGrpSpPr>
            <p:cNvPr id="22" name="Graphic 8">
              <a:extLst>
                <a:ext uri="{FF2B5EF4-FFF2-40B4-BE49-F238E27FC236}">
                  <a16:creationId xmlns:a16="http://schemas.microsoft.com/office/drawing/2014/main" id="{6E14CF24-D6A1-604C-9991-EB7CD0D99B1E}"/>
                </a:ext>
              </a:extLst>
            </p:cNvPr>
            <p:cNvGrpSpPr/>
            <p:nvPr/>
          </p:nvGrpSpPr>
          <p:grpSpPr>
            <a:xfrm>
              <a:off x="6372476" y="2594324"/>
              <a:ext cx="606395" cy="1181576"/>
              <a:chOff x="6372476" y="2594324"/>
              <a:chExt cx="606395" cy="1181576"/>
            </a:xfrm>
            <a:grpFill/>
          </p:grpSpPr>
          <p:sp>
            <p:nvSpPr>
              <p:cNvPr id="23" name="Freeform 22">
                <a:extLst>
                  <a:ext uri="{FF2B5EF4-FFF2-40B4-BE49-F238E27FC236}">
                    <a16:creationId xmlns:a16="http://schemas.microsoft.com/office/drawing/2014/main" id="{73A8524C-0470-E348-9CB8-C106C63CD1A2}"/>
                  </a:ext>
                </a:extLst>
              </p:cNvPr>
              <p:cNvSpPr/>
              <p:nvPr/>
            </p:nvSpPr>
            <p:spPr>
              <a:xfrm>
                <a:off x="6639401" y="2594324"/>
                <a:ext cx="337184" cy="337184"/>
              </a:xfrm>
              <a:custGeom>
                <a:avLst/>
                <a:gdLst>
                  <a:gd name="connsiteX0" fmla="*/ 168592 w 337184"/>
                  <a:gd name="connsiteY0" fmla="*/ 337185 h 337184"/>
                  <a:gd name="connsiteX1" fmla="*/ 0 w 337184"/>
                  <a:gd name="connsiteY1" fmla="*/ 168593 h 337184"/>
                  <a:gd name="connsiteX2" fmla="*/ 168592 w 337184"/>
                  <a:gd name="connsiteY2" fmla="*/ 0 h 337184"/>
                  <a:gd name="connsiteX3" fmla="*/ 337185 w 337184"/>
                  <a:gd name="connsiteY3" fmla="*/ 168593 h 337184"/>
                  <a:gd name="connsiteX4" fmla="*/ 168592 w 337184"/>
                  <a:gd name="connsiteY4" fmla="*/ 337185 h 337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184">
                    <a:moveTo>
                      <a:pt x="168592" y="337185"/>
                    </a:moveTo>
                    <a:cubicBezTo>
                      <a:pt x="75533" y="337185"/>
                      <a:pt x="0" y="261747"/>
                      <a:pt x="0" y="168593"/>
                    </a:cubicBezTo>
                    <a:cubicBezTo>
                      <a:pt x="0" y="75438"/>
                      <a:pt x="75438" y="0"/>
                      <a:pt x="168592" y="0"/>
                    </a:cubicBezTo>
                    <a:cubicBezTo>
                      <a:pt x="261652" y="0"/>
                      <a:pt x="337185" y="75438"/>
                      <a:pt x="337185" y="168593"/>
                    </a:cubicBezTo>
                    <a:cubicBezTo>
                      <a:pt x="337185" y="261747"/>
                      <a:pt x="261747" y="337185"/>
                      <a:pt x="168592" y="337185"/>
                    </a:cubicBezTo>
                    <a:close/>
                  </a:path>
                </a:pathLst>
              </a:custGeom>
              <a:grp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080A288B-C638-E448-8ACF-1B43463F61EF}"/>
                  </a:ext>
                </a:extLst>
              </p:cNvPr>
              <p:cNvSpPr/>
              <p:nvPr/>
            </p:nvSpPr>
            <p:spPr>
              <a:xfrm>
                <a:off x="6372476" y="3068365"/>
                <a:ext cx="479806" cy="435603"/>
              </a:xfrm>
              <a:custGeom>
                <a:avLst/>
                <a:gdLst>
                  <a:gd name="connsiteX0" fmla="*/ 99856 w 479806"/>
                  <a:gd name="connsiteY0" fmla="*/ 434072 h 435603"/>
                  <a:gd name="connsiteX1" fmla="*/ 380749 w 479806"/>
                  <a:gd name="connsiteY1" fmla="*/ 379684 h 435603"/>
                  <a:gd name="connsiteX2" fmla="*/ 479428 w 479806"/>
                  <a:gd name="connsiteY2" fmla="*/ 249954 h 435603"/>
                  <a:gd name="connsiteX3" fmla="*/ 479332 w 479806"/>
                  <a:gd name="connsiteY3" fmla="*/ 248811 h 435603"/>
                  <a:gd name="connsiteX4" fmla="*/ 451234 w 479806"/>
                  <a:gd name="connsiteY4" fmla="*/ 22782 h 435603"/>
                  <a:gd name="connsiteX5" fmla="*/ 422278 w 479806"/>
                  <a:gd name="connsiteY5" fmla="*/ 208 h 435603"/>
                  <a:gd name="connsiteX6" fmla="*/ 399703 w 479806"/>
                  <a:gd name="connsiteY6" fmla="*/ 29164 h 435603"/>
                  <a:gd name="connsiteX7" fmla="*/ 427707 w 479806"/>
                  <a:gd name="connsiteY7" fmla="*/ 254621 h 435603"/>
                  <a:gd name="connsiteX8" fmla="*/ 370938 w 479806"/>
                  <a:gd name="connsiteY8" fmla="*/ 328630 h 435603"/>
                  <a:gd name="connsiteX9" fmla="*/ 90046 w 479806"/>
                  <a:gd name="connsiteY9" fmla="*/ 383018 h 435603"/>
                  <a:gd name="connsiteX10" fmla="*/ 52612 w 479806"/>
                  <a:gd name="connsiteY10" fmla="*/ 357681 h 435603"/>
                  <a:gd name="connsiteX11" fmla="*/ 77949 w 479806"/>
                  <a:gd name="connsiteY11" fmla="*/ 320248 h 435603"/>
                  <a:gd name="connsiteX12" fmla="*/ 326266 w 479806"/>
                  <a:gd name="connsiteY12" fmla="*/ 272147 h 435603"/>
                  <a:gd name="connsiteX13" fmla="*/ 347125 w 479806"/>
                  <a:gd name="connsiteY13" fmla="*/ 244048 h 435603"/>
                  <a:gd name="connsiteX14" fmla="*/ 334933 w 479806"/>
                  <a:gd name="connsiteY14" fmla="*/ 122795 h 435603"/>
                  <a:gd name="connsiteX15" fmla="*/ 306454 w 479806"/>
                  <a:gd name="connsiteY15" fmla="*/ 99554 h 435603"/>
                  <a:gd name="connsiteX16" fmla="*/ 283213 w 479806"/>
                  <a:gd name="connsiteY16" fmla="*/ 128034 h 435603"/>
                  <a:gd name="connsiteX17" fmla="*/ 293023 w 479806"/>
                  <a:gd name="connsiteY17" fmla="*/ 225665 h 435603"/>
                  <a:gd name="connsiteX18" fmla="*/ 67948 w 479806"/>
                  <a:gd name="connsiteY18" fmla="*/ 269194 h 435603"/>
                  <a:gd name="connsiteX19" fmla="*/ 1558 w 479806"/>
                  <a:gd name="connsiteY19" fmla="*/ 367492 h 435603"/>
                  <a:gd name="connsiteX20" fmla="*/ 99856 w 479806"/>
                  <a:gd name="connsiteY20" fmla="*/ 434072 h 43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806" h="435603">
                    <a:moveTo>
                      <a:pt x="99856" y="434072"/>
                    </a:moveTo>
                    <a:lnTo>
                      <a:pt x="380749" y="379684"/>
                    </a:lnTo>
                    <a:cubicBezTo>
                      <a:pt x="441899" y="367873"/>
                      <a:pt x="484285" y="312057"/>
                      <a:pt x="479428" y="249954"/>
                    </a:cubicBezTo>
                    <a:cubicBezTo>
                      <a:pt x="479428" y="249573"/>
                      <a:pt x="479332" y="249192"/>
                      <a:pt x="479332" y="248811"/>
                    </a:cubicBezTo>
                    <a:lnTo>
                      <a:pt x="451234" y="22782"/>
                    </a:lnTo>
                    <a:cubicBezTo>
                      <a:pt x="449424" y="8590"/>
                      <a:pt x="436470" y="-1602"/>
                      <a:pt x="422278" y="208"/>
                    </a:cubicBezTo>
                    <a:cubicBezTo>
                      <a:pt x="408085" y="2018"/>
                      <a:pt x="397894" y="14972"/>
                      <a:pt x="399703" y="29164"/>
                    </a:cubicBezTo>
                    <a:lnTo>
                      <a:pt x="427707" y="254621"/>
                    </a:lnTo>
                    <a:cubicBezTo>
                      <a:pt x="430279" y="290149"/>
                      <a:pt x="405895" y="321867"/>
                      <a:pt x="370938" y="328630"/>
                    </a:cubicBezTo>
                    <a:lnTo>
                      <a:pt x="90046" y="383018"/>
                    </a:lnTo>
                    <a:cubicBezTo>
                      <a:pt x="72710" y="386352"/>
                      <a:pt x="55946" y="375017"/>
                      <a:pt x="52612" y="357681"/>
                    </a:cubicBezTo>
                    <a:cubicBezTo>
                      <a:pt x="49279" y="340346"/>
                      <a:pt x="60613" y="323582"/>
                      <a:pt x="77949" y="320248"/>
                    </a:cubicBezTo>
                    <a:lnTo>
                      <a:pt x="326266" y="272147"/>
                    </a:lnTo>
                    <a:cubicBezTo>
                      <a:pt x="339410" y="269575"/>
                      <a:pt x="348554" y="257383"/>
                      <a:pt x="347125" y="244048"/>
                    </a:cubicBezTo>
                    <a:lnTo>
                      <a:pt x="334933" y="122795"/>
                    </a:lnTo>
                    <a:cubicBezTo>
                      <a:pt x="333505" y="108507"/>
                      <a:pt x="320741" y="98125"/>
                      <a:pt x="306454" y="99554"/>
                    </a:cubicBezTo>
                    <a:cubicBezTo>
                      <a:pt x="292166" y="100983"/>
                      <a:pt x="281784" y="113746"/>
                      <a:pt x="283213" y="128034"/>
                    </a:cubicBezTo>
                    <a:lnTo>
                      <a:pt x="293023" y="225665"/>
                    </a:lnTo>
                    <a:lnTo>
                      <a:pt x="67948" y="269194"/>
                    </a:lnTo>
                    <a:cubicBezTo>
                      <a:pt x="22513" y="277957"/>
                      <a:pt x="-7300" y="322058"/>
                      <a:pt x="1558" y="367492"/>
                    </a:cubicBezTo>
                    <a:cubicBezTo>
                      <a:pt x="10321" y="413117"/>
                      <a:pt x="54422" y="442835"/>
                      <a:pt x="99856" y="434072"/>
                    </a:cubicBezTo>
                    <a:close/>
                  </a:path>
                </a:pathLst>
              </a:custGeom>
              <a:grpFill/>
              <a:ln w="9525"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BD17323-08F4-B445-A718-85C2EE42F6C3}"/>
                  </a:ext>
                </a:extLst>
              </p:cNvPr>
              <p:cNvSpPr/>
              <p:nvPr/>
            </p:nvSpPr>
            <p:spPr>
              <a:xfrm>
                <a:off x="6537907" y="2950368"/>
                <a:ext cx="440964" cy="698563"/>
              </a:xfrm>
              <a:custGeom>
                <a:avLst/>
                <a:gdLst>
                  <a:gd name="connsiteX0" fmla="*/ 414962 w 440964"/>
                  <a:gd name="connsiteY0" fmla="*/ 698563 h 698563"/>
                  <a:gd name="connsiteX1" fmla="*/ 440965 w 440964"/>
                  <a:gd name="connsiteY1" fmla="*/ 672560 h 698563"/>
                  <a:gd name="connsiteX2" fmla="*/ 440965 w 440964"/>
                  <a:gd name="connsiteY2" fmla="*/ 220504 h 698563"/>
                  <a:gd name="connsiteX3" fmla="*/ 220461 w 440964"/>
                  <a:gd name="connsiteY3" fmla="*/ 0 h 698563"/>
                  <a:gd name="connsiteX4" fmla="*/ 29104 w 440964"/>
                  <a:gd name="connsiteY4" fmla="*/ 150781 h 698563"/>
                  <a:gd name="connsiteX5" fmla="*/ 719 w 440964"/>
                  <a:gd name="connsiteY5" fmla="*/ 268986 h 698563"/>
                  <a:gd name="connsiteX6" fmla="*/ 19864 w 440964"/>
                  <a:gd name="connsiteY6" fmla="*/ 300323 h 698563"/>
                  <a:gd name="connsiteX7" fmla="*/ 51202 w 440964"/>
                  <a:gd name="connsiteY7" fmla="*/ 281178 h 698563"/>
                  <a:gd name="connsiteX8" fmla="*/ 79586 w 440964"/>
                  <a:gd name="connsiteY8" fmla="*/ 162973 h 698563"/>
                  <a:gd name="connsiteX9" fmla="*/ 220461 w 440964"/>
                  <a:gd name="connsiteY9" fmla="*/ 52006 h 698563"/>
                  <a:gd name="connsiteX10" fmla="*/ 389054 w 440964"/>
                  <a:gd name="connsiteY10" fmla="*/ 220599 h 698563"/>
                  <a:gd name="connsiteX11" fmla="*/ 389054 w 440964"/>
                  <a:gd name="connsiteY11" fmla="*/ 672655 h 698563"/>
                  <a:gd name="connsiteX12" fmla="*/ 414962 w 440964"/>
                  <a:gd name="connsiteY12" fmla="*/ 698563 h 69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0964" h="698563">
                    <a:moveTo>
                      <a:pt x="414962" y="698563"/>
                    </a:moveTo>
                    <a:cubicBezTo>
                      <a:pt x="429344" y="698563"/>
                      <a:pt x="440965" y="686943"/>
                      <a:pt x="440965" y="672560"/>
                    </a:cubicBezTo>
                    <a:lnTo>
                      <a:pt x="440965" y="220504"/>
                    </a:lnTo>
                    <a:cubicBezTo>
                      <a:pt x="440965" y="98869"/>
                      <a:pt x="342000" y="0"/>
                      <a:pt x="220461" y="0"/>
                    </a:cubicBezTo>
                    <a:cubicBezTo>
                      <a:pt x="129116" y="0"/>
                      <a:pt x="50440" y="62008"/>
                      <a:pt x="29104" y="150781"/>
                    </a:cubicBezTo>
                    <a:lnTo>
                      <a:pt x="719" y="268986"/>
                    </a:lnTo>
                    <a:cubicBezTo>
                      <a:pt x="-2615" y="282892"/>
                      <a:pt x="5958" y="296990"/>
                      <a:pt x="19864" y="300323"/>
                    </a:cubicBezTo>
                    <a:cubicBezTo>
                      <a:pt x="33866" y="303657"/>
                      <a:pt x="47868" y="295085"/>
                      <a:pt x="51202" y="281178"/>
                    </a:cubicBezTo>
                    <a:lnTo>
                      <a:pt x="79586" y="162973"/>
                    </a:lnTo>
                    <a:cubicBezTo>
                      <a:pt x="95302" y="97631"/>
                      <a:pt x="153214" y="52006"/>
                      <a:pt x="220461" y="52006"/>
                    </a:cubicBezTo>
                    <a:cubicBezTo>
                      <a:pt x="313425" y="52006"/>
                      <a:pt x="389054" y="127635"/>
                      <a:pt x="389054" y="220599"/>
                    </a:cubicBezTo>
                    <a:lnTo>
                      <a:pt x="389054" y="672655"/>
                    </a:lnTo>
                    <a:cubicBezTo>
                      <a:pt x="388958" y="686943"/>
                      <a:pt x="400579" y="698563"/>
                      <a:pt x="414962" y="698563"/>
                    </a:cubicBezTo>
                    <a:close/>
                  </a:path>
                </a:pathLst>
              </a:custGeom>
              <a:grpFill/>
              <a:ln w="95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DB1BE6AA-0C2B-BD42-9B1D-D6E7C7E02B25}"/>
                  </a:ext>
                </a:extLst>
              </p:cNvPr>
              <p:cNvSpPr/>
              <p:nvPr/>
            </p:nvSpPr>
            <p:spPr>
              <a:xfrm>
                <a:off x="6476237" y="3422372"/>
                <a:ext cx="438983" cy="353527"/>
              </a:xfrm>
              <a:custGeom>
                <a:avLst/>
                <a:gdLst>
                  <a:gd name="connsiteX0" fmla="*/ 26003 w 438983"/>
                  <a:gd name="connsiteY0" fmla="*/ 353528 h 353527"/>
                  <a:gd name="connsiteX1" fmla="*/ 413004 w 438983"/>
                  <a:gd name="connsiteY1" fmla="*/ 353528 h 353527"/>
                  <a:gd name="connsiteX2" fmla="*/ 436531 w 438983"/>
                  <a:gd name="connsiteY2" fmla="*/ 339431 h 353527"/>
                  <a:gd name="connsiteX3" fmla="*/ 433007 w 438983"/>
                  <a:gd name="connsiteY3" fmla="*/ 313428 h 353527"/>
                  <a:gd name="connsiteX4" fmla="*/ 163544 w 438983"/>
                  <a:gd name="connsiteY4" fmla="*/ 8818 h 353527"/>
                  <a:gd name="connsiteX5" fmla="*/ 126968 w 438983"/>
                  <a:gd name="connsiteY5" fmla="*/ 5675 h 353527"/>
                  <a:gd name="connsiteX6" fmla="*/ 123634 w 438983"/>
                  <a:gd name="connsiteY6" fmla="*/ 40155 h 353527"/>
                  <a:gd name="connsiteX7" fmla="*/ 357569 w 438983"/>
                  <a:gd name="connsiteY7" fmla="*/ 304569 h 353527"/>
                  <a:gd name="connsiteX8" fmla="*/ 26003 w 438983"/>
                  <a:gd name="connsiteY8" fmla="*/ 304569 h 353527"/>
                  <a:gd name="connsiteX9" fmla="*/ 0 w 438983"/>
                  <a:gd name="connsiteY9" fmla="*/ 329049 h 353527"/>
                  <a:gd name="connsiteX10" fmla="*/ 26003 w 438983"/>
                  <a:gd name="connsiteY10" fmla="*/ 353528 h 35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983" h="353527">
                    <a:moveTo>
                      <a:pt x="26003" y="353528"/>
                    </a:moveTo>
                    <a:lnTo>
                      <a:pt x="413004" y="353528"/>
                    </a:lnTo>
                    <a:cubicBezTo>
                      <a:pt x="423100" y="353528"/>
                      <a:pt x="432245" y="348003"/>
                      <a:pt x="436531" y="339431"/>
                    </a:cubicBezTo>
                    <a:cubicBezTo>
                      <a:pt x="440817" y="330858"/>
                      <a:pt x="439388" y="320667"/>
                      <a:pt x="433007" y="313428"/>
                    </a:cubicBezTo>
                    <a:lnTo>
                      <a:pt x="163544" y="8818"/>
                    </a:lnTo>
                    <a:cubicBezTo>
                      <a:pt x="154400" y="-1564"/>
                      <a:pt x="138017" y="-2993"/>
                      <a:pt x="126968" y="5675"/>
                    </a:cubicBezTo>
                    <a:cubicBezTo>
                      <a:pt x="115919" y="14342"/>
                      <a:pt x="114491" y="29773"/>
                      <a:pt x="123634" y="40155"/>
                    </a:cubicBezTo>
                    <a:lnTo>
                      <a:pt x="357569" y="304569"/>
                    </a:lnTo>
                    <a:lnTo>
                      <a:pt x="26003" y="304569"/>
                    </a:lnTo>
                    <a:cubicBezTo>
                      <a:pt x="11621" y="304569"/>
                      <a:pt x="0" y="315523"/>
                      <a:pt x="0" y="329049"/>
                    </a:cubicBezTo>
                    <a:cubicBezTo>
                      <a:pt x="95" y="342574"/>
                      <a:pt x="11716" y="353528"/>
                      <a:pt x="26003" y="353528"/>
                    </a:cubicBezTo>
                    <a:close/>
                  </a:path>
                </a:pathLst>
              </a:custGeom>
              <a:grpFill/>
              <a:ln w="9525" cap="flat">
                <a:noFill/>
                <a:prstDash val="solid"/>
                <a:miter/>
              </a:ln>
            </p:spPr>
            <p:txBody>
              <a:bodyPr rtlCol="0" anchor="ctr"/>
              <a:lstStyle/>
              <a:p>
                <a:endParaRPr lang="en-US"/>
              </a:p>
            </p:txBody>
          </p:sp>
        </p:grpSp>
        <p:sp>
          <p:nvSpPr>
            <p:cNvPr id="27" name="Freeform 26">
              <a:extLst>
                <a:ext uri="{FF2B5EF4-FFF2-40B4-BE49-F238E27FC236}">
                  <a16:creationId xmlns:a16="http://schemas.microsoft.com/office/drawing/2014/main" id="{01B6C8E9-AACA-E948-B416-C8A0C318ACDB}"/>
                </a:ext>
              </a:extLst>
            </p:cNvPr>
            <p:cNvSpPr/>
            <p:nvPr/>
          </p:nvSpPr>
          <p:spPr>
            <a:xfrm>
              <a:off x="5750242" y="3806407"/>
              <a:ext cx="720947" cy="548899"/>
            </a:xfrm>
            <a:custGeom>
              <a:avLst/>
              <a:gdLst>
                <a:gd name="connsiteX0" fmla="*/ 720852 w 720947"/>
                <a:gd name="connsiteY0" fmla="*/ 518229 h 548899"/>
                <a:gd name="connsiteX1" fmla="*/ 720471 w 720947"/>
                <a:gd name="connsiteY1" fmla="*/ 508513 h 548899"/>
                <a:gd name="connsiteX2" fmla="*/ 665226 w 720947"/>
                <a:gd name="connsiteY2" fmla="*/ 232288 h 548899"/>
                <a:gd name="connsiteX3" fmla="*/ 380143 w 720947"/>
                <a:gd name="connsiteY3" fmla="*/ 69 h 548899"/>
                <a:gd name="connsiteX4" fmla="*/ 374809 w 720947"/>
                <a:gd name="connsiteY4" fmla="*/ 69 h 548899"/>
                <a:gd name="connsiteX5" fmla="*/ 360521 w 720947"/>
                <a:gd name="connsiteY5" fmla="*/ 640 h 548899"/>
                <a:gd name="connsiteX6" fmla="*/ 346234 w 720947"/>
                <a:gd name="connsiteY6" fmla="*/ 69 h 548899"/>
                <a:gd name="connsiteX7" fmla="*/ 55817 w 720947"/>
                <a:gd name="connsiteY7" fmla="*/ 232193 h 548899"/>
                <a:gd name="connsiteX8" fmla="*/ 572 w 720947"/>
                <a:gd name="connsiteY8" fmla="*/ 508418 h 548899"/>
                <a:gd name="connsiteX9" fmla="*/ 191 w 720947"/>
                <a:gd name="connsiteY9" fmla="*/ 517943 h 548899"/>
                <a:gd name="connsiteX10" fmla="*/ 0 w 720947"/>
                <a:gd name="connsiteY10" fmla="*/ 528611 h 548899"/>
                <a:gd name="connsiteX11" fmla="*/ 6763 w 720947"/>
                <a:gd name="connsiteY11" fmla="*/ 536898 h 548899"/>
                <a:gd name="connsiteX12" fmla="*/ 133350 w 720947"/>
                <a:gd name="connsiteY12" fmla="*/ 548804 h 548899"/>
                <a:gd name="connsiteX13" fmla="*/ 360426 w 720947"/>
                <a:gd name="connsiteY13" fmla="*/ 548708 h 548899"/>
                <a:gd name="connsiteX14" fmla="*/ 518827 w 720947"/>
                <a:gd name="connsiteY14" fmla="*/ 548899 h 548899"/>
                <a:gd name="connsiteX15" fmla="*/ 587597 w 720947"/>
                <a:gd name="connsiteY15" fmla="*/ 548804 h 548899"/>
                <a:gd name="connsiteX16" fmla="*/ 714280 w 720947"/>
                <a:gd name="connsiteY16" fmla="*/ 536802 h 548899"/>
                <a:gd name="connsiteX17" fmla="*/ 720947 w 720947"/>
                <a:gd name="connsiteY17" fmla="*/ 528516 h 548899"/>
                <a:gd name="connsiteX18" fmla="*/ 720852 w 720947"/>
                <a:gd name="connsiteY18" fmla="*/ 518229 h 54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0947" h="548899">
                  <a:moveTo>
                    <a:pt x="720852" y="518229"/>
                  </a:moveTo>
                  <a:cubicBezTo>
                    <a:pt x="720852" y="518229"/>
                    <a:pt x="720757" y="514800"/>
                    <a:pt x="720471" y="508513"/>
                  </a:cubicBezTo>
                  <a:cubicBezTo>
                    <a:pt x="718852" y="473080"/>
                    <a:pt x="709994" y="348398"/>
                    <a:pt x="665226" y="232288"/>
                  </a:cubicBezTo>
                  <a:cubicBezTo>
                    <a:pt x="606647" y="80269"/>
                    <a:pt x="508159" y="69"/>
                    <a:pt x="380143" y="69"/>
                  </a:cubicBezTo>
                  <a:cubicBezTo>
                    <a:pt x="378333" y="69"/>
                    <a:pt x="376619" y="69"/>
                    <a:pt x="374809" y="69"/>
                  </a:cubicBezTo>
                  <a:cubicBezTo>
                    <a:pt x="370142" y="164"/>
                    <a:pt x="365284" y="354"/>
                    <a:pt x="360521" y="640"/>
                  </a:cubicBezTo>
                  <a:cubicBezTo>
                    <a:pt x="355664" y="354"/>
                    <a:pt x="350901" y="164"/>
                    <a:pt x="346234" y="69"/>
                  </a:cubicBezTo>
                  <a:cubicBezTo>
                    <a:pt x="215741" y="-2694"/>
                    <a:pt x="115253" y="78078"/>
                    <a:pt x="55817" y="232193"/>
                  </a:cubicBezTo>
                  <a:cubicBezTo>
                    <a:pt x="11049" y="348303"/>
                    <a:pt x="2191" y="472985"/>
                    <a:pt x="572" y="508418"/>
                  </a:cubicBezTo>
                  <a:cubicBezTo>
                    <a:pt x="286" y="514609"/>
                    <a:pt x="191" y="517943"/>
                    <a:pt x="191" y="517943"/>
                  </a:cubicBezTo>
                  <a:lnTo>
                    <a:pt x="0" y="528611"/>
                  </a:lnTo>
                  <a:lnTo>
                    <a:pt x="6763" y="536898"/>
                  </a:lnTo>
                  <a:cubicBezTo>
                    <a:pt x="16288" y="548518"/>
                    <a:pt x="16288" y="548518"/>
                    <a:pt x="133350" y="548804"/>
                  </a:cubicBezTo>
                  <a:cubicBezTo>
                    <a:pt x="195453" y="548899"/>
                    <a:pt x="278035" y="548899"/>
                    <a:pt x="360426" y="548708"/>
                  </a:cubicBezTo>
                  <a:cubicBezTo>
                    <a:pt x="415195" y="548804"/>
                    <a:pt x="470059" y="548899"/>
                    <a:pt x="518827" y="548899"/>
                  </a:cubicBezTo>
                  <a:cubicBezTo>
                    <a:pt x="543497" y="548899"/>
                    <a:pt x="566738" y="548899"/>
                    <a:pt x="587597" y="548804"/>
                  </a:cubicBezTo>
                  <a:cubicBezTo>
                    <a:pt x="704755" y="548518"/>
                    <a:pt x="704755" y="548518"/>
                    <a:pt x="714280" y="536802"/>
                  </a:cubicBezTo>
                  <a:lnTo>
                    <a:pt x="720947" y="528516"/>
                  </a:lnTo>
                  <a:lnTo>
                    <a:pt x="720852" y="518229"/>
                  </a:lnTo>
                  <a:close/>
                </a:path>
              </a:pathLst>
            </a:custGeom>
            <a:grpFill/>
            <a:ln w="9525" cap="flat">
              <a:noFill/>
              <a:prstDash val="solid"/>
              <a:miter/>
            </a:ln>
          </p:spPr>
          <p:txBody>
            <a:bodyPr rtlCol="0" anchor="ctr"/>
            <a:lstStyle/>
            <a:p>
              <a:endParaRPr lang="en-US"/>
            </a:p>
          </p:txBody>
        </p:sp>
      </p:grpSp>
      <p:grpSp>
        <p:nvGrpSpPr>
          <p:cNvPr id="205" name="Group 204">
            <a:extLst>
              <a:ext uri="{FF2B5EF4-FFF2-40B4-BE49-F238E27FC236}">
                <a16:creationId xmlns:a16="http://schemas.microsoft.com/office/drawing/2014/main" id="{B431DA44-DFF1-574E-8F29-405A9FDF4E25}"/>
              </a:ext>
            </a:extLst>
          </p:cNvPr>
          <p:cNvGrpSpPr>
            <a:grpSpLocks noChangeAspect="1"/>
          </p:cNvGrpSpPr>
          <p:nvPr/>
        </p:nvGrpSpPr>
        <p:grpSpPr>
          <a:xfrm>
            <a:off x="9191707" y="2715696"/>
            <a:ext cx="1390898" cy="735188"/>
            <a:chOff x="-8110468" y="2361817"/>
            <a:chExt cx="1491395" cy="788307"/>
          </a:xfrm>
        </p:grpSpPr>
        <p:sp>
          <p:nvSpPr>
            <p:cNvPr id="151" name="Freeform 150">
              <a:extLst>
                <a:ext uri="{FF2B5EF4-FFF2-40B4-BE49-F238E27FC236}">
                  <a16:creationId xmlns:a16="http://schemas.microsoft.com/office/drawing/2014/main" id="{3EFB4061-E464-9C4F-A526-0CFD1B1BA10B}"/>
                </a:ext>
              </a:extLst>
            </p:cNvPr>
            <p:cNvSpPr/>
            <p:nvPr/>
          </p:nvSpPr>
          <p:spPr>
            <a:xfrm>
              <a:off x="-7296986" y="2361817"/>
              <a:ext cx="677913" cy="788307"/>
            </a:xfrm>
            <a:custGeom>
              <a:avLst/>
              <a:gdLst>
                <a:gd name="connsiteX0" fmla="*/ 500634 w 892587"/>
                <a:gd name="connsiteY0" fmla="*/ 0 h 1037939"/>
                <a:gd name="connsiteX1" fmla="*/ 108870 w 892587"/>
                <a:gd name="connsiteY1" fmla="*/ 391763 h 1037939"/>
                <a:gd name="connsiteX2" fmla="*/ 108870 w 892587"/>
                <a:gd name="connsiteY2" fmla="*/ 410051 h 1037939"/>
                <a:gd name="connsiteX3" fmla="*/ 4191 w 892587"/>
                <a:gd name="connsiteY3" fmla="*/ 605504 h 1037939"/>
                <a:gd name="connsiteX4" fmla="*/ 5048 w 892587"/>
                <a:gd name="connsiteY4" fmla="*/ 640366 h 1037939"/>
                <a:gd name="connsiteX5" fmla="*/ 35433 w 892587"/>
                <a:gd name="connsiteY5" fmla="*/ 657606 h 1037939"/>
                <a:gd name="connsiteX6" fmla="*/ 108870 w 892587"/>
                <a:gd name="connsiteY6" fmla="*/ 657606 h 1037939"/>
                <a:gd name="connsiteX7" fmla="*/ 108870 w 892587"/>
                <a:gd name="connsiteY7" fmla="*/ 775335 h 1037939"/>
                <a:gd name="connsiteX8" fmla="*/ 236791 w 892587"/>
                <a:gd name="connsiteY8" fmla="*/ 903256 h 1037939"/>
                <a:gd name="connsiteX9" fmla="*/ 355949 w 892587"/>
                <a:gd name="connsiteY9" fmla="*/ 903256 h 1037939"/>
                <a:gd name="connsiteX10" fmla="*/ 355949 w 892587"/>
                <a:gd name="connsiteY10" fmla="*/ 1002506 h 1037939"/>
                <a:gd name="connsiteX11" fmla="*/ 369189 w 892587"/>
                <a:gd name="connsiteY11" fmla="*/ 1030129 h 1037939"/>
                <a:gd name="connsiteX12" fmla="*/ 391382 w 892587"/>
                <a:gd name="connsiteY12" fmla="*/ 1037939 h 1037939"/>
                <a:gd name="connsiteX13" fmla="*/ 399002 w 892587"/>
                <a:gd name="connsiteY13" fmla="*/ 1037082 h 1037939"/>
                <a:gd name="connsiteX14" fmla="*/ 758285 w 892587"/>
                <a:gd name="connsiteY14" fmla="*/ 957739 h 1037939"/>
                <a:gd name="connsiteX15" fmla="*/ 786098 w 892587"/>
                <a:gd name="connsiteY15" fmla="*/ 923163 h 1037939"/>
                <a:gd name="connsiteX16" fmla="*/ 786098 w 892587"/>
                <a:gd name="connsiteY16" fmla="*/ 659987 h 1037939"/>
                <a:gd name="connsiteX17" fmla="*/ 892588 w 892587"/>
                <a:gd name="connsiteY17" fmla="*/ 391763 h 1037939"/>
                <a:gd name="connsiteX18" fmla="*/ 500634 w 892587"/>
                <a:gd name="connsiteY18" fmla="*/ 0 h 103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587" h="1037939">
                  <a:moveTo>
                    <a:pt x="500634" y="0"/>
                  </a:moveTo>
                  <a:cubicBezTo>
                    <a:pt x="284607" y="0"/>
                    <a:pt x="108870" y="175736"/>
                    <a:pt x="108870" y="391763"/>
                  </a:cubicBezTo>
                  <a:lnTo>
                    <a:pt x="108870" y="410051"/>
                  </a:lnTo>
                  <a:lnTo>
                    <a:pt x="4191" y="605504"/>
                  </a:lnTo>
                  <a:cubicBezTo>
                    <a:pt x="-1715" y="616458"/>
                    <a:pt x="-1334" y="629698"/>
                    <a:pt x="5048" y="640366"/>
                  </a:cubicBezTo>
                  <a:cubicBezTo>
                    <a:pt x="11430" y="651034"/>
                    <a:pt x="22955" y="657606"/>
                    <a:pt x="35433" y="657606"/>
                  </a:cubicBezTo>
                  <a:lnTo>
                    <a:pt x="108870" y="657606"/>
                  </a:lnTo>
                  <a:lnTo>
                    <a:pt x="108870" y="775335"/>
                  </a:lnTo>
                  <a:cubicBezTo>
                    <a:pt x="108870" y="845820"/>
                    <a:pt x="166211" y="903256"/>
                    <a:pt x="236791" y="903256"/>
                  </a:cubicBezTo>
                  <a:lnTo>
                    <a:pt x="355949" y="903256"/>
                  </a:lnTo>
                  <a:lnTo>
                    <a:pt x="355949" y="1002506"/>
                  </a:lnTo>
                  <a:cubicBezTo>
                    <a:pt x="355949" y="1013270"/>
                    <a:pt x="360807" y="1023366"/>
                    <a:pt x="369189" y="1030129"/>
                  </a:cubicBezTo>
                  <a:cubicBezTo>
                    <a:pt x="375571" y="1035272"/>
                    <a:pt x="383381" y="1037939"/>
                    <a:pt x="391382" y="1037939"/>
                  </a:cubicBezTo>
                  <a:cubicBezTo>
                    <a:pt x="393954" y="1037939"/>
                    <a:pt x="396525" y="1037654"/>
                    <a:pt x="399002" y="1037082"/>
                  </a:cubicBezTo>
                  <a:lnTo>
                    <a:pt x="758285" y="957739"/>
                  </a:lnTo>
                  <a:cubicBezTo>
                    <a:pt x="774478" y="954119"/>
                    <a:pt x="786098" y="939736"/>
                    <a:pt x="786098" y="923163"/>
                  </a:cubicBezTo>
                  <a:lnTo>
                    <a:pt x="786098" y="659987"/>
                  </a:lnTo>
                  <a:cubicBezTo>
                    <a:pt x="854869" y="587121"/>
                    <a:pt x="892588" y="492443"/>
                    <a:pt x="892588" y="391763"/>
                  </a:cubicBezTo>
                  <a:cubicBezTo>
                    <a:pt x="892397" y="175736"/>
                    <a:pt x="716661" y="0"/>
                    <a:pt x="500634" y="0"/>
                  </a:cubicBezTo>
                  <a:close/>
                </a:path>
              </a:pathLst>
            </a:custGeom>
            <a:solidFill>
              <a:schemeClr val="accent1"/>
            </a:solidFill>
            <a:ln w="9525" cap="flat">
              <a:noFill/>
              <a:prstDash val="solid"/>
              <a:miter/>
            </a:ln>
          </p:spPr>
          <p:txBody>
            <a:bodyPr rtlCol="0" anchor="ctr"/>
            <a:lstStyle/>
            <a:p>
              <a:endParaRPr lang="en-US"/>
            </a:p>
          </p:txBody>
        </p:sp>
        <p:sp>
          <p:nvSpPr>
            <p:cNvPr id="152" name="Freeform 151">
              <a:extLst>
                <a:ext uri="{FF2B5EF4-FFF2-40B4-BE49-F238E27FC236}">
                  <a16:creationId xmlns:a16="http://schemas.microsoft.com/office/drawing/2014/main" id="{B97EBFCB-4899-F942-AE3C-73F7A939C3F2}"/>
                </a:ext>
              </a:extLst>
            </p:cNvPr>
            <p:cNvSpPr/>
            <p:nvPr/>
          </p:nvSpPr>
          <p:spPr>
            <a:xfrm>
              <a:off x="-8110468" y="2361817"/>
              <a:ext cx="677913" cy="788307"/>
            </a:xfrm>
            <a:custGeom>
              <a:avLst/>
              <a:gdLst>
                <a:gd name="connsiteX0" fmla="*/ 391763 w 892587"/>
                <a:gd name="connsiteY0" fmla="*/ 54769 h 1037939"/>
                <a:gd name="connsiteX1" fmla="*/ 728758 w 892587"/>
                <a:gd name="connsiteY1" fmla="*/ 391763 h 1037939"/>
                <a:gd name="connsiteX2" fmla="*/ 728758 w 892587"/>
                <a:gd name="connsiteY2" fmla="*/ 410051 h 1037939"/>
                <a:gd name="connsiteX3" fmla="*/ 728758 w 892587"/>
                <a:gd name="connsiteY3" fmla="*/ 423767 h 1037939"/>
                <a:gd name="connsiteX4" fmla="*/ 735235 w 892587"/>
                <a:gd name="connsiteY4" fmla="*/ 435864 h 1037939"/>
                <a:gd name="connsiteX5" fmla="*/ 824579 w 892587"/>
                <a:gd name="connsiteY5" fmla="*/ 602742 h 1037939"/>
                <a:gd name="connsiteX6" fmla="*/ 783527 w 892587"/>
                <a:gd name="connsiteY6" fmla="*/ 602742 h 1037939"/>
                <a:gd name="connsiteX7" fmla="*/ 728758 w 892587"/>
                <a:gd name="connsiteY7" fmla="*/ 602742 h 1037939"/>
                <a:gd name="connsiteX8" fmla="*/ 728758 w 892587"/>
                <a:gd name="connsiteY8" fmla="*/ 657511 h 1037939"/>
                <a:gd name="connsiteX9" fmla="*/ 728758 w 892587"/>
                <a:gd name="connsiteY9" fmla="*/ 775240 h 1037939"/>
                <a:gd name="connsiteX10" fmla="*/ 655606 w 892587"/>
                <a:gd name="connsiteY10" fmla="*/ 848392 h 1037939"/>
                <a:gd name="connsiteX11" fmla="*/ 536543 w 892587"/>
                <a:gd name="connsiteY11" fmla="*/ 848392 h 1037939"/>
                <a:gd name="connsiteX12" fmla="*/ 481775 w 892587"/>
                <a:gd name="connsiteY12" fmla="*/ 848392 h 1037939"/>
                <a:gd name="connsiteX13" fmla="*/ 481775 w 892587"/>
                <a:gd name="connsiteY13" fmla="*/ 903161 h 1037939"/>
                <a:gd name="connsiteX14" fmla="*/ 481775 w 892587"/>
                <a:gd name="connsiteY14" fmla="*/ 978313 h 1037939"/>
                <a:gd name="connsiteX15" fmla="*/ 161258 w 892587"/>
                <a:gd name="connsiteY15" fmla="*/ 907542 h 1037939"/>
                <a:gd name="connsiteX16" fmla="*/ 161258 w 892587"/>
                <a:gd name="connsiteY16" fmla="*/ 659892 h 1037939"/>
                <a:gd name="connsiteX17" fmla="*/ 161258 w 892587"/>
                <a:gd name="connsiteY17" fmla="*/ 638080 h 1037939"/>
                <a:gd name="connsiteX18" fmla="*/ 146304 w 892587"/>
                <a:gd name="connsiteY18" fmla="*/ 622268 h 1037939"/>
                <a:gd name="connsiteX19" fmla="*/ 54769 w 892587"/>
                <a:gd name="connsiteY19" fmla="*/ 391668 h 1037939"/>
                <a:gd name="connsiteX20" fmla="*/ 391763 w 892587"/>
                <a:gd name="connsiteY20" fmla="*/ 54769 h 1037939"/>
                <a:gd name="connsiteX21" fmla="*/ 391763 w 892587"/>
                <a:gd name="connsiteY21" fmla="*/ 0 h 1037939"/>
                <a:gd name="connsiteX22" fmla="*/ 0 w 892587"/>
                <a:gd name="connsiteY22" fmla="*/ 391763 h 1037939"/>
                <a:gd name="connsiteX23" fmla="*/ 106490 w 892587"/>
                <a:gd name="connsiteY23" fmla="*/ 659987 h 1037939"/>
                <a:gd name="connsiteX24" fmla="*/ 106490 w 892587"/>
                <a:gd name="connsiteY24" fmla="*/ 923163 h 1037939"/>
                <a:gd name="connsiteX25" fmla="*/ 134302 w 892587"/>
                <a:gd name="connsiteY25" fmla="*/ 957739 h 1037939"/>
                <a:gd name="connsiteX26" fmla="*/ 493586 w 892587"/>
                <a:gd name="connsiteY26" fmla="*/ 1037082 h 1037939"/>
                <a:gd name="connsiteX27" fmla="*/ 501206 w 892587"/>
                <a:gd name="connsiteY27" fmla="*/ 1037939 h 1037939"/>
                <a:gd name="connsiteX28" fmla="*/ 523399 w 892587"/>
                <a:gd name="connsiteY28" fmla="*/ 1030129 h 1037939"/>
                <a:gd name="connsiteX29" fmla="*/ 536638 w 892587"/>
                <a:gd name="connsiteY29" fmla="*/ 1002506 h 1037939"/>
                <a:gd name="connsiteX30" fmla="*/ 536638 w 892587"/>
                <a:gd name="connsiteY30" fmla="*/ 903256 h 1037939"/>
                <a:gd name="connsiteX31" fmla="*/ 655796 w 892587"/>
                <a:gd name="connsiteY31" fmla="*/ 903256 h 1037939"/>
                <a:gd name="connsiteX32" fmla="*/ 783717 w 892587"/>
                <a:gd name="connsiteY32" fmla="*/ 775335 h 1037939"/>
                <a:gd name="connsiteX33" fmla="*/ 783717 w 892587"/>
                <a:gd name="connsiteY33" fmla="*/ 657606 h 1037939"/>
                <a:gd name="connsiteX34" fmla="*/ 857155 w 892587"/>
                <a:gd name="connsiteY34" fmla="*/ 657606 h 1037939"/>
                <a:gd name="connsiteX35" fmla="*/ 887540 w 892587"/>
                <a:gd name="connsiteY35" fmla="*/ 640366 h 1037939"/>
                <a:gd name="connsiteX36" fmla="*/ 888397 w 892587"/>
                <a:gd name="connsiteY36" fmla="*/ 605504 h 1037939"/>
                <a:gd name="connsiteX37" fmla="*/ 783717 w 892587"/>
                <a:gd name="connsiteY37" fmla="*/ 410051 h 1037939"/>
                <a:gd name="connsiteX38" fmla="*/ 783717 w 892587"/>
                <a:gd name="connsiteY38" fmla="*/ 391763 h 1037939"/>
                <a:gd name="connsiteX39" fmla="*/ 391763 w 892587"/>
                <a:gd name="connsiteY39" fmla="*/ 0 h 1037939"/>
                <a:gd name="connsiteX40" fmla="*/ 391763 w 892587"/>
                <a:gd name="connsiteY40" fmla="*/ 0 h 103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92587" h="1037939">
                  <a:moveTo>
                    <a:pt x="391763" y="54769"/>
                  </a:moveTo>
                  <a:cubicBezTo>
                    <a:pt x="577596" y="54769"/>
                    <a:pt x="728758" y="205931"/>
                    <a:pt x="728758" y="391763"/>
                  </a:cubicBezTo>
                  <a:lnTo>
                    <a:pt x="728758" y="410051"/>
                  </a:lnTo>
                  <a:lnTo>
                    <a:pt x="728758" y="423767"/>
                  </a:lnTo>
                  <a:lnTo>
                    <a:pt x="735235" y="435864"/>
                  </a:lnTo>
                  <a:lnTo>
                    <a:pt x="824579" y="602742"/>
                  </a:lnTo>
                  <a:lnTo>
                    <a:pt x="783527" y="602742"/>
                  </a:lnTo>
                  <a:lnTo>
                    <a:pt x="728758" y="602742"/>
                  </a:lnTo>
                  <a:lnTo>
                    <a:pt x="728758" y="657511"/>
                  </a:lnTo>
                  <a:lnTo>
                    <a:pt x="728758" y="775240"/>
                  </a:lnTo>
                  <a:cubicBezTo>
                    <a:pt x="728758" y="815531"/>
                    <a:pt x="695992" y="848392"/>
                    <a:pt x="655606" y="848392"/>
                  </a:cubicBezTo>
                  <a:lnTo>
                    <a:pt x="536543" y="848392"/>
                  </a:lnTo>
                  <a:lnTo>
                    <a:pt x="481775" y="848392"/>
                  </a:lnTo>
                  <a:lnTo>
                    <a:pt x="481775" y="903161"/>
                  </a:lnTo>
                  <a:lnTo>
                    <a:pt x="481775" y="978313"/>
                  </a:lnTo>
                  <a:lnTo>
                    <a:pt x="161258" y="907542"/>
                  </a:lnTo>
                  <a:lnTo>
                    <a:pt x="161258" y="659892"/>
                  </a:lnTo>
                  <a:lnTo>
                    <a:pt x="161258" y="638080"/>
                  </a:lnTo>
                  <a:lnTo>
                    <a:pt x="146304" y="622268"/>
                  </a:lnTo>
                  <a:cubicBezTo>
                    <a:pt x="87249" y="559784"/>
                    <a:pt x="54769" y="477869"/>
                    <a:pt x="54769" y="391668"/>
                  </a:cubicBezTo>
                  <a:cubicBezTo>
                    <a:pt x="54769" y="205931"/>
                    <a:pt x="205930" y="54769"/>
                    <a:pt x="391763" y="54769"/>
                  </a:cubicBezTo>
                  <a:moveTo>
                    <a:pt x="391763" y="0"/>
                  </a:moveTo>
                  <a:cubicBezTo>
                    <a:pt x="175736" y="0"/>
                    <a:pt x="0" y="175736"/>
                    <a:pt x="0" y="391763"/>
                  </a:cubicBezTo>
                  <a:cubicBezTo>
                    <a:pt x="0" y="492443"/>
                    <a:pt x="37719" y="587121"/>
                    <a:pt x="106490" y="659987"/>
                  </a:cubicBezTo>
                  <a:lnTo>
                    <a:pt x="106490" y="923163"/>
                  </a:lnTo>
                  <a:cubicBezTo>
                    <a:pt x="106490" y="939832"/>
                    <a:pt x="118015" y="954119"/>
                    <a:pt x="134302" y="957739"/>
                  </a:cubicBezTo>
                  <a:lnTo>
                    <a:pt x="493586" y="1037082"/>
                  </a:lnTo>
                  <a:cubicBezTo>
                    <a:pt x="496157" y="1037654"/>
                    <a:pt x="498634" y="1037939"/>
                    <a:pt x="501206" y="1037939"/>
                  </a:cubicBezTo>
                  <a:cubicBezTo>
                    <a:pt x="509207" y="1037939"/>
                    <a:pt x="517017" y="1035272"/>
                    <a:pt x="523399" y="1030129"/>
                  </a:cubicBezTo>
                  <a:cubicBezTo>
                    <a:pt x="531781" y="1023366"/>
                    <a:pt x="536638" y="1013270"/>
                    <a:pt x="536638" y="1002506"/>
                  </a:cubicBezTo>
                  <a:lnTo>
                    <a:pt x="536638" y="903256"/>
                  </a:lnTo>
                  <a:lnTo>
                    <a:pt x="655796" y="903256"/>
                  </a:lnTo>
                  <a:cubicBezTo>
                    <a:pt x="726281" y="903256"/>
                    <a:pt x="783717" y="845915"/>
                    <a:pt x="783717" y="775335"/>
                  </a:cubicBezTo>
                  <a:lnTo>
                    <a:pt x="783717" y="657606"/>
                  </a:lnTo>
                  <a:lnTo>
                    <a:pt x="857155" y="657606"/>
                  </a:lnTo>
                  <a:cubicBezTo>
                    <a:pt x="869633" y="657606"/>
                    <a:pt x="881158" y="651129"/>
                    <a:pt x="887540" y="640366"/>
                  </a:cubicBezTo>
                  <a:cubicBezTo>
                    <a:pt x="893921" y="629698"/>
                    <a:pt x="894302" y="616458"/>
                    <a:pt x="888397" y="605504"/>
                  </a:cubicBezTo>
                  <a:lnTo>
                    <a:pt x="783717" y="410051"/>
                  </a:lnTo>
                  <a:lnTo>
                    <a:pt x="783717" y="391763"/>
                  </a:lnTo>
                  <a:cubicBezTo>
                    <a:pt x="783527" y="175736"/>
                    <a:pt x="607790" y="0"/>
                    <a:pt x="391763" y="0"/>
                  </a:cubicBezTo>
                  <a:lnTo>
                    <a:pt x="391763" y="0"/>
                  </a:lnTo>
                  <a:close/>
                </a:path>
              </a:pathLst>
            </a:custGeom>
            <a:solidFill>
              <a:schemeClr val="accent1"/>
            </a:solidFill>
            <a:ln w="9525" cap="flat">
              <a:noFill/>
              <a:prstDash val="solid"/>
              <a:miter/>
            </a:ln>
          </p:spPr>
          <p:txBody>
            <a:bodyPr rtlCol="0" anchor="ctr"/>
            <a:lstStyle/>
            <a:p>
              <a:endParaRPr lang="en-US"/>
            </a:p>
          </p:txBody>
        </p:sp>
      </p:grpSp>
      <p:grpSp>
        <p:nvGrpSpPr>
          <p:cNvPr id="163" name="Graphic 161">
            <a:extLst>
              <a:ext uri="{FF2B5EF4-FFF2-40B4-BE49-F238E27FC236}">
                <a16:creationId xmlns:a16="http://schemas.microsoft.com/office/drawing/2014/main" id="{689BCA5E-56F5-F846-BB37-85EB6C00F449}"/>
              </a:ext>
            </a:extLst>
          </p:cNvPr>
          <p:cNvGrpSpPr/>
          <p:nvPr/>
        </p:nvGrpSpPr>
        <p:grpSpPr>
          <a:xfrm>
            <a:off x="6394189" y="2497422"/>
            <a:ext cx="1005614" cy="1318809"/>
            <a:chOff x="6998344" y="1675132"/>
            <a:chExt cx="1481137" cy="1942433"/>
          </a:xfrm>
          <a:solidFill>
            <a:srgbClr val="0099D8"/>
          </a:solidFill>
        </p:grpSpPr>
        <p:grpSp>
          <p:nvGrpSpPr>
            <p:cNvPr id="164" name="Graphic 161">
              <a:extLst>
                <a:ext uri="{FF2B5EF4-FFF2-40B4-BE49-F238E27FC236}">
                  <a16:creationId xmlns:a16="http://schemas.microsoft.com/office/drawing/2014/main" id="{689BCA5E-56F5-F846-BB37-85EB6C00F449}"/>
                </a:ext>
              </a:extLst>
            </p:cNvPr>
            <p:cNvGrpSpPr/>
            <p:nvPr/>
          </p:nvGrpSpPr>
          <p:grpSpPr>
            <a:xfrm>
              <a:off x="7250090" y="2088636"/>
              <a:ext cx="956310" cy="1263657"/>
              <a:chOff x="7250090" y="2088636"/>
              <a:chExt cx="956310" cy="1263657"/>
            </a:xfrm>
            <a:solidFill>
              <a:srgbClr val="0099D8"/>
            </a:solidFill>
          </p:grpSpPr>
          <p:sp>
            <p:nvSpPr>
              <p:cNvPr id="165" name="Freeform 164">
                <a:extLst>
                  <a:ext uri="{FF2B5EF4-FFF2-40B4-BE49-F238E27FC236}">
                    <a16:creationId xmlns:a16="http://schemas.microsoft.com/office/drawing/2014/main" id="{D86FFA69-C5CA-A246-9A90-AC1AFF80A473}"/>
                  </a:ext>
                </a:extLst>
              </p:cNvPr>
              <p:cNvSpPr/>
              <p:nvPr/>
            </p:nvSpPr>
            <p:spPr>
              <a:xfrm>
                <a:off x="7684144" y="2257586"/>
                <a:ext cx="522255" cy="109537"/>
              </a:xfrm>
              <a:custGeom>
                <a:avLst/>
                <a:gdLst>
                  <a:gd name="connsiteX0" fmla="*/ 0 w 522255"/>
                  <a:gd name="connsiteY0" fmla="*/ 54769 h 109537"/>
                  <a:gd name="connsiteX1" fmla="*/ 54769 w 522255"/>
                  <a:gd name="connsiteY1" fmla="*/ 109538 h 109537"/>
                  <a:gd name="connsiteX2" fmla="*/ 467487 w 522255"/>
                  <a:gd name="connsiteY2" fmla="*/ 109538 h 109537"/>
                  <a:gd name="connsiteX3" fmla="*/ 522256 w 522255"/>
                  <a:gd name="connsiteY3" fmla="*/ 54769 h 109537"/>
                  <a:gd name="connsiteX4" fmla="*/ 467487 w 522255"/>
                  <a:gd name="connsiteY4" fmla="*/ 0 h 109537"/>
                  <a:gd name="connsiteX5" fmla="*/ 54769 w 522255"/>
                  <a:gd name="connsiteY5" fmla="*/ 0 h 109537"/>
                  <a:gd name="connsiteX6" fmla="*/ 0 w 522255"/>
                  <a:gd name="connsiteY6" fmla="*/ 54769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255" h="109537">
                    <a:moveTo>
                      <a:pt x="0" y="54769"/>
                    </a:moveTo>
                    <a:cubicBezTo>
                      <a:pt x="0" y="85058"/>
                      <a:pt x="24479" y="109538"/>
                      <a:pt x="54769" y="109538"/>
                    </a:cubicBezTo>
                    <a:lnTo>
                      <a:pt x="467487" y="109538"/>
                    </a:lnTo>
                    <a:cubicBezTo>
                      <a:pt x="497776" y="109538"/>
                      <a:pt x="522256" y="85058"/>
                      <a:pt x="522256" y="54769"/>
                    </a:cubicBezTo>
                    <a:cubicBezTo>
                      <a:pt x="522256" y="24479"/>
                      <a:pt x="497776" y="0"/>
                      <a:pt x="467487" y="0"/>
                    </a:cubicBezTo>
                    <a:lnTo>
                      <a:pt x="54769" y="0"/>
                    </a:lnTo>
                    <a:cubicBezTo>
                      <a:pt x="24479" y="0"/>
                      <a:pt x="0" y="24575"/>
                      <a:pt x="0" y="54769"/>
                    </a:cubicBezTo>
                    <a:close/>
                  </a:path>
                </a:pathLst>
              </a:custGeom>
              <a:solidFill>
                <a:srgbClr val="0099D8"/>
              </a:solidFill>
              <a:ln w="9525" cap="flat">
                <a:noFill/>
                <a:prstDash val="solid"/>
                <a:miter/>
              </a:ln>
            </p:spPr>
            <p:txBody>
              <a:bodyPr rtlCol="0" anchor="ctr"/>
              <a:lstStyle/>
              <a:p>
                <a:endParaRPr lang="en-US"/>
              </a:p>
            </p:txBody>
          </p:sp>
          <p:sp>
            <p:nvSpPr>
              <p:cNvPr id="166" name="Freeform 165">
                <a:extLst>
                  <a:ext uri="{FF2B5EF4-FFF2-40B4-BE49-F238E27FC236}">
                    <a16:creationId xmlns:a16="http://schemas.microsoft.com/office/drawing/2014/main" id="{1FF3602F-00BA-884D-9C8C-8FD8A236496E}"/>
                  </a:ext>
                </a:extLst>
              </p:cNvPr>
              <p:cNvSpPr/>
              <p:nvPr/>
            </p:nvSpPr>
            <p:spPr>
              <a:xfrm>
                <a:off x="7684144" y="2685639"/>
                <a:ext cx="522255" cy="109537"/>
              </a:xfrm>
              <a:custGeom>
                <a:avLst/>
                <a:gdLst>
                  <a:gd name="connsiteX0" fmla="*/ 467487 w 522255"/>
                  <a:gd name="connsiteY0" fmla="*/ 0 h 109537"/>
                  <a:gd name="connsiteX1" fmla="*/ 54769 w 522255"/>
                  <a:gd name="connsiteY1" fmla="*/ 0 h 109537"/>
                  <a:gd name="connsiteX2" fmla="*/ 0 w 522255"/>
                  <a:gd name="connsiteY2" fmla="*/ 54769 h 109537"/>
                  <a:gd name="connsiteX3" fmla="*/ 54769 w 522255"/>
                  <a:gd name="connsiteY3" fmla="*/ 109538 h 109537"/>
                  <a:gd name="connsiteX4" fmla="*/ 467487 w 522255"/>
                  <a:gd name="connsiteY4" fmla="*/ 109538 h 109537"/>
                  <a:gd name="connsiteX5" fmla="*/ 522256 w 522255"/>
                  <a:gd name="connsiteY5" fmla="*/ 54769 h 109537"/>
                  <a:gd name="connsiteX6" fmla="*/ 467487 w 522255"/>
                  <a:gd name="connsiteY6"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255" h="109537">
                    <a:moveTo>
                      <a:pt x="467487" y="0"/>
                    </a:moveTo>
                    <a:lnTo>
                      <a:pt x="54769" y="0"/>
                    </a:lnTo>
                    <a:cubicBezTo>
                      <a:pt x="24479" y="0"/>
                      <a:pt x="0" y="24479"/>
                      <a:pt x="0" y="54769"/>
                    </a:cubicBezTo>
                    <a:cubicBezTo>
                      <a:pt x="0" y="85058"/>
                      <a:pt x="24479" y="109538"/>
                      <a:pt x="54769" y="109538"/>
                    </a:cubicBezTo>
                    <a:lnTo>
                      <a:pt x="467487" y="109538"/>
                    </a:lnTo>
                    <a:cubicBezTo>
                      <a:pt x="497776" y="109538"/>
                      <a:pt x="522256" y="85058"/>
                      <a:pt x="522256" y="54769"/>
                    </a:cubicBezTo>
                    <a:cubicBezTo>
                      <a:pt x="522256" y="24479"/>
                      <a:pt x="497681" y="0"/>
                      <a:pt x="467487" y="0"/>
                    </a:cubicBezTo>
                    <a:close/>
                  </a:path>
                </a:pathLst>
              </a:custGeom>
              <a:solidFill>
                <a:srgbClr val="0099D8"/>
              </a:solidFill>
              <a:ln w="9525" cap="flat">
                <a:noFill/>
                <a:prstDash val="solid"/>
                <a:miter/>
              </a:ln>
            </p:spPr>
            <p:txBody>
              <a:bodyPr rtlCol="0" anchor="ctr"/>
              <a:lstStyle/>
              <a:p>
                <a:endParaRPr lang="en-US"/>
              </a:p>
            </p:txBody>
          </p:sp>
          <p:sp>
            <p:nvSpPr>
              <p:cNvPr id="167" name="Freeform 166">
                <a:extLst>
                  <a:ext uri="{FF2B5EF4-FFF2-40B4-BE49-F238E27FC236}">
                    <a16:creationId xmlns:a16="http://schemas.microsoft.com/office/drawing/2014/main" id="{DDC858D8-D950-D640-81DC-962B85B4E407}"/>
                  </a:ext>
                </a:extLst>
              </p:cNvPr>
              <p:cNvSpPr/>
              <p:nvPr/>
            </p:nvSpPr>
            <p:spPr>
              <a:xfrm>
                <a:off x="7684144" y="3113693"/>
                <a:ext cx="522255" cy="109537"/>
              </a:xfrm>
              <a:custGeom>
                <a:avLst/>
                <a:gdLst>
                  <a:gd name="connsiteX0" fmla="*/ 467487 w 522255"/>
                  <a:gd name="connsiteY0" fmla="*/ 0 h 109537"/>
                  <a:gd name="connsiteX1" fmla="*/ 54769 w 522255"/>
                  <a:gd name="connsiteY1" fmla="*/ 0 h 109537"/>
                  <a:gd name="connsiteX2" fmla="*/ 0 w 522255"/>
                  <a:gd name="connsiteY2" fmla="*/ 54769 h 109537"/>
                  <a:gd name="connsiteX3" fmla="*/ 54769 w 522255"/>
                  <a:gd name="connsiteY3" fmla="*/ 109538 h 109537"/>
                  <a:gd name="connsiteX4" fmla="*/ 467487 w 522255"/>
                  <a:gd name="connsiteY4" fmla="*/ 109538 h 109537"/>
                  <a:gd name="connsiteX5" fmla="*/ 522256 w 522255"/>
                  <a:gd name="connsiteY5" fmla="*/ 54769 h 109537"/>
                  <a:gd name="connsiteX6" fmla="*/ 467487 w 522255"/>
                  <a:gd name="connsiteY6"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255" h="109537">
                    <a:moveTo>
                      <a:pt x="467487" y="0"/>
                    </a:moveTo>
                    <a:lnTo>
                      <a:pt x="54769" y="0"/>
                    </a:lnTo>
                    <a:cubicBezTo>
                      <a:pt x="24479" y="0"/>
                      <a:pt x="0" y="24479"/>
                      <a:pt x="0" y="54769"/>
                    </a:cubicBezTo>
                    <a:cubicBezTo>
                      <a:pt x="0" y="85058"/>
                      <a:pt x="24479" y="109538"/>
                      <a:pt x="54769" y="109538"/>
                    </a:cubicBezTo>
                    <a:lnTo>
                      <a:pt x="467487" y="109538"/>
                    </a:lnTo>
                    <a:cubicBezTo>
                      <a:pt x="497776" y="109538"/>
                      <a:pt x="522256" y="85058"/>
                      <a:pt x="522256" y="54769"/>
                    </a:cubicBezTo>
                    <a:cubicBezTo>
                      <a:pt x="522256" y="24479"/>
                      <a:pt x="497681" y="0"/>
                      <a:pt x="467487" y="0"/>
                    </a:cubicBezTo>
                    <a:close/>
                  </a:path>
                </a:pathLst>
              </a:custGeom>
              <a:solidFill>
                <a:srgbClr val="0099D8"/>
              </a:solidFill>
              <a:ln w="9525" cap="flat">
                <a:noFill/>
                <a:prstDash val="solid"/>
                <a:miter/>
              </a:ln>
            </p:spPr>
            <p:txBody>
              <a:bodyPr rtlCol="0" anchor="ctr"/>
              <a:lstStyle/>
              <a:p>
                <a:endParaRPr lang="en-US"/>
              </a:p>
            </p:txBody>
          </p:sp>
          <p:sp>
            <p:nvSpPr>
              <p:cNvPr id="168" name="Freeform 167">
                <a:extLst>
                  <a:ext uri="{FF2B5EF4-FFF2-40B4-BE49-F238E27FC236}">
                    <a16:creationId xmlns:a16="http://schemas.microsoft.com/office/drawing/2014/main" id="{42986F9A-04F2-8947-A59E-F2A43FB1CFB8}"/>
                  </a:ext>
                </a:extLst>
              </p:cNvPr>
              <p:cNvSpPr/>
              <p:nvPr/>
            </p:nvSpPr>
            <p:spPr>
              <a:xfrm>
                <a:off x="7250090" y="2984629"/>
                <a:ext cx="367664" cy="367664"/>
              </a:xfrm>
              <a:custGeom>
                <a:avLst/>
                <a:gdLst>
                  <a:gd name="connsiteX0" fmla="*/ 0 w 367664"/>
                  <a:gd name="connsiteY0" fmla="*/ 367665 h 367664"/>
                  <a:gd name="connsiteX1" fmla="*/ 367665 w 367664"/>
                  <a:gd name="connsiteY1" fmla="*/ 367665 h 367664"/>
                  <a:gd name="connsiteX2" fmla="*/ 367665 w 367664"/>
                  <a:gd name="connsiteY2" fmla="*/ 0 h 367664"/>
                  <a:gd name="connsiteX3" fmla="*/ 0 w 367664"/>
                  <a:gd name="connsiteY3" fmla="*/ 0 h 367664"/>
                  <a:gd name="connsiteX4" fmla="*/ 0 w 367664"/>
                  <a:gd name="connsiteY4" fmla="*/ 367665 h 367664"/>
                  <a:gd name="connsiteX5" fmla="*/ 54769 w 367664"/>
                  <a:gd name="connsiteY5" fmla="*/ 54769 h 367664"/>
                  <a:gd name="connsiteX6" fmla="*/ 312896 w 367664"/>
                  <a:gd name="connsiteY6" fmla="*/ 54769 h 367664"/>
                  <a:gd name="connsiteX7" fmla="*/ 312896 w 367664"/>
                  <a:gd name="connsiteY7" fmla="*/ 312896 h 367664"/>
                  <a:gd name="connsiteX8" fmla="*/ 54769 w 367664"/>
                  <a:gd name="connsiteY8" fmla="*/ 312896 h 367664"/>
                  <a:gd name="connsiteX9" fmla="*/ 54769 w 367664"/>
                  <a:gd name="connsiteY9" fmla="*/ 54769 h 36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664" h="367664">
                    <a:moveTo>
                      <a:pt x="0" y="367665"/>
                    </a:moveTo>
                    <a:lnTo>
                      <a:pt x="367665" y="367665"/>
                    </a:lnTo>
                    <a:lnTo>
                      <a:pt x="367665" y="0"/>
                    </a:lnTo>
                    <a:lnTo>
                      <a:pt x="0" y="0"/>
                    </a:lnTo>
                    <a:lnTo>
                      <a:pt x="0" y="367665"/>
                    </a:lnTo>
                    <a:close/>
                    <a:moveTo>
                      <a:pt x="54769" y="54769"/>
                    </a:moveTo>
                    <a:lnTo>
                      <a:pt x="312896" y="54769"/>
                    </a:lnTo>
                    <a:lnTo>
                      <a:pt x="312896" y="312896"/>
                    </a:lnTo>
                    <a:lnTo>
                      <a:pt x="54769" y="312896"/>
                    </a:lnTo>
                    <a:lnTo>
                      <a:pt x="54769" y="54769"/>
                    </a:lnTo>
                    <a:close/>
                  </a:path>
                </a:pathLst>
              </a:custGeom>
              <a:solidFill>
                <a:srgbClr val="0099D8"/>
              </a:solidFill>
              <a:ln w="9525" cap="flat">
                <a:noFill/>
                <a:prstDash val="solid"/>
                <a:miter/>
              </a:ln>
            </p:spPr>
            <p:txBody>
              <a:bodyPr rtlCol="0" anchor="ctr"/>
              <a:lstStyle/>
              <a:p>
                <a:endParaRPr lang="en-US"/>
              </a:p>
            </p:txBody>
          </p:sp>
          <p:sp>
            <p:nvSpPr>
              <p:cNvPr id="169" name="Freeform 168">
                <a:extLst>
                  <a:ext uri="{FF2B5EF4-FFF2-40B4-BE49-F238E27FC236}">
                    <a16:creationId xmlns:a16="http://schemas.microsoft.com/office/drawing/2014/main" id="{4F4B39B3-B9B8-B241-B0A9-2AEFEEE673D9}"/>
                  </a:ext>
                </a:extLst>
              </p:cNvPr>
              <p:cNvSpPr/>
              <p:nvPr/>
            </p:nvSpPr>
            <p:spPr>
              <a:xfrm>
                <a:off x="7250185" y="2516690"/>
                <a:ext cx="464034" cy="407550"/>
              </a:xfrm>
              <a:custGeom>
                <a:avLst/>
                <a:gdLst>
                  <a:gd name="connsiteX0" fmla="*/ 447961 w 464034"/>
                  <a:gd name="connsiteY0" fmla="*/ 93512 h 407550"/>
                  <a:gd name="connsiteX1" fmla="*/ 447961 w 464034"/>
                  <a:gd name="connsiteY1" fmla="*/ 16073 h 407550"/>
                  <a:gd name="connsiteX2" fmla="*/ 370522 w 464034"/>
                  <a:gd name="connsiteY2" fmla="*/ 16073 h 407550"/>
                  <a:gd name="connsiteX3" fmla="*/ 346710 w 464034"/>
                  <a:gd name="connsiteY3" fmla="*/ 39886 h 407550"/>
                  <a:gd name="connsiteX4" fmla="*/ 0 w 464034"/>
                  <a:gd name="connsiteY4" fmla="*/ 39886 h 407550"/>
                  <a:gd name="connsiteX5" fmla="*/ 0 w 464034"/>
                  <a:gd name="connsiteY5" fmla="*/ 407551 h 407550"/>
                  <a:gd name="connsiteX6" fmla="*/ 367665 w 464034"/>
                  <a:gd name="connsiteY6" fmla="*/ 407551 h 407550"/>
                  <a:gd name="connsiteX7" fmla="*/ 367665 w 464034"/>
                  <a:gd name="connsiteY7" fmla="*/ 173807 h 407550"/>
                  <a:gd name="connsiteX8" fmla="*/ 447961 w 464034"/>
                  <a:gd name="connsiteY8" fmla="*/ 93512 h 407550"/>
                  <a:gd name="connsiteX9" fmla="*/ 291846 w 464034"/>
                  <a:gd name="connsiteY9" fmla="*/ 94655 h 407550"/>
                  <a:gd name="connsiteX10" fmla="*/ 185642 w 464034"/>
                  <a:gd name="connsiteY10" fmla="*/ 200858 h 407550"/>
                  <a:gd name="connsiteX11" fmla="*/ 136112 w 464034"/>
                  <a:gd name="connsiteY11" fmla="*/ 151328 h 407550"/>
                  <a:gd name="connsiteX12" fmla="*/ 58674 w 464034"/>
                  <a:gd name="connsiteY12" fmla="*/ 151328 h 407550"/>
                  <a:gd name="connsiteX13" fmla="*/ 54673 w 464034"/>
                  <a:gd name="connsiteY13" fmla="*/ 156281 h 407550"/>
                  <a:gd name="connsiteX14" fmla="*/ 54673 w 464034"/>
                  <a:gd name="connsiteY14" fmla="*/ 94655 h 407550"/>
                  <a:gd name="connsiteX15" fmla="*/ 291846 w 464034"/>
                  <a:gd name="connsiteY15" fmla="*/ 94655 h 407550"/>
                  <a:gd name="connsiteX16" fmla="*/ 54673 w 464034"/>
                  <a:gd name="connsiteY16" fmla="*/ 223814 h 407550"/>
                  <a:gd name="connsiteX17" fmla="*/ 58674 w 464034"/>
                  <a:gd name="connsiteY17" fmla="*/ 228767 h 407550"/>
                  <a:gd name="connsiteX18" fmla="*/ 182690 w 464034"/>
                  <a:gd name="connsiteY18" fmla="*/ 352782 h 407550"/>
                  <a:gd name="connsiteX19" fmla="*/ 54673 w 464034"/>
                  <a:gd name="connsiteY19" fmla="*/ 352782 h 407550"/>
                  <a:gd name="connsiteX20" fmla="*/ 54673 w 464034"/>
                  <a:gd name="connsiteY20" fmla="*/ 223814 h 407550"/>
                  <a:gd name="connsiteX21" fmla="*/ 312896 w 464034"/>
                  <a:gd name="connsiteY21" fmla="*/ 352782 h 407550"/>
                  <a:gd name="connsiteX22" fmla="*/ 188595 w 464034"/>
                  <a:gd name="connsiteY22" fmla="*/ 352782 h 407550"/>
                  <a:gd name="connsiteX23" fmla="*/ 312801 w 464034"/>
                  <a:gd name="connsiteY23" fmla="*/ 228576 h 407550"/>
                  <a:gd name="connsiteX24" fmla="*/ 312801 w 464034"/>
                  <a:gd name="connsiteY24" fmla="*/ 352782 h 40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4034" h="407550">
                    <a:moveTo>
                      <a:pt x="447961" y="93512"/>
                    </a:moveTo>
                    <a:cubicBezTo>
                      <a:pt x="469392" y="72080"/>
                      <a:pt x="469392" y="37409"/>
                      <a:pt x="447961" y="16073"/>
                    </a:cubicBezTo>
                    <a:cubicBezTo>
                      <a:pt x="426530" y="-5358"/>
                      <a:pt x="391859" y="-5358"/>
                      <a:pt x="370522" y="16073"/>
                    </a:cubicBezTo>
                    <a:lnTo>
                      <a:pt x="346710" y="39886"/>
                    </a:lnTo>
                    <a:lnTo>
                      <a:pt x="0" y="39886"/>
                    </a:lnTo>
                    <a:lnTo>
                      <a:pt x="0" y="407551"/>
                    </a:lnTo>
                    <a:lnTo>
                      <a:pt x="367665" y="407551"/>
                    </a:lnTo>
                    <a:lnTo>
                      <a:pt x="367665" y="173807"/>
                    </a:lnTo>
                    <a:lnTo>
                      <a:pt x="447961" y="93512"/>
                    </a:lnTo>
                    <a:close/>
                    <a:moveTo>
                      <a:pt x="291846" y="94655"/>
                    </a:moveTo>
                    <a:lnTo>
                      <a:pt x="185642" y="200858"/>
                    </a:lnTo>
                    <a:lnTo>
                      <a:pt x="136112" y="151328"/>
                    </a:lnTo>
                    <a:cubicBezTo>
                      <a:pt x="114681" y="129897"/>
                      <a:pt x="80010" y="129897"/>
                      <a:pt x="58674" y="151328"/>
                    </a:cubicBezTo>
                    <a:cubicBezTo>
                      <a:pt x="57150" y="152852"/>
                      <a:pt x="55912" y="154567"/>
                      <a:pt x="54673" y="156281"/>
                    </a:cubicBezTo>
                    <a:lnTo>
                      <a:pt x="54673" y="94655"/>
                    </a:lnTo>
                    <a:lnTo>
                      <a:pt x="291846" y="94655"/>
                    </a:lnTo>
                    <a:close/>
                    <a:moveTo>
                      <a:pt x="54673" y="223814"/>
                    </a:moveTo>
                    <a:cubicBezTo>
                      <a:pt x="56007" y="225528"/>
                      <a:pt x="57150" y="227243"/>
                      <a:pt x="58674" y="228767"/>
                    </a:cubicBezTo>
                    <a:lnTo>
                      <a:pt x="182690" y="352782"/>
                    </a:lnTo>
                    <a:lnTo>
                      <a:pt x="54673" y="352782"/>
                    </a:lnTo>
                    <a:lnTo>
                      <a:pt x="54673" y="223814"/>
                    </a:lnTo>
                    <a:close/>
                    <a:moveTo>
                      <a:pt x="312896" y="352782"/>
                    </a:moveTo>
                    <a:lnTo>
                      <a:pt x="188595" y="352782"/>
                    </a:lnTo>
                    <a:lnTo>
                      <a:pt x="312801" y="228576"/>
                    </a:lnTo>
                    <a:lnTo>
                      <a:pt x="312801" y="352782"/>
                    </a:lnTo>
                    <a:close/>
                  </a:path>
                </a:pathLst>
              </a:custGeom>
              <a:solidFill>
                <a:srgbClr val="0099D8"/>
              </a:solidFill>
              <a:ln w="9525" cap="flat">
                <a:noFill/>
                <a:prstDash val="solid"/>
                <a:miter/>
              </a:ln>
            </p:spPr>
            <p:txBody>
              <a:bodyPr rtlCol="0" anchor="ctr"/>
              <a:lstStyle/>
              <a:p>
                <a:endParaRPr lang="en-US"/>
              </a:p>
            </p:txBody>
          </p:sp>
          <p:sp>
            <p:nvSpPr>
              <p:cNvPr id="170" name="Freeform 169">
                <a:extLst>
                  <a:ext uri="{FF2B5EF4-FFF2-40B4-BE49-F238E27FC236}">
                    <a16:creationId xmlns:a16="http://schemas.microsoft.com/office/drawing/2014/main" id="{330AB052-599B-A74A-A036-2BA85591C125}"/>
                  </a:ext>
                </a:extLst>
              </p:cNvPr>
              <p:cNvSpPr/>
              <p:nvPr/>
            </p:nvSpPr>
            <p:spPr>
              <a:xfrm>
                <a:off x="7250185" y="2088636"/>
                <a:ext cx="464034" cy="407550"/>
              </a:xfrm>
              <a:custGeom>
                <a:avLst/>
                <a:gdLst>
                  <a:gd name="connsiteX0" fmla="*/ 367665 w 464034"/>
                  <a:gd name="connsiteY0" fmla="*/ 173807 h 407550"/>
                  <a:gd name="connsiteX1" fmla="*/ 447961 w 464034"/>
                  <a:gd name="connsiteY1" fmla="*/ 93512 h 407550"/>
                  <a:gd name="connsiteX2" fmla="*/ 447961 w 464034"/>
                  <a:gd name="connsiteY2" fmla="*/ 16073 h 407550"/>
                  <a:gd name="connsiteX3" fmla="*/ 370522 w 464034"/>
                  <a:gd name="connsiteY3" fmla="*/ 16073 h 407550"/>
                  <a:gd name="connsiteX4" fmla="*/ 346710 w 464034"/>
                  <a:gd name="connsiteY4" fmla="*/ 39886 h 407550"/>
                  <a:gd name="connsiteX5" fmla="*/ 0 w 464034"/>
                  <a:gd name="connsiteY5" fmla="*/ 39886 h 407550"/>
                  <a:gd name="connsiteX6" fmla="*/ 0 w 464034"/>
                  <a:gd name="connsiteY6" fmla="*/ 407551 h 407550"/>
                  <a:gd name="connsiteX7" fmla="*/ 367665 w 464034"/>
                  <a:gd name="connsiteY7" fmla="*/ 407551 h 407550"/>
                  <a:gd name="connsiteX8" fmla="*/ 367665 w 464034"/>
                  <a:gd name="connsiteY8" fmla="*/ 173807 h 407550"/>
                  <a:gd name="connsiteX9" fmla="*/ 291846 w 464034"/>
                  <a:gd name="connsiteY9" fmla="*/ 94655 h 407550"/>
                  <a:gd name="connsiteX10" fmla="*/ 185738 w 464034"/>
                  <a:gd name="connsiteY10" fmla="*/ 200858 h 407550"/>
                  <a:gd name="connsiteX11" fmla="*/ 136207 w 464034"/>
                  <a:gd name="connsiteY11" fmla="*/ 151328 h 407550"/>
                  <a:gd name="connsiteX12" fmla="*/ 58769 w 464034"/>
                  <a:gd name="connsiteY12" fmla="*/ 151328 h 407550"/>
                  <a:gd name="connsiteX13" fmla="*/ 54769 w 464034"/>
                  <a:gd name="connsiteY13" fmla="*/ 156281 h 407550"/>
                  <a:gd name="connsiteX14" fmla="*/ 54769 w 464034"/>
                  <a:gd name="connsiteY14" fmla="*/ 94655 h 407550"/>
                  <a:gd name="connsiteX15" fmla="*/ 291846 w 464034"/>
                  <a:gd name="connsiteY15" fmla="*/ 94655 h 407550"/>
                  <a:gd name="connsiteX16" fmla="*/ 54673 w 464034"/>
                  <a:gd name="connsiteY16" fmla="*/ 223814 h 407550"/>
                  <a:gd name="connsiteX17" fmla="*/ 58674 w 464034"/>
                  <a:gd name="connsiteY17" fmla="*/ 228767 h 407550"/>
                  <a:gd name="connsiteX18" fmla="*/ 182690 w 464034"/>
                  <a:gd name="connsiteY18" fmla="*/ 352782 h 407550"/>
                  <a:gd name="connsiteX19" fmla="*/ 54673 w 464034"/>
                  <a:gd name="connsiteY19" fmla="*/ 352782 h 407550"/>
                  <a:gd name="connsiteX20" fmla="*/ 54673 w 464034"/>
                  <a:gd name="connsiteY20" fmla="*/ 223814 h 407550"/>
                  <a:gd name="connsiteX21" fmla="*/ 188595 w 464034"/>
                  <a:gd name="connsiteY21" fmla="*/ 352782 h 407550"/>
                  <a:gd name="connsiteX22" fmla="*/ 312801 w 464034"/>
                  <a:gd name="connsiteY22" fmla="*/ 228576 h 407550"/>
                  <a:gd name="connsiteX23" fmla="*/ 312801 w 464034"/>
                  <a:gd name="connsiteY23" fmla="*/ 352782 h 407550"/>
                  <a:gd name="connsiteX24" fmla="*/ 188595 w 464034"/>
                  <a:gd name="connsiteY24" fmla="*/ 352782 h 40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4034" h="407550">
                    <a:moveTo>
                      <a:pt x="367665" y="173807"/>
                    </a:moveTo>
                    <a:lnTo>
                      <a:pt x="447961" y="93512"/>
                    </a:lnTo>
                    <a:cubicBezTo>
                      <a:pt x="469392" y="72080"/>
                      <a:pt x="469392" y="37409"/>
                      <a:pt x="447961" y="16073"/>
                    </a:cubicBezTo>
                    <a:cubicBezTo>
                      <a:pt x="426530" y="-5358"/>
                      <a:pt x="391859" y="-5358"/>
                      <a:pt x="370522" y="16073"/>
                    </a:cubicBezTo>
                    <a:lnTo>
                      <a:pt x="346710" y="39886"/>
                    </a:lnTo>
                    <a:lnTo>
                      <a:pt x="0" y="39886"/>
                    </a:lnTo>
                    <a:lnTo>
                      <a:pt x="0" y="407551"/>
                    </a:lnTo>
                    <a:lnTo>
                      <a:pt x="367665" y="407551"/>
                    </a:lnTo>
                    <a:lnTo>
                      <a:pt x="367665" y="173807"/>
                    </a:lnTo>
                    <a:close/>
                    <a:moveTo>
                      <a:pt x="291846" y="94655"/>
                    </a:moveTo>
                    <a:lnTo>
                      <a:pt x="185738" y="200858"/>
                    </a:lnTo>
                    <a:lnTo>
                      <a:pt x="136207" y="151328"/>
                    </a:lnTo>
                    <a:cubicBezTo>
                      <a:pt x="114776" y="129897"/>
                      <a:pt x="80105" y="129897"/>
                      <a:pt x="58769" y="151328"/>
                    </a:cubicBezTo>
                    <a:cubicBezTo>
                      <a:pt x="57245" y="152852"/>
                      <a:pt x="56007" y="154567"/>
                      <a:pt x="54769" y="156281"/>
                    </a:cubicBezTo>
                    <a:lnTo>
                      <a:pt x="54769" y="94655"/>
                    </a:lnTo>
                    <a:lnTo>
                      <a:pt x="291846" y="94655"/>
                    </a:lnTo>
                    <a:close/>
                    <a:moveTo>
                      <a:pt x="54673" y="223814"/>
                    </a:moveTo>
                    <a:cubicBezTo>
                      <a:pt x="56007" y="225528"/>
                      <a:pt x="57150" y="227243"/>
                      <a:pt x="58674" y="228767"/>
                    </a:cubicBezTo>
                    <a:lnTo>
                      <a:pt x="182690" y="352782"/>
                    </a:lnTo>
                    <a:lnTo>
                      <a:pt x="54673" y="352782"/>
                    </a:lnTo>
                    <a:lnTo>
                      <a:pt x="54673" y="223814"/>
                    </a:lnTo>
                    <a:close/>
                    <a:moveTo>
                      <a:pt x="188595" y="352782"/>
                    </a:moveTo>
                    <a:lnTo>
                      <a:pt x="312801" y="228576"/>
                    </a:lnTo>
                    <a:lnTo>
                      <a:pt x="312801" y="352782"/>
                    </a:lnTo>
                    <a:lnTo>
                      <a:pt x="188595" y="352782"/>
                    </a:lnTo>
                    <a:close/>
                  </a:path>
                </a:pathLst>
              </a:custGeom>
              <a:solidFill>
                <a:srgbClr val="0099D8"/>
              </a:solidFill>
              <a:ln w="9525" cap="flat">
                <a:noFill/>
                <a:prstDash val="solid"/>
                <a:miter/>
              </a:ln>
            </p:spPr>
            <p:txBody>
              <a:bodyPr rtlCol="0" anchor="ctr"/>
              <a:lstStyle/>
              <a:p>
                <a:endParaRPr lang="en-US"/>
              </a:p>
            </p:txBody>
          </p:sp>
        </p:grpSp>
        <p:sp>
          <p:nvSpPr>
            <p:cNvPr id="171" name="Freeform 170">
              <a:extLst>
                <a:ext uri="{FF2B5EF4-FFF2-40B4-BE49-F238E27FC236}">
                  <a16:creationId xmlns:a16="http://schemas.microsoft.com/office/drawing/2014/main" id="{3226C9A9-5492-594D-88B5-EB7B307949E1}"/>
                </a:ext>
              </a:extLst>
            </p:cNvPr>
            <p:cNvSpPr/>
            <p:nvPr/>
          </p:nvSpPr>
          <p:spPr>
            <a:xfrm>
              <a:off x="6998344" y="1675132"/>
              <a:ext cx="1481137" cy="1942433"/>
            </a:xfrm>
            <a:custGeom>
              <a:avLst/>
              <a:gdLst>
                <a:gd name="connsiteX0" fmla="*/ 1426369 w 1481137"/>
                <a:gd name="connsiteY0" fmla="*/ 118396 h 1942433"/>
                <a:gd name="connsiteX1" fmla="*/ 1024128 w 1481137"/>
                <a:gd name="connsiteY1" fmla="*/ 118396 h 1942433"/>
                <a:gd name="connsiteX2" fmla="*/ 861060 w 1481137"/>
                <a:gd name="connsiteY2" fmla="*/ 47625 h 1942433"/>
                <a:gd name="connsiteX3" fmla="*/ 825818 w 1481137"/>
                <a:gd name="connsiteY3" fmla="*/ 47625 h 1942433"/>
                <a:gd name="connsiteX4" fmla="*/ 740569 w 1481137"/>
                <a:gd name="connsiteY4" fmla="*/ 0 h 1942433"/>
                <a:gd name="connsiteX5" fmla="*/ 655320 w 1481137"/>
                <a:gd name="connsiteY5" fmla="*/ 47625 h 1942433"/>
                <a:gd name="connsiteX6" fmla="*/ 620078 w 1481137"/>
                <a:gd name="connsiteY6" fmla="*/ 47625 h 1942433"/>
                <a:gd name="connsiteX7" fmla="*/ 457105 w 1481137"/>
                <a:gd name="connsiteY7" fmla="*/ 118396 h 1942433"/>
                <a:gd name="connsiteX8" fmla="*/ 54769 w 1481137"/>
                <a:gd name="connsiteY8" fmla="*/ 118396 h 1942433"/>
                <a:gd name="connsiteX9" fmla="*/ 0 w 1481137"/>
                <a:gd name="connsiteY9" fmla="*/ 173165 h 1942433"/>
                <a:gd name="connsiteX10" fmla="*/ 0 w 1481137"/>
                <a:gd name="connsiteY10" fmla="*/ 1887665 h 1942433"/>
                <a:gd name="connsiteX11" fmla="*/ 54769 w 1481137"/>
                <a:gd name="connsiteY11" fmla="*/ 1942433 h 1942433"/>
                <a:gd name="connsiteX12" fmla="*/ 1426369 w 1481137"/>
                <a:gd name="connsiteY12" fmla="*/ 1942433 h 1942433"/>
                <a:gd name="connsiteX13" fmla="*/ 1481138 w 1481137"/>
                <a:gd name="connsiteY13" fmla="*/ 1887665 h 1942433"/>
                <a:gd name="connsiteX14" fmla="*/ 1481138 w 1481137"/>
                <a:gd name="connsiteY14" fmla="*/ 173165 h 1942433"/>
                <a:gd name="connsiteX15" fmla="*/ 1426369 w 1481137"/>
                <a:gd name="connsiteY15" fmla="*/ 118396 h 1942433"/>
                <a:gd name="connsiteX16" fmla="*/ 548354 w 1481137"/>
                <a:gd name="connsiteY16" fmla="*/ 118396 h 1942433"/>
                <a:gd name="connsiteX17" fmla="*/ 620078 w 1481137"/>
                <a:gd name="connsiteY17" fmla="*/ 102394 h 1942433"/>
                <a:gd name="connsiteX18" fmla="*/ 640271 w 1481137"/>
                <a:gd name="connsiteY18" fmla="*/ 102394 h 1942433"/>
                <a:gd name="connsiteX19" fmla="*/ 641890 w 1481137"/>
                <a:gd name="connsiteY19" fmla="*/ 118396 h 1942433"/>
                <a:gd name="connsiteX20" fmla="*/ 740569 w 1481137"/>
                <a:gd name="connsiteY20" fmla="*/ 200597 h 1942433"/>
                <a:gd name="connsiteX21" fmla="*/ 839248 w 1481137"/>
                <a:gd name="connsiteY21" fmla="*/ 118396 h 1942433"/>
                <a:gd name="connsiteX22" fmla="*/ 840867 w 1481137"/>
                <a:gd name="connsiteY22" fmla="*/ 102394 h 1942433"/>
                <a:gd name="connsiteX23" fmla="*/ 861060 w 1481137"/>
                <a:gd name="connsiteY23" fmla="*/ 102394 h 1942433"/>
                <a:gd name="connsiteX24" fmla="*/ 932783 w 1481137"/>
                <a:gd name="connsiteY24" fmla="*/ 118396 h 1942433"/>
                <a:gd name="connsiteX25" fmla="*/ 1024318 w 1481137"/>
                <a:gd name="connsiteY25" fmla="*/ 227933 h 1942433"/>
                <a:gd name="connsiteX26" fmla="*/ 1027843 w 1481137"/>
                <a:gd name="connsiteY26" fmla="*/ 244031 h 1942433"/>
                <a:gd name="connsiteX27" fmla="*/ 453295 w 1481137"/>
                <a:gd name="connsiteY27" fmla="*/ 244031 h 1942433"/>
                <a:gd name="connsiteX28" fmla="*/ 456819 w 1481137"/>
                <a:gd name="connsiteY28" fmla="*/ 227933 h 1942433"/>
                <a:gd name="connsiteX29" fmla="*/ 548354 w 1481137"/>
                <a:gd name="connsiteY29" fmla="*/ 118396 h 1942433"/>
                <a:gd name="connsiteX30" fmla="*/ 740569 w 1481137"/>
                <a:gd name="connsiteY30" fmla="*/ 54769 h 1942433"/>
                <a:gd name="connsiteX31" fmla="*/ 778383 w 1481137"/>
                <a:gd name="connsiteY31" fmla="*/ 75057 h 1942433"/>
                <a:gd name="connsiteX32" fmla="*/ 786098 w 1481137"/>
                <a:gd name="connsiteY32" fmla="*/ 100298 h 1942433"/>
                <a:gd name="connsiteX33" fmla="*/ 786003 w 1481137"/>
                <a:gd name="connsiteY33" fmla="*/ 102394 h 1942433"/>
                <a:gd name="connsiteX34" fmla="*/ 782288 w 1481137"/>
                <a:gd name="connsiteY34" fmla="*/ 118396 h 1942433"/>
                <a:gd name="connsiteX35" fmla="*/ 740569 w 1481137"/>
                <a:gd name="connsiteY35" fmla="*/ 145828 h 1942433"/>
                <a:gd name="connsiteX36" fmla="*/ 698849 w 1481137"/>
                <a:gd name="connsiteY36" fmla="*/ 118396 h 1942433"/>
                <a:gd name="connsiteX37" fmla="*/ 695135 w 1481137"/>
                <a:gd name="connsiteY37" fmla="*/ 102394 h 1942433"/>
                <a:gd name="connsiteX38" fmla="*/ 695039 w 1481137"/>
                <a:gd name="connsiteY38" fmla="*/ 100298 h 1942433"/>
                <a:gd name="connsiteX39" fmla="*/ 702755 w 1481137"/>
                <a:gd name="connsiteY39" fmla="*/ 75057 h 1942433"/>
                <a:gd name="connsiteX40" fmla="*/ 740569 w 1481137"/>
                <a:gd name="connsiteY40" fmla="*/ 54769 h 1942433"/>
                <a:gd name="connsiteX41" fmla="*/ 1371600 w 1481137"/>
                <a:gd name="connsiteY41" fmla="*/ 1832896 h 1942433"/>
                <a:gd name="connsiteX42" fmla="*/ 109538 w 1481137"/>
                <a:gd name="connsiteY42" fmla="*/ 1832896 h 1942433"/>
                <a:gd name="connsiteX43" fmla="*/ 109538 w 1481137"/>
                <a:gd name="connsiteY43" fmla="*/ 227933 h 1942433"/>
                <a:gd name="connsiteX44" fmla="*/ 400621 w 1481137"/>
                <a:gd name="connsiteY44" fmla="*/ 227933 h 1942433"/>
                <a:gd name="connsiteX45" fmla="*/ 396335 w 1481137"/>
                <a:gd name="connsiteY45" fmla="*/ 271367 h 1942433"/>
                <a:gd name="connsiteX46" fmla="*/ 423672 w 1481137"/>
                <a:gd name="connsiteY46" fmla="*/ 298799 h 1942433"/>
                <a:gd name="connsiteX47" fmla="*/ 1057466 w 1481137"/>
                <a:gd name="connsiteY47" fmla="*/ 298799 h 1942433"/>
                <a:gd name="connsiteX48" fmla="*/ 1084802 w 1481137"/>
                <a:gd name="connsiteY48" fmla="*/ 271367 h 1942433"/>
                <a:gd name="connsiteX49" fmla="*/ 1080516 w 1481137"/>
                <a:gd name="connsiteY49" fmla="*/ 227933 h 1942433"/>
                <a:gd name="connsiteX50" fmla="*/ 1371600 w 1481137"/>
                <a:gd name="connsiteY50" fmla="*/ 227933 h 1942433"/>
                <a:gd name="connsiteX51" fmla="*/ 1371600 w 1481137"/>
                <a:gd name="connsiteY51" fmla="*/ 1832896 h 19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1137" h="1942433">
                  <a:moveTo>
                    <a:pt x="1426369" y="118396"/>
                  </a:moveTo>
                  <a:lnTo>
                    <a:pt x="1024128" y="118396"/>
                  </a:lnTo>
                  <a:cubicBezTo>
                    <a:pt x="983361" y="74867"/>
                    <a:pt x="925354" y="47625"/>
                    <a:pt x="861060" y="47625"/>
                  </a:cubicBezTo>
                  <a:lnTo>
                    <a:pt x="825818" y="47625"/>
                  </a:lnTo>
                  <a:cubicBezTo>
                    <a:pt x="808196" y="19050"/>
                    <a:pt x="776573" y="0"/>
                    <a:pt x="740569" y="0"/>
                  </a:cubicBezTo>
                  <a:cubicBezTo>
                    <a:pt x="704564" y="0"/>
                    <a:pt x="672941" y="19050"/>
                    <a:pt x="655320" y="47625"/>
                  </a:cubicBezTo>
                  <a:lnTo>
                    <a:pt x="620078" y="47625"/>
                  </a:lnTo>
                  <a:cubicBezTo>
                    <a:pt x="555879" y="47625"/>
                    <a:pt x="497777" y="74867"/>
                    <a:pt x="457105" y="118396"/>
                  </a:cubicBezTo>
                  <a:lnTo>
                    <a:pt x="54769" y="118396"/>
                  </a:lnTo>
                  <a:cubicBezTo>
                    <a:pt x="24479" y="118396"/>
                    <a:pt x="0" y="142970"/>
                    <a:pt x="0" y="173165"/>
                  </a:cubicBezTo>
                  <a:lnTo>
                    <a:pt x="0" y="1887665"/>
                  </a:lnTo>
                  <a:cubicBezTo>
                    <a:pt x="0" y="1917954"/>
                    <a:pt x="24479" y="1942433"/>
                    <a:pt x="54769" y="1942433"/>
                  </a:cubicBezTo>
                  <a:lnTo>
                    <a:pt x="1426369" y="1942433"/>
                  </a:lnTo>
                  <a:cubicBezTo>
                    <a:pt x="1456658" y="1942433"/>
                    <a:pt x="1481138" y="1917954"/>
                    <a:pt x="1481138" y="1887665"/>
                  </a:cubicBezTo>
                  <a:lnTo>
                    <a:pt x="1481138" y="173165"/>
                  </a:lnTo>
                  <a:cubicBezTo>
                    <a:pt x="1481138" y="142970"/>
                    <a:pt x="1456658" y="118396"/>
                    <a:pt x="1426369" y="118396"/>
                  </a:cubicBezTo>
                  <a:close/>
                  <a:moveTo>
                    <a:pt x="548354" y="118396"/>
                  </a:moveTo>
                  <a:cubicBezTo>
                    <a:pt x="570071" y="108109"/>
                    <a:pt x="594455" y="102394"/>
                    <a:pt x="620078" y="102394"/>
                  </a:cubicBezTo>
                  <a:lnTo>
                    <a:pt x="640271" y="102394"/>
                  </a:lnTo>
                  <a:cubicBezTo>
                    <a:pt x="640366" y="107918"/>
                    <a:pt x="640937" y="113252"/>
                    <a:pt x="641890" y="118396"/>
                  </a:cubicBezTo>
                  <a:cubicBezTo>
                    <a:pt x="650462" y="165164"/>
                    <a:pt x="691420" y="200597"/>
                    <a:pt x="740569" y="200597"/>
                  </a:cubicBezTo>
                  <a:cubicBezTo>
                    <a:pt x="789718" y="200597"/>
                    <a:pt x="830675" y="165164"/>
                    <a:pt x="839248" y="118396"/>
                  </a:cubicBezTo>
                  <a:cubicBezTo>
                    <a:pt x="840200" y="113252"/>
                    <a:pt x="840772" y="107918"/>
                    <a:pt x="840867" y="102394"/>
                  </a:cubicBezTo>
                  <a:lnTo>
                    <a:pt x="861060" y="102394"/>
                  </a:lnTo>
                  <a:cubicBezTo>
                    <a:pt x="886682" y="102394"/>
                    <a:pt x="911066" y="108109"/>
                    <a:pt x="932783" y="118396"/>
                  </a:cubicBezTo>
                  <a:cubicBezTo>
                    <a:pt x="977455" y="139351"/>
                    <a:pt x="1011460" y="179451"/>
                    <a:pt x="1024318" y="227933"/>
                  </a:cubicBezTo>
                  <a:cubicBezTo>
                    <a:pt x="1025747" y="233172"/>
                    <a:pt x="1026986" y="238601"/>
                    <a:pt x="1027843" y="244031"/>
                  </a:cubicBezTo>
                  <a:lnTo>
                    <a:pt x="453295" y="244031"/>
                  </a:lnTo>
                  <a:cubicBezTo>
                    <a:pt x="454152" y="238601"/>
                    <a:pt x="455390" y="233172"/>
                    <a:pt x="456819" y="227933"/>
                  </a:cubicBezTo>
                  <a:cubicBezTo>
                    <a:pt x="469678" y="179451"/>
                    <a:pt x="503682" y="139351"/>
                    <a:pt x="548354" y="118396"/>
                  </a:cubicBezTo>
                  <a:close/>
                  <a:moveTo>
                    <a:pt x="740569" y="54769"/>
                  </a:moveTo>
                  <a:cubicBezTo>
                    <a:pt x="756285" y="54769"/>
                    <a:pt x="770192" y="62865"/>
                    <a:pt x="778383" y="75057"/>
                  </a:cubicBezTo>
                  <a:cubicBezTo>
                    <a:pt x="783241" y="82296"/>
                    <a:pt x="786098" y="91059"/>
                    <a:pt x="786098" y="100298"/>
                  </a:cubicBezTo>
                  <a:cubicBezTo>
                    <a:pt x="786098" y="100965"/>
                    <a:pt x="786098" y="101727"/>
                    <a:pt x="786003" y="102394"/>
                  </a:cubicBezTo>
                  <a:cubicBezTo>
                    <a:pt x="785813" y="108109"/>
                    <a:pt x="784479" y="113443"/>
                    <a:pt x="782288" y="118396"/>
                  </a:cubicBezTo>
                  <a:cubicBezTo>
                    <a:pt x="775335" y="134588"/>
                    <a:pt x="759238" y="145828"/>
                    <a:pt x="740569" y="145828"/>
                  </a:cubicBezTo>
                  <a:cubicBezTo>
                    <a:pt x="721900" y="145828"/>
                    <a:pt x="705803" y="134588"/>
                    <a:pt x="698849" y="118396"/>
                  </a:cubicBezTo>
                  <a:cubicBezTo>
                    <a:pt x="696659" y="113443"/>
                    <a:pt x="695325" y="108109"/>
                    <a:pt x="695135" y="102394"/>
                  </a:cubicBezTo>
                  <a:cubicBezTo>
                    <a:pt x="695039" y="101727"/>
                    <a:pt x="695039" y="100965"/>
                    <a:pt x="695039" y="100298"/>
                  </a:cubicBezTo>
                  <a:cubicBezTo>
                    <a:pt x="695039" y="91059"/>
                    <a:pt x="697897" y="82296"/>
                    <a:pt x="702755" y="75057"/>
                  </a:cubicBezTo>
                  <a:cubicBezTo>
                    <a:pt x="710946" y="62865"/>
                    <a:pt x="724853" y="54769"/>
                    <a:pt x="740569" y="54769"/>
                  </a:cubicBezTo>
                  <a:close/>
                  <a:moveTo>
                    <a:pt x="1371600" y="1832896"/>
                  </a:moveTo>
                  <a:lnTo>
                    <a:pt x="109538" y="1832896"/>
                  </a:lnTo>
                  <a:lnTo>
                    <a:pt x="109538" y="227933"/>
                  </a:lnTo>
                  <a:lnTo>
                    <a:pt x="400621" y="227933"/>
                  </a:lnTo>
                  <a:cubicBezTo>
                    <a:pt x="397764" y="242030"/>
                    <a:pt x="396335" y="256508"/>
                    <a:pt x="396335" y="271367"/>
                  </a:cubicBezTo>
                  <a:cubicBezTo>
                    <a:pt x="396335" y="286512"/>
                    <a:pt x="408527" y="298799"/>
                    <a:pt x="423672" y="298799"/>
                  </a:cubicBezTo>
                  <a:lnTo>
                    <a:pt x="1057466" y="298799"/>
                  </a:lnTo>
                  <a:cubicBezTo>
                    <a:pt x="1072610" y="298799"/>
                    <a:pt x="1084802" y="286512"/>
                    <a:pt x="1084802" y="271367"/>
                  </a:cubicBezTo>
                  <a:cubicBezTo>
                    <a:pt x="1084802" y="256508"/>
                    <a:pt x="1083374" y="242030"/>
                    <a:pt x="1080516" y="227933"/>
                  </a:cubicBezTo>
                  <a:lnTo>
                    <a:pt x="1371600" y="227933"/>
                  </a:lnTo>
                  <a:lnTo>
                    <a:pt x="1371600" y="1832896"/>
                  </a:lnTo>
                  <a:close/>
                </a:path>
              </a:pathLst>
            </a:custGeom>
            <a:solidFill>
              <a:srgbClr val="0099D8"/>
            </a:solidFill>
            <a:ln w="9525" cap="flat">
              <a:noFill/>
              <a:prstDash val="solid"/>
              <a:miter/>
            </a:ln>
          </p:spPr>
          <p:txBody>
            <a:bodyPr rtlCol="0" anchor="ctr"/>
            <a:lstStyle/>
            <a:p>
              <a:endParaRPr lang="en-US"/>
            </a:p>
          </p:txBody>
        </p:sp>
      </p:grpSp>
      <p:grpSp>
        <p:nvGrpSpPr>
          <p:cNvPr id="174" name="Graphic 172">
            <a:extLst>
              <a:ext uri="{FF2B5EF4-FFF2-40B4-BE49-F238E27FC236}">
                <a16:creationId xmlns:a16="http://schemas.microsoft.com/office/drawing/2014/main" id="{C5DE0687-DE6B-7E49-B14A-06C4641923D7}"/>
              </a:ext>
            </a:extLst>
          </p:cNvPr>
          <p:cNvGrpSpPr/>
          <p:nvPr/>
        </p:nvGrpSpPr>
        <p:grpSpPr>
          <a:xfrm>
            <a:off x="6280824" y="4563423"/>
            <a:ext cx="1228094" cy="1014009"/>
            <a:chOff x="5201788" y="2803112"/>
            <a:chExt cx="1788422" cy="1476660"/>
          </a:xfrm>
          <a:solidFill>
            <a:srgbClr val="009DDC"/>
          </a:solidFill>
        </p:grpSpPr>
        <p:sp>
          <p:nvSpPr>
            <p:cNvPr id="175" name="Freeform 174">
              <a:extLst>
                <a:ext uri="{FF2B5EF4-FFF2-40B4-BE49-F238E27FC236}">
                  <a16:creationId xmlns:a16="http://schemas.microsoft.com/office/drawing/2014/main" id="{CBFC46AA-D742-2241-81EC-361DA3586B4B}"/>
                </a:ext>
              </a:extLst>
            </p:cNvPr>
            <p:cNvSpPr/>
            <p:nvPr/>
          </p:nvSpPr>
          <p:spPr>
            <a:xfrm>
              <a:off x="5840534" y="3352037"/>
              <a:ext cx="510948" cy="927735"/>
            </a:xfrm>
            <a:custGeom>
              <a:avLst/>
              <a:gdLst>
                <a:gd name="connsiteX0" fmla="*/ 507782 w 510948"/>
                <a:gd name="connsiteY0" fmla="*/ 295656 h 927735"/>
                <a:gd name="connsiteX1" fmla="*/ 437012 w 510948"/>
                <a:gd name="connsiteY1" fmla="*/ 71914 h 927735"/>
                <a:gd name="connsiteX2" fmla="*/ 255560 w 510948"/>
                <a:gd name="connsiteY2" fmla="*/ 0 h 927735"/>
                <a:gd name="connsiteX3" fmla="*/ 69632 w 510948"/>
                <a:gd name="connsiteY3" fmla="*/ 77533 h 927735"/>
                <a:gd name="connsiteX4" fmla="*/ 3529 w 510948"/>
                <a:gd name="connsiteY4" fmla="*/ 295561 h 927735"/>
                <a:gd name="connsiteX5" fmla="*/ 27722 w 510948"/>
                <a:gd name="connsiteY5" fmla="*/ 375095 h 927735"/>
                <a:gd name="connsiteX6" fmla="*/ 73633 w 510948"/>
                <a:gd name="connsiteY6" fmla="*/ 381286 h 927735"/>
                <a:gd name="connsiteX7" fmla="*/ 103922 w 510948"/>
                <a:gd name="connsiteY7" fmla="*/ 381286 h 927735"/>
                <a:gd name="connsiteX8" fmla="*/ 104399 w 510948"/>
                <a:gd name="connsiteY8" fmla="*/ 852011 h 927735"/>
                <a:gd name="connsiteX9" fmla="*/ 180122 w 510948"/>
                <a:gd name="connsiteY9" fmla="*/ 927735 h 927735"/>
                <a:gd name="connsiteX10" fmla="*/ 255846 w 510948"/>
                <a:gd name="connsiteY10" fmla="*/ 852011 h 927735"/>
                <a:gd name="connsiteX11" fmla="*/ 331475 w 510948"/>
                <a:gd name="connsiteY11" fmla="*/ 927735 h 927735"/>
                <a:gd name="connsiteX12" fmla="*/ 407198 w 510948"/>
                <a:gd name="connsiteY12" fmla="*/ 852011 h 927735"/>
                <a:gd name="connsiteX13" fmla="*/ 407198 w 510948"/>
                <a:gd name="connsiteY13" fmla="*/ 382143 h 927735"/>
                <a:gd name="connsiteX14" fmla="*/ 444251 w 510948"/>
                <a:gd name="connsiteY14" fmla="*/ 382334 h 927735"/>
                <a:gd name="connsiteX15" fmla="*/ 483779 w 510948"/>
                <a:gd name="connsiteY15" fmla="*/ 375095 h 927735"/>
                <a:gd name="connsiteX16" fmla="*/ 507782 w 510948"/>
                <a:gd name="connsiteY16" fmla="*/ 295656 h 9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0948" h="927735">
                  <a:moveTo>
                    <a:pt x="507782" y="295656"/>
                  </a:moveTo>
                  <a:cubicBezTo>
                    <a:pt x="492066" y="217932"/>
                    <a:pt x="477683" y="120491"/>
                    <a:pt x="437012" y="71914"/>
                  </a:cubicBezTo>
                  <a:cubicBezTo>
                    <a:pt x="394721" y="21431"/>
                    <a:pt x="339476" y="0"/>
                    <a:pt x="255560" y="0"/>
                  </a:cubicBezTo>
                  <a:cubicBezTo>
                    <a:pt x="168597" y="0"/>
                    <a:pt x="111066" y="23431"/>
                    <a:pt x="69632" y="77533"/>
                  </a:cubicBezTo>
                  <a:cubicBezTo>
                    <a:pt x="29627" y="129730"/>
                    <a:pt x="16959" y="228029"/>
                    <a:pt x="3529" y="295561"/>
                  </a:cubicBezTo>
                  <a:cubicBezTo>
                    <a:pt x="-2186" y="324136"/>
                    <a:pt x="-4948" y="359474"/>
                    <a:pt x="27722" y="375095"/>
                  </a:cubicBezTo>
                  <a:cubicBezTo>
                    <a:pt x="39629" y="380714"/>
                    <a:pt x="53345" y="381286"/>
                    <a:pt x="73633" y="381286"/>
                  </a:cubicBezTo>
                  <a:lnTo>
                    <a:pt x="103922" y="381286"/>
                  </a:lnTo>
                  <a:lnTo>
                    <a:pt x="104399" y="852011"/>
                  </a:lnTo>
                  <a:cubicBezTo>
                    <a:pt x="104399" y="893826"/>
                    <a:pt x="138308" y="927735"/>
                    <a:pt x="180122" y="927735"/>
                  </a:cubicBezTo>
                  <a:cubicBezTo>
                    <a:pt x="221937" y="927735"/>
                    <a:pt x="255846" y="893826"/>
                    <a:pt x="255846" y="852011"/>
                  </a:cubicBezTo>
                  <a:cubicBezTo>
                    <a:pt x="255846" y="893826"/>
                    <a:pt x="289755" y="927735"/>
                    <a:pt x="331475" y="927735"/>
                  </a:cubicBezTo>
                  <a:cubicBezTo>
                    <a:pt x="373289" y="927735"/>
                    <a:pt x="407198" y="893826"/>
                    <a:pt x="407198" y="852011"/>
                  </a:cubicBezTo>
                  <a:lnTo>
                    <a:pt x="407198" y="382143"/>
                  </a:lnTo>
                  <a:lnTo>
                    <a:pt x="444251" y="382334"/>
                  </a:lnTo>
                  <a:cubicBezTo>
                    <a:pt x="460538" y="382334"/>
                    <a:pt x="473016" y="381381"/>
                    <a:pt x="483779" y="375095"/>
                  </a:cubicBezTo>
                  <a:cubicBezTo>
                    <a:pt x="514354" y="356997"/>
                    <a:pt x="513593" y="324231"/>
                    <a:pt x="507782" y="295656"/>
                  </a:cubicBezTo>
                  <a:close/>
                </a:path>
              </a:pathLst>
            </a:custGeom>
            <a:solidFill>
              <a:srgbClr val="009DDC"/>
            </a:solidFill>
            <a:ln w="9525" cap="flat">
              <a:noFill/>
              <a:prstDash val="solid"/>
              <a:miter/>
            </a:ln>
          </p:spPr>
          <p:txBody>
            <a:bodyPr rtlCol="0" anchor="ctr"/>
            <a:lstStyle/>
            <a:p>
              <a:endParaRPr lang="en-US"/>
            </a:p>
          </p:txBody>
        </p:sp>
        <p:sp>
          <p:nvSpPr>
            <p:cNvPr id="176" name="Freeform 175">
              <a:extLst>
                <a:ext uri="{FF2B5EF4-FFF2-40B4-BE49-F238E27FC236}">
                  <a16:creationId xmlns:a16="http://schemas.microsoft.com/office/drawing/2014/main" id="{9D0378E0-3F12-4041-9EE0-A4081BE97CF2}"/>
                </a:ext>
              </a:extLst>
            </p:cNvPr>
            <p:cNvSpPr/>
            <p:nvPr/>
          </p:nvSpPr>
          <p:spPr>
            <a:xfrm>
              <a:off x="5956077" y="3050381"/>
              <a:ext cx="279844" cy="279939"/>
            </a:xfrm>
            <a:custGeom>
              <a:avLst/>
              <a:gdLst>
                <a:gd name="connsiteX0" fmla="*/ 139922 w 279844"/>
                <a:gd name="connsiteY0" fmla="*/ 279940 h 279939"/>
                <a:gd name="connsiteX1" fmla="*/ 279845 w 279844"/>
                <a:gd name="connsiteY1" fmla="*/ 139922 h 279939"/>
                <a:gd name="connsiteX2" fmla="*/ 139922 w 279844"/>
                <a:gd name="connsiteY2" fmla="*/ 0 h 279939"/>
                <a:gd name="connsiteX3" fmla="*/ 0 w 279844"/>
                <a:gd name="connsiteY3" fmla="*/ 139922 h 279939"/>
                <a:gd name="connsiteX4" fmla="*/ 139922 w 279844"/>
                <a:gd name="connsiteY4" fmla="*/ 279940 h 27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4" h="279939">
                  <a:moveTo>
                    <a:pt x="139922" y="279940"/>
                  </a:moveTo>
                  <a:cubicBezTo>
                    <a:pt x="217170" y="279940"/>
                    <a:pt x="279845" y="217265"/>
                    <a:pt x="279845" y="139922"/>
                  </a:cubicBezTo>
                  <a:cubicBezTo>
                    <a:pt x="279845" y="62579"/>
                    <a:pt x="217170" y="0"/>
                    <a:pt x="139922" y="0"/>
                  </a:cubicBezTo>
                  <a:cubicBezTo>
                    <a:pt x="62675" y="0"/>
                    <a:pt x="0" y="62579"/>
                    <a:pt x="0" y="139922"/>
                  </a:cubicBezTo>
                  <a:cubicBezTo>
                    <a:pt x="0" y="217265"/>
                    <a:pt x="62675" y="279940"/>
                    <a:pt x="139922" y="279940"/>
                  </a:cubicBezTo>
                  <a:close/>
                </a:path>
              </a:pathLst>
            </a:custGeom>
            <a:solidFill>
              <a:srgbClr val="009DDC"/>
            </a:solidFill>
            <a:ln w="9525" cap="flat">
              <a:noFill/>
              <a:prstDash val="solid"/>
              <a:miter/>
            </a:ln>
          </p:spPr>
          <p:txBody>
            <a:bodyPr rtlCol="0" anchor="ctr"/>
            <a:lstStyle/>
            <a:p>
              <a:endParaRPr lang="en-US"/>
            </a:p>
          </p:txBody>
        </p:sp>
        <p:sp>
          <p:nvSpPr>
            <p:cNvPr id="177" name="Freeform 176">
              <a:extLst>
                <a:ext uri="{FF2B5EF4-FFF2-40B4-BE49-F238E27FC236}">
                  <a16:creationId xmlns:a16="http://schemas.microsoft.com/office/drawing/2014/main" id="{79D4766B-7B95-D644-9892-145022E2D36F}"/>
                </a:ext>
              </a:extLst>
            </p:cNvPr>
            <p:cNvSpPr/>
            <p:nvPr/>
          </p:nvSpPr>
          <p:spPr>
            <a:xfrm>
              <a:off x="5201788" y="3352037"/>
              <a:ext cx="510948" cy="927735"/>
            </a:xfrm>
            <a:custGeom>
              <a:avLst/>
              <a:gdLst>
                <a:gd name="connsiteX0" fmla="*/ 507782 w 510948"/>
                <a:gd name="connsiteY0" fmla="*/ 295656 h 927735"/>
                <a:gd name="connsiteX1" fmla="*/ 437012 w 510948"/>
                <a:gd name="connsiteY1" fmla="*/ 71914 h 927735"/>
                <a:gd name="connsiteX2" fmla="*/ 255560 w 510948"/>
                <a:gd name="connsiteY2" fmla="*/ 0 h 927735"/>
                <a:gd name="connsiteX3" fmla="*/ 69632 w 510948"/>
                <a:gd name="connsiteY3" fmla="*/ 77533 h 927735"/>
                <a:gd name="connsiteX4" fmla="*/ 3529 w 510948"/>
                <a:gd name="connsiteY4" fmla="*/ 295561 h 927735"/>
                <a:gd name="connsiteX5" fmla="*/ 27722 w 510948"/>
                <a:gd name="connsiteY5" fmla="*/ 375095 h 927735"/>
                <a:gd name="connsiteX6" fmla="*/ 73633 w 510948"/>
                <a:gd name="connsiteY6" fmla="*/ 381286 h 927735"/>
                <a:gd name="connsiteX7" fmla="*/ 103922 w 510948"/>
                <a:gd name="connsiteY7" fmla="*/ 381286 h 927735"/>
                <a:gd name="connsiteX8" fmla="*/ 104399 w 510948"/>
                <a:gd name="connsiteY8" fmla="*/ 852011 h 927735"/>
                <a:gd name="connsiteX9" fmla="*/ 180122 w 510948"/>
                <a:gd name="connsiteY9" fmla="*/ 927735 h 927735"/>
                <a:gd name="connsiteX10" fmla="*/ 255846 w 510948"/>
                <a:gd name="connsiteY10" fmla="*/ 852011 h 927735"/>
                <a:gd name="connsiteX11" fmla="*/ 331475 w 510948"/>
                <a:gd name="connsiteY11" fmla="*/ 927735 h 927735"/>
                <a:gd name="connsiteX12" fmla="*/ 407198 w 510948"/>
                <a:gd name="connsiteY12" fmla="*/ 852011 h 927735"/>
                <a:gd name="connsiteX13" fmla="*/ 407198 w 510948"/>
                <a:gd name="connsiteY13" fmla="*/ 382143 h 927735"/>
                <a:gd name="connsiteX14" fmla="*/ 444251 w 510948"/>
                <a:gd name="connsiteY14" fmla="*/ 382334 h 927735"/>
                <a:gd name="connsiteX15" fmla="*/ 483779 w 510948"/>
                <a:gd name="connsiteY15" fmla="*/ 375095 h 927735"/>
                <a:gd name="connsiteX16" fmla="*/ 507782 w 510948"/>
                <a:gd name="connsiteY16" fmla="*/ 295656 h 9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0948" h="927735">
                  <a:moveTo>
                    <a:pt x="507782" y="295656"/>
                  </a:moveTo>
                  <a:cubicBezTo>
                    <a:pt x="492066" y="217932"/>
                    <a:pt x="477683" y="120491"/>
                    <a:pt x="437012" y="71914"/>
                  </a:cubicBezTo>
                  <a:cubicBezTo>
                    <a:pt x="394721" y="21431"/>
                    <a:pt x="339476" y="0"/>
                    <a:pt x="255560" y="0"/>
                  </a:cubicBezTo>
                  <a:cubicBezTo>
                    <a:pt x="168597" y="0"/>
                    <a:pt x="111066" y="23431"/>
                    <a:pt x="69632" y="77533"/>
                  </a:cubicBezTo>
                  <a:cubicBezTo>
                    <a:pt x="29627" y="129730"/>
                    <a:pt x="16959" y="228029"/>
                    <a:pt x="3529" y="295561"/>
                  </a:cubicBezTo>
                  <a:cubicBezTo>
                    <a:pt x="-2186" y="324136"/>
                    <a:pt x="-4948" y="359474"/>
                    <a:pt x="27722" y="375095"/>
                  </a:cubicBezTo>
                  <a:cubicBezTo>
                    <a:pt x="39629" y="380714"/>
                    <a:pt x="53345" y="381286"/>
                    <a:pt x="73633" y="381286"/>
                  </a:cubicBezTo>
                  <a:lnTo>
                    <a:pt x="103922" y="381286"/>
                  </a:lnTo>
                  <a:lnTo>
                    <a:pt x="104399" y="852011"/>
                  </a:lnTo>
                  <a:cubicBezTo>
                    <a:pt x="104399" y="893826"/>
                    <a:pt x="138308" y="927735"/>
                    <a:pt x="180122" y="927735"/>
                  </a:cubicBezTo>
                  <a:cubicBezTo>
                    <a:pt x="221937" y="927735"/>
                    <a:pt x="255846" y="893826"/>
                    <a:pt x="255846" y="852011"/>
                  </a:cubicBezTo>
                  <a:cubicBezTo>
                    <a:pt x="255846" y="893826"/>
                    <a:pt x="289755" y="927735"/>
                    <a:pt x="331475" y="927735"/>
                  </a:cubicBezTo>
                  <a:cubicBezTo>
                    <a:pt x="373289" y="927735"/>
                    <a:pt x="407198" y="893826"/>
                    <a:pt x="407198" y="852011"/>
                  </a:cubicBezTo>
                  <a:lnTo>
                    <a:pt x="407198" y="382143"/>
                  </a:lnTo>
                  <a:lnTo>
                    <a:pt x="444251" y="382334"/>
                  </a:lnTo>
                  <a:cubicBezTo>
                    <a:pt x="460538" y="382334"/>
                    <a:pt x="473016" y="381381"/>
                    <a:pt x="483779" y="375095"/>
                  </a:cubicBezTo>
                  <a:cubicBezTo>
                    <a:pt x="514355" y="356997"/>
                    <a:pt x="513593" y="324231"/>
                    <a:pt x="507782" y="295656"/>
                  </a:cubicBezTo>
                  <a:close/>
                </a:path>
              </a:pathLst>
            </a:custGeom>
            <a:solidFill>
              <a:srgbClr val="009DDC"/>
            </a:solidFill>
            <a:ln w="9525" cap="flat">
              <a:noFill/>
              <a:prstDash val="solid"/>
              <a:miter/>
            </a:ln>
          </p:spPr>
          <p:txBody>
            <a:bodyPr rtlCol="0" anchor="ctr"/>
            <a:lstStyle/>
            <a:p>
              <a:endParaRPr lang="en-US"/>
            </a:p>
          </p:txBody>
        </p:sp>
        <p:sp>
          <p:nvSpPr>
            <p:cNvPr id="178" name="Freeform 177">
              <a:extLst>
                <a:ext uri="{FF2B5EF4-FFF2-40B4-BE49-F238E27FC236}">
                  <a16:creationId xmlns:a16="http://schemas.microsoft.com/office/drawing/2014/main" id="{5988AD96-69DC-0D44-A36B-FF96293BDC7B}"/>
                </a:ext>
              </a:extLst>
            </p:cNvPr>
            <p:cNvSpPr/>
            <p:nvPr/>
          </p:nvSpPr>
          <p:spPr>
            <a:xfrm>
              <a:off x="5317331" y="3050381"/>
              <a:ext cx="279844" cy="279939"/>
            </a:xfrm>
            <a:custGeom>
              <a:avLst/>
              <a:gdLst>
                <a:gd name="connsiteX0" fmla="*/ 139922 w 279844"/>
                <a:gd name="connsiteY0" fmla="*/ 279940 h 279939"/>
                <a:gd name="connsiteX1" fmla="*/ 279844 w 279844"/>
                <a:gd name="connsiteY1" fmla="*/ 139922 h 279939"/>
                <a:gd name="connsiteX2" fmla="*/ 139922 w 279844"/>
                <a:gd name="connsiteY2" fmla="*/ 0 h 279939"/>
                <a:gd name="connsiteX3" fmla="*/ 0 w 279844"/>
                <a:gd name="connsiteY3" fmla="*/ 139922 h 279939"/>
                <a:gd name="connsiteX4" fmla="*/ 139922 w 279844"/>
                <a:gd name="connsiteY4" fmla="*/ 279940 h 27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4" h="279939">
                  <a:moveTo>
                    <a:pt x="139922" y="279940"/>
                  </a:moveTo>
                  <a:cubicBezTo>
                    <a:pt x="217170" y="279940"/>
                    <a:pt x="279844" y="217265"/>
                    <a:pt x="279844" y="139922"/>
                  </a:cubicBezTo>
                  <a:cubicBezTo>
                    <a:pt x="279844" y="62579"/>
                    <a:pt x="217170" y="0"/>
                    <a:pt x="139922" y="0"/>
                  </a:cubicBezTo>
                  <a:cubicBezTo>
                    <a:pt x="62675" y="0"/>
                    <a:pt x="0" y="62579"/>
                    <a:pt x="0" y="139922"/>
                  </a:cubicBezTo>
                  <a:cubicBezTo>
                    <a:pt x="0" y="217265"/>
                    <a:pt x="62675" y="279940"/>
                    <a:pt x="139922" y="279940"/>
                  </a:cubicBezTo>
                  <a:close/>
                </a:path>
              </a:pathLst>
            </a:custGeom>
            <a:solidFill>
              <a:srgbClr val="009DDC"/>
            </a:solidFill>
            <a:ln w="9525" cap="flat">
              <a:noFill/>
              <a:prstDash val="solid"/>
              <a:miter/>
            </a:ln>
          </p:spPr>
          <p:txBody>
            <a:bodyPr rtlCol="0" anchor="ctr"/>
            <a:lstStyle/>
            <a:p>
              <a:endParaRPr lang="en-US"/>
            </a:p>
          </p:txBody>
        </p:sp>
        <p:sp>
          <p:nvSpPr>
            <p:cNvPr id="179" name="Freeform 178">
              <a:extLst>
                <a:ext uri="{FF2B5EF4-FFF2-40B4-BE49-F238E27FC236}">
                  <a16:creationId xmlns:a16="http://schemas.microsoft.com/office/drawing/2014/main" id="{60E6328A-AF1D-914F-B022-5DB539AC2975}"/>
                </a:ext>
              </a:extLst>
            </p:cNvPr>
            <p:cNvSpPr/>
            <p:nvPr/>
          </p:nvSpPr>
          <p:spPr>
            <a:xfrm>
              <a:off x="6479281" y="3352037"/>
              <a:ext cx="510929" cy="927735"/>
            </a:xfrm>
            <a:custGeom>
              <a:avLst/>
              <a:gdLst>
                <a:gd name="connsiteX0" fmla="*/ 507782 w 510929"/>
                <a:gd name="connsiteY0" fmla="*/ 295656 h 927735"/>
                <a:gd name="connsiteX1" fmla="*/ 437012 w 510929"/>
                <a:gd name="connsiteY1" fmla="*/ 71914 h 927735"/>
                <a:gd name="connsiteX2" fmla="*/ 255560 w 510929"/>
                <a:gd name="connsiteY2" fmla="*/ 0 h 927735"/>
                <a:gd name="connsiteX3" fmla="*/ 69632 w 510929"/>
                <a:gd name="connsiteY3" fmla="*/ 77533 h 927735"/>
                <a:gd name="connsiteX4" fmla="*/ 3529 w 510929"/>
                <a:gd name="connsiteY4" fmla="*/ 295561 h 927735"/>
                <a:gd name="connsiteX5" fmla="*/ 27722 w 510929"/>
                <a:gd name="connsiteY5" fmla="*/ 375095 h 927735"/>
                <a:gd name="connsiteX6" fmla="*/ 73633 w 510929"/>
                <a:gd name="connsiteY6" fmla="*/ 381286 h 927735"/>
                <a:gd name="connsiteX7" fmla="*/ 103922 w 510929"/>
                <a:gd name="connsiteY7" fmla="*/ 381286 h 927735"/>
                <a:gd name="connsiteX8" fmla="*/ 104399 w 510929"/>
                <a:gd name="connsiteY8" fmla="*/ 852011 h 927735"/>
                <a:gd name="connsiteX9" fmla="*/ 180122 w 510929"/>
                <a:gd name="connsiteY9" fmla="*/ 927735 h 927735"/>
                <a:gd name="connsiteX10" fmla="*/ 255846 w 510929"/>
                <a:gd name="connsiteY10" fmla="*/ 852011 h 927735"/>
                <a:gd name="connsiteX11" fmla="*/ 331475 w 510929"/>
                <a:gd name="connsiteY11" fmla="*/ 927735 h 927735"/>
                <a:gd name="connsiteX12" fmla="*/ 407198 w 510929"/>
                <a:gd name="connsiteY12" fmla="*/ 852011 h 927735"/>
                <a:gd name="connsiteX13" fmla="*/ 407198 w 510929"/>
                <a:gd name="connsiteY13" fmla="*/ 382143 h 927735"/>
                <a:gd name="connsiteX14" fmla="*/ 444251 w 510929"/>
                <a:gd name="connsiteY14" fmla="*/ 382334 h 927735"/>
                <a:gd name="connsiteX15" fmla="*/ 483779 w 510929"/>
                <a:gd name="connsiteY15" fmla="*/ 375095 h 927735"/>
                <a:gd name="connsiteX16" fmla="*/ 507782 w 510929"/>
                <a:gd name="connsiteY16" fmla="*/ 295656 h 9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0929" h="927735">
                  <a:moveTo>
                    <a:pt x="507782" y="295656"/>
                  </a:moveTo>
                  <a:cubicBezTo>
                    <a:pt x="492066" y="217932"/>
                    <a:pt x="477683" y="120491"/>
                    <a:pt x="437012" y="71914"/>
                  </a:cubicBezTo>
                  <a:cubicBezTo>
                    <a:pt x="394721" y="21431"/>
                    <a:pt x="339476" y="0"/>
                    <a:pt x="255560" y="0"/>
                  </a:cubicBezTo>
                  <a:cubicBezTo>
                    <a:pt x="168597" y="0"/>
                    <a:pt x="111066" y="23431"/>
                    <a:pt x="69632" y="77533"/>
                  </a:cubicBezTo>
                  <a:cubicBezTo>
                    <a:pt x="29627" y="129730"/>
                    <a:pt x="16959" y="228029"/>
                    <a:pt x="3529" y="295561"/>
                  </a:cubicBezTo>
                  <a:cubicBezTo>
                    <a:pt x="-2186" y="324136"/>
                    <a:pt x="-4948" y="359474"/>
                    <a:pt x="27722" y="375095"/>
                  </a:cubicBezTo>
                  <a:cubicBezTo>
                    <a:pt x="39629" y="380714"/>
                    <a:pt x="53345" y="381286"/>
                    <a:pt x="73633" y="381286"/>
                  </a:cubicBezTo>
                  <a:lnTo>
                    <a:pt x="103922" y="381286"/>
                  </a:lnTo>
                  <a:lnTo>
                    <a:pt x="104399" y="852011"/>
                  </a:lnTo>
                  <a:cubicBezTo>
                    <a:pt x="104399" y="893826"/>
                    <a:pt x="138308" y="927735"/>
                    <a:pt x="180122" y="927735"/>
                  </a:cubicBezTo>
                  <a:cubicBezTo>
                    <a:pt x="221937" y="927735"/>
                    <a:pt x="255846" y="893826"/>
                    <a:pt x="255846" y="852011"/>
                  </a:cubicBezTo>
                  <a:cubicBezTo>
                    <a:pt x="255846" y="893826"/>
                    <a:pt x="289755" y="927735"/>
                    <a:pt x="331475" y="927735"/>
                  </a:cubicBezTo>
                  <a:cubicBezTo>
                    <a:pt x="373289" y="927735"/>
                    <a:pt x="407198" y="893826"/>
                    <a:pt x="407198" y="852011"/>
                  </a:cubicBezTo>
                  <a:lnTo>
                    <a:pt x="407198" y="382143"/>
                  </a:lnTo>
                  <a:lnTo>
                    <a:pt x="444251" y="382334"/>
                  </a:lnTo>
                  <a:cubicBezTo>
                    <a:pt x="460538" y="382334"/>
                    <a:pt x="473016" y="381381"/>
                    <a:pt x="483779" y="375095"/>
                  </a:cubicBezTo>
                  <a:cubicBezTo>
                    <a:pt x="514259" y="356997"/>
                    <a:pt x="513593" y="324231"/>
                    <a:pt x="507782" y="295656"/>
                  </a:cubicBezTo>
                  <a:close/>
                </a:path>
              </a:pathLst>
            </a:custGeom>
            <a:solidFill>
              <a:srgbClr val="009DDC"/>
            </a:solidFill>
            <a:ln w="9525" cap="flat">
              <a:no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7567E02F-E846-C54B-A0C8-34AAF0D7DD88}"/>
                </a:ext>
              </a:extLst>
            </p:cNvPr>
            <p:cNvSpPr/>
            <p:nvPr/>
          </p:nvSpPr>
          <p:spPr>
            <a:xfrm>
              <a:off x="6594824" y="3050381"/>
              <a:ext cx="279844" cy="279939"/>
            </a:xfrm>
            <a:custGeom>
              <a:avLst/>
              <a:gdLst>
                <a:gd name="connsiteX0" fmla="*/ 139922 w 279844"/>
                <a:gd name="connsiteY0" fmla="*/ 279940 h 279939"/>
                <a:gd name="connsiteX1" fmla="*/ 279845 w 279844"/>
                <a:gd name="connsiteY1" fmla="*/ 139922 h 279939"/>
                <a:gd name="connsiteX2" fmla="*/ 139922 w 279844"/>
                <a:gd name="connsiteY2" fmla="*/ 0 h 279939"/>
                <a:gd name="connsiteX3" fmla="*/ 0 w 279844"/>
                <a:gd name="connsiteY3" fmla="*/ 139922 h 279939"/>
                <a:gd name="connsiteX4" fmla="*/ 139922 w 279844"/>
                <a:gd name="connsiteY4" fmla="*/ 279940 h 27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4" h="279939">
                  <a:moveTo>
                    <a:pt x="139922" y="279940"/>
                  </a:moveTo>
                  <a:cubicBezTo>
                    <a:pt x="217170" y="279940"/>
                    <a:pt x="279845" y="217265"/>
                    <a:pt x="279845" y="139922"/>
                  </a:cubicBezTo>
                  <a:cubicBezTo>
                    <a:pt x="279845" y="62579"/>
                    <a:pt x="217170" y="0"/>
                    <a:pt x="139922" y="0"/>
                  </a:cubicBezTo>
                  <a:cubicBezTo>
                    <a:pt x="62675" y="0"/>
                    <a:pt x="0" y="62579"/>
                    <a:pt x="0" y="139922"/>
                  </a:cubicBezTo>
                  <a:cubicBezTo>
                    <a:pt x="0" y="217265"/>
                    <a:pt x="62675" y="279940"/>
                    <a:pt x="139922" y="279940"/>
                  </a:cubicBezTo>
                  <a:close/>
                </a:path>
              </a:pathLst>
            </a:custGeom>
            <a:solidFill>
              <a:srgbClr val="009DDC"/>
            </a:solidFill>
            <a:ln w="9525" cap="flat">
              <a:no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E7F2E5B8-9B94-EC40-8D76-447DFC81E491}"/>
                </a:ext>
              </a:extLst>
            </p:cNvPr>
            <p:cNvSpPr/>
            <p:nvPr/>
          </p:nvSpPr>
          <p:spPr>
            <a:xfrm>
              <a:off x="5636704" y="2803112"/>
              <a:ext cx="279844" cy="279939"/>
            </a:xfrm>
            <a:custGeom>
              <a:avLst/>
              <a:gdLst>
                <a:gd name="connsiteX0" fmla="*/ 139922 w 279844"/>
                <a:gd name="connsiteY0" fmla="*/ 279940 h 279939"/>
                <a:gd name="connsiteX1" fmla="*/ 279845 w 279844"/>
                <a:gd name="connsiteY1" fmla="*/ 139922 h 279939"/>
                <a:gd name="connsiteX2" fmla="*/ 139922 w 279844"/>
                <a:gd name="connsiteY2" fmla="*/ 0 h 279939"/>
                <a:gd name="connsiteX3" fmla="*/ 0 w 279844"/>
                <a:gd name="connsiteY3" fmla="*/ 139922 h 279939"/>
                <a:gd name="connsiteX4" fmla="*/ 139922 w 279844"/>
                <a:gd name="connsiteY4" fmla="*/ 279940 h 27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4" h="279939">
                  <a:moveTo>
                    <a:pt x="139922" y="279940"/>
                  </a:moveTo>
                  <a:cubicBezTo>
                    <a:pt x="217170" y="279940"/>
                    <a:pt x="279845" y="217265"/>
                    <a:pt x="279845" y="139922"/>
                  </a:cubicBezTo>
                  <a:cubicBezTo>
                    <a:pt x="279845" y="62579"/>
                    <a:pt x="217170" y="0"/>
                    <a:pt x="139922" y="0"/>
                  </a:cubicBezTo>
                  <a:cubicBezTo>
                    <a:pt x="62675" y="0"/>
                    <a:pt x="0" y="62579"/>
                    <a:pt x="0" y="139922"/>
                  </a:cubicBezTo>
                  <a:cubicBezTo>
                    <a:pt x="0" y="217265"/>
                    <a:pt x="62675" y="279940"/>
                    <a:pt x="139922" y="279940"/>
                  </a:cubicBezTo>
                  <a:close/>
                </a:path>
              </a:pathLst>
            </a:custGeom>
            <a:solidFill>
              <a:srgbClr val="009DDC"/>
            </a:solidFill>
            <a:ln w="9525" cap="flat">
              <a:no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F3E90E93-6CA7-034A-B9BB-177650C19575}"/>
                </a:ext>
              </a:extLst>
            </p:cNvPr>
            <p:cNvSpPr/>
            <p:nvPr/>
          </p:nvSpPr>
          <p:spPr>
            <a:xfrm>
              <a:off x="6275450" y="2803112"/>
              <a:ext cx="279844" cy="279939"/>
            </a:xfrm>
            <a:custGeom>
              <a:avLst/>
              <a:gdLst>
                <a:gd name="connsiteX0" fmla="*/ 139922 w 279844"/>
                <a:gd name="connsiteY0" fmla="*/ 279940 h 279939"/>
                <a:gd name="connsiteX1" fmla="*/ 279845 w 279844"/>
                <a:gd name="connsiteY1" fmla="*/ 139922 h 279939"/>
                <a:gd name="connsiteX2" fmla="*/ 139922 w 279844"/>
                <a:gd name="connsiteY2" fmla="*/ 0 h 279939"/>
                <a:gd name="connsiteX3" fmla="*/ 0 w 279844"/>
                <a:gd name="connsiteY3" fmla="*/ 139922 h 279939"/>
                <a:gd name="connsiteX4" fmla="*/ 139922 w 279844"/>
                <a:gd name="connsiteY4" fmla="*/ 279940 h 279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844" h="279939">
                  <a:moveTo>
                    <a:pt x="139922" y="279940"/>
                  </a:moveTo>
                  <a:cubicBezTo>
                    <a:pt x="217170" y="279940"/>
                    <a:pt x="279845" y="217265"/>
                    <a:pt x="279845" y="139922"/>
                  </a:cubicBezTo>
                  <a:cubicBezTo>
                    <a:pt x="279845" y="62579"/>
                    <a:pt x="217170" y="0"/>
                    <a:pt x="139922" y="0"/>
                  </a:cubicBezTo>
                  <a:cubicBezTo>
                    <a:pt x="62675" y="0"/>
                    <a:pt x="0" y="62579"/>
                    <a:pt x="0" y="139922"/>
                  </a:cubicBezTo>
                  <a:cubicBezTo>
                    <a:pt x="0" y="217265"/>
                    <a:pt x="62675" y="279940"/>
                    <a:pt x="139922" y="279940"/>
                  </a:cubicBezTo>
                  <a:close/>
                </a:path>
              </a:pathLst>
            </a:custGeom>
            <a:solidFill>
              <a:srgbClr val="009DDC"/>
            </a:solidFill>
            <a:ln w="9525" cap="flat">
              <a:noFill/>
              <a:prstDash val="solid"/>
              <a:miter/>
            </a:ln>
          </p:spPr>
          <p:txBody>
            <a:bodyPr rtlCol="0" anchor="ctr"/>
            <a:lstStyle/>
            <a:p>
              <a:endParaRPr lang="en-US"/>
            </a:p>
          </p:txBody>
        </p:sp>
      </p:grpSp>
      <p:grpSp>
        <p:nvGrpSpPr>
          <p:cNvPr id="187" name="Graphic 185">
            <a:extLst>
              <a:ext uri="{FF2B5EF4-FFF2-40B4-BE49-F238E27FC236}">
                <a16:creationId xmlns:a16="http://schemas.microsoft.com/office/drawing/2014/main" id="{B0F5F98E-17C9-A942-A63F-B54FCC8F58DB}"/>
              </a:ext>
            </a:extLst>
          </p:cNvPr>
          <p:cNvGrpSpPr/>
          <p:nvPr/>
        </p:nvGrpSpPr>
        <p:grpSpPr>
          <a:xfrm>
            <a:off x="9304507" y="4516618"/>
            <a:ext cx="1228221" cy="1278113"/>
            <a:chOff x="5144629" y="2359247"/>
            <a:chExt cx="2100561" cy="2185892"/>
          </a:xfrm>
          <a:solidFill>
            <a:srgbClr val="009DDC"/>
          </a:solidFill>
        </p:grpSpPr>
        <p:sp>
          <p:nvSpPr>
            <p:cNvPr id="188" name="Freeform 187">
              <a:extLst>
                <a:ext uri="{FF2B5EF4-FFF2-40B4-BE49-F238E27FC236}">
                  <a16:creationId xmlns:a16="http://schemas.microsoft.com/office/drawing/2014/main" id="{26A569A9-5B0F-6B46-B190-1F807D5DCDBA}"/>
                </a:ext>
              </a:extLst>
            </p:cNvPr>
            <p:cNvSpPr/>
            <p:nvPr/>
          </p:nvSpPr>
          <p:spPr>
            <a:xfrm>
              <a:off x="5177313" y="3815333"/>
              <a:ext cx="1837372" cy="729805"/>
            </a:xfrm>
            <a:custGeom>
              <a:avLst/>
              <a:gdLst>
                <a:gd name="connsiteX0" fmla="*/ 411290 w 1837372"/>
                <a:gd name="connsiteY0" fmla="*/ 729805 h 729805"/>
                <a:gd name="connsiteX1" fmla="*/ 27432 w 1837372"/>
                <a:gd name="connsiteY1" fmla="*/ 729805 h 729805"/>
                <a:gd name="connsiteX2" fmla="*/ 0 w 1837372"/>
                <a:gd name="connsiteY2" fmla="*/ 702374 h 729805"/>
                <a:gd name="connsiteX3" fmla="*/ 27432 w 1837372"/>
                <a:gd name="connsiteY3" fmla="*/ 674942 h 729805"/>
                <a:gd name="connsiteX4" fmla="*/ 356521 w 1837372"/>
                <a:gd name="connsiteY4" fmla="*/ 674942 h 729805"/>
                <a:gd name="connsiteX5" fmla="*/ 356521 w 1837372"/>
                <a:gd name="connsiteY5" fmla="*/ 506159 h 729805"/>
                <a:gd name="connsiteX6" fmla="*/ 713042 w 1837372"/>
                <a:gd name="connsiteY6" fmla="*/ 506159 h 729805"/>
                <a:gd name="connsiteX7" fmla="*/ 713042 w 1837372"/>
                <a:gd name="connsiteY7" fmla="*/ 337566 h 729805"/>
                <a:gd name="connsiteX8" fmla="*/ 1069562 w 1837372"/>
                <a:gd name="connsiteY8" fmla="*/ 337566 h 729805"/>
                <a:gd name="connsiteX9" fmla="*/ 1069562 w 1837372"/>
                <a:gd name="connsiteY9" fmla="*/ 168783 h 729805"/>
                <a:gd name="connsiteX10" fmla="*/ 1426083 w 1837372"/>
                <a:gd name="connsiteY10" fmla="*/ 168783 h 729805"/>
                <a:gd name="connsiteX11" fmla="*/ 1426083 w 1837372"/>
                <a:gd name="connsiteY11" fmla="*/ 0 h 729805"/>
                <a:gd name="connsiteX12" fmla="*/ 1809941 w 1837372"/>
                <a:gd name="connsiteY12" fmla="*/ 0 h 729805"/>
                <a:gd name="connsiteX13" fmla="*/ 1837373 w 1837372"/>
                <a:gd name="connsiteY13" fmla="*/ 27432 h 729805"/>
                <a:gd name="connsiteX14" fmla="*/ 1809941 w 1837372"/>
                <a:gd name="connsiteY14" fmla="*/ 54864 h 729805"/>
                <a:gd name="connsiteX15" fmla="*/ 1480852 w 1837372"/>
                <a:gd name="connsiteY15" fmla="*/ 54864 h 729805"/>
                <a:gd name="connsiteX16" fmla="*/ 1480852 w 1837372"/>
                <a:gd name="connsiteY16" fmla="*/ 223647 h 729805"/>
                <a:gd name="connsiteX17" fmla="*/ 1124331 w 1837372"/>
                <a:gd name="connsiteY17" fmla="*/ 223647 h 729805"/>
                <a:gd name="connsiteX18" fmla="*/ 1124331 w 1837372"/>
                <a:gd name="connsiteY18" fmla="*/ 392430 h 729805"/>
                <a:gd name="connsiteX19" fmla="*/ 767810 w 1837372"/>
                <a:gd name="connsiteY19" fmla="*/ 392430 h 729805"/>
                <a:gd name="connsiteX20" fmla="*/ 767810 w 1837372"/>
                <a:gd name="connsiteY20" fmla="*/ 561213 h 729805"/>
                <a:gd name="connsiteX21" fmla="*/ 411290 w 1837372"/>
                <a:gd name="connsiteY21" fmla="*/ 561213 h 729805"/>
                <a:gd name="connsiteX22" fmla="*/ 411290 w 1837372"/>
                <a:gd name="connsiteY22" fmla="*/ 729805 h 72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37372" h="729805">
                  <a:moveTo>
                    <a:pt x="411290" y="729805"/>
                  </a:moveTo>
                  <a:lnTo>
                    <a:pt x="27432" y="729805"/>
                  </a:lnTo>
                  <a:cubicBezTo>
                    <a:pt x="12287" y="729805"/>
                    <a:pt x="0" y="717518"/>
                    <a:pt x="0" y="702374"/>
                  </a:cubicBezTo>
                  <a:cubicBezTo>
                    <a:pt x="0" y="687229"/>
                    <a:pt x="12287" y="674942"/>
                    <a:pt x="27432" y="674942"/>
                  </a:cubicBezTo>
                  <a:lnTo>
                    <a:pt x="356521" y="674942"/>
                  </a:lnTo>
                  <a:lnTo>
                    <a:pt x="356521" y="506159"/>
                  </a:lnTo>
                  <a:lnTo>
                    <a:pt x="713042" y="506159"/>
                  </a:lnTo>
                  <a:lnTo>
                    <a:pt x="713042" y="337566"/>
                  </a:lnTo>
                  <a:lnTo>
                    <a:pt x="1069562" y="337566"/>
                  </a:lnTo>
                  <a:lnTo>
                    <a:pt x="1069562" y="168783"/>
                  </a:lnTo>
                  <a:lnTo>
                    <a:pt x="1426083" y="168783"/>
                  </a:lnTo>
                  <a:lnTo>
                    <a:pt x="1426083" y="0"/>
                  </a:lnTo>
                  <a:lnTo>
                    <a:pt x="1809941" y="0"/>
                  </a:lnTo>
                  <a:cubicBezTo>
                    <a:pt x="1825085" y="0"/>
                    <a:pt x="1837373" y="12287"/>
                    <a:pt x="1837373" y="27432"/>
                  </a:cubicBezTo>
                  <a:cubicBezTo>
                    <a:pt x="1837373" y="42577"/>
                    <a:pt x="1825085" y="54864"/>
                    <a:pt x="1809941" y="54864"/>
                  </a:cubicBezTo>
                  <a:lnTo>
                    <a:pt x="1480852" y="54864"/>
                  </a:lnTo>
                  <a:lnTo>
                    <a:pt x="1480852" y="223647"/>
                  </a:lnTo>
                  <a:lnTo>
                    <a:pt x="1124331" y="223647"/>
                  </a:lnTo>
                  <a:lnTo>
                    <a:pt x="1124331" y="392430"/>
                  </a:lnTo>
                  <a:lnTo>
                    <a:pt x="767810" y="392430"/>
                  </a:lnTo>
                  <a:lnTo>
                    <a:pt x="767810" y="561213"/>
                  </a:lnTo>
                  <a:lnTo>
                    <a:pt x="411290" y="561213"/>
                  </a:lnTo>
                  <a:lnTo>
                    <a:pt x="411290" y="729805"/>
                  </a:lnTo>
                  <a:close/>
                </a:path>
              </a:pathLst>
            </a:custGeom>
            <a:solidFill>
              <a:srgbClr val="009DDC"/>
            </a:solidFill>
            <a:ln w="9525" cap="flat">
              <a:noFill/>
              <a:prstDash val="solid"/>
              <a:miter/>
            </a:ln>
          </p:spPr>
          <p:txBody>
            <a:bodyPr rtlCol="0" anchor="ctr"/>
            <a:lstStyle/>
            <a:p>
              <a:endParaRPr lang="en-US"/>
            </a:p>
          </p:txBody>
        </p:sp>
        <p:grpSp>
          <p:nvGrpSpPr>
            <p:cNvPr id="189" name="Graphic 185">
              <a:extLst>
                <a:ext uri="{FF2B5EF4-FFF2-40B4-BE49-F238E27FC236}">
                  <a16:creationId xmlns:a16="http://schemas.microsoft.com/office/drawing/2014/main" id="{B0F5F98E-17C9-A942-A63F-B54FCC8F58DB}"/>
                </a:ext>
              </a:extLst>
            </p:cNvPr>
            <p:cNvGrpSpPr/>
            <p:nvPr/>
          </p:nvGrpSpPr>
          <p:grpSpPr>
            <a:xfrm>
              <a:off x="5144629" y="2359247"/>
              <a:ext cx="2100561" cy="2101786"/>
              <a:chOff x="5144629" y="2359247"/>
              <a:chExt cx="2100561" cy="2101786"/>
            </a:xfrm>
            <a:solidFill>
              <a:srgbClr val="009DDC"/>
            </a:solidFill>
          </p:grpSpPr>
          <p:sp>
            <p:nvSpPr>
              <p:cNvPr id="190" name="Freeform 189">
                <a:extLst>
                  <a:ext uri="{FF2B5EF4-FFF2-40B4-BE49-F238E27FC236}">
                    <a16:creationId xmlns:a16="http://schemas.microsoft.com/office/drawing/2014/main" id="{F612186E-021A-974D-AEE7-7B2C7191014C}"/>
                  </a:ext>
                </a:extLst>
              </p:cNvPr>
              <p:cNvSpPr/>
              <p:nvPr/>
            </p:nvSpPr>
            <p:spPr>
              <a:xfrm>
                <a:off x="6064223" y="2359247"/>
                <a:ext cx="1180967" cy="1592389"/>
              </a:xfrm>
              <a:custGeom>
                <a:avLst/>
                <a:gdLst>
                  <a:gd name="connsiteX0" fmla="*/ 1069049 w 1180967"/>
                  <a:gd name="connsiteY0" fmla="*/ 170593 h 1592389"/>
                  <a:gd name="connsiteX1" fmla="*/ 1180967 w 1180967"/>
                  <a:gd name="connsiteY1" fmla="*/ 112586 h 1592389"/>
                  <a:gd name="connsiteX2" fmla="*/ 1069049 w 1180967"/>
                  <a:gd name="connsiteY2" fmla="*/ 54578 h 1592389"/>
                  <a:gd name="connsiteX3" fmla="*/ 970084 w 1180967"/>
                  <a:gd name="connsiteY3" fmla="*/ 3334 h 1592389"/>
                  <a:gd name="connsiteX4" fmla="*/ 957035 w 1180967"/>
                  <a:gd name="connsiteY4" fmla="*/ 0 h 1592389"/>
                  <a:gd name="connsiteX5" fmla="*/ 929602 w 1180967"/>
                  <a:gd name="connsiteY5" fmla="*/ 27432 h 1592389"/>
                  <a:gd name="connsiteX6" fmla="*/ 929602 w 1180967"/>
                  <a:gd name="connsiteY6" fmla="*/ 310134 h 1592389"/>
                  <a:gd name="connsiteX7" fmla="*/ 888359 w 1180967"/>
                  <a:gd name="connsiteY7" fmla="*/ 336233 h 1592389"/>
                  <a:gd name="connsiteX8" fmla="*/ 713671 w 1180967"/>
                  <a:gd name="connsiteY8" fmla="*/ 538163 h 1592389"/>
                  <a:gd name="connsiteX9" fmla="*/ 461163 w 1180967"/>
                  <a:gd name="connsiteY9" fmla="*/ 538163 h 1592389"/>
                  <a:gd name="connsiteX10" fmla="*/ 347625 w 1180967"/>
                  <a:gd name="connsiteY10" fmla="*/ 569881 h 1592389"/>
                  <a:gd name="connsiteX11" fmla="*/ 209513 w 1180967"/>
                  <a:gd name="connsiteY11" fmla="*/ 744855 h 1592389"/>
                  <a:gd name="connsiteX12" fmla="*/ 44444 w 1180967"/>
                  <a:gd name="connsiteY12" fmla="*/ 830390 h 1592389"/>
                  <a:gd name="connsiteX13" fmla="*/ 9202 w 1180967"/>
                  <a:gd name="connsiteY13" fmla="*/ 941070 h 1592389"/>
                  <a:gd name="connsiteX14" fmla="*/ 82259 w 1180967"/>
                  <a:gd name="connsiteY14" fmla="*/ 985457 h 1592389"/>
                  <a:gd name="connsiteX15" fmla="*/ 119977 w 1180967"/>
                  <a:gd name="connsiteY15" fmla="*/ 976217 h 1592389"/>
                  <a:gd name="connsiteX16" fmla="*/ 317050 w 1180967"/>
                  <a:gd name="connsiteY16" fmla="*/ 874109 h 1592389"/>
                  <a:gd name="connsiteX17" fmla="*/ 317050 w 1180967"/>
                  <a:gd name="connsiteY17" fmla="*/ 971455 h 1592389"/>
                  <a:gd name="connsiteX18" fmla="*/ 317621 w 1180967"/>
                  <a:gd name="connsiteY18" fmla="*/ 1506379 h 1592389"/>
                  <a:gd name="connsiteX19" fmla="*/ 403632 w 1180967"/>
                  <a:gd name="connsiteY19" fmla="*/ 1592390 h 1592389"/>
                  <a:gd name="connsiteX20" fmla="*/ 489738 w 1180967"/>
                  <a:gd name="connsiteY20" fmla="*/ 1506379 h 1592389"/>
                  <a:gd name="connsiteX21" fmla="*/ 489738 w 1180967"/>
                  <a:gd name="connsiteY21" fmla="*/ 1143381 h 1592389"/>
                  <a:gd name="connsiteX22" fmla="*/ 648996 w 1180967"/>
                  <a:gd name="connsiteY22" fmla="*/ 1143381 h 1592389"/>
                  <a:gd name="connsiteX23" fmla="*/ 648996 w 1180967"/>
                  <a:gd name="connsiteY23" fmla="*/ 1331309 h 1592389"/>
                  <a:gd name="connsiteX24" fmla="*/ 740817 w 1180967"/>
                  <a:gd name="connsiteY24" fmla="*/ 1417130 h 1592389"/>
                  <a:gd name="connsiteX25" fmla="*/ 820922 w 1180967"/>
                  <a:gd name="connsiteY25" fmla="*/ 1328357 h 1592389"/>
                  <a:gd name="connsiteX26" fmla="*/ 820922 w 1180967"/>
                  <a:gd name="connsiteY26" fmla="*/ 1057942 h 1592389"/>
                  <a:gd name="connsiteX27" fmla="*/ 734435 w 1180967"/>
                  <a:gd name="connsiteY27" fmla="*/ 971455 h 1592389"/>
                  <a:gd name="connsiteX28" fmla="*/ 672237 w 1180967"/>
                  <a:gd name="connsiteY28" fmla="*/ 971455 h 1592389"/>
                  <a:gd name="connsiteX29" fmla="*/ 672237 w 1180967"/>
                  <a:gd name="connsiteY29" fmla="*/ 702469 h 1592389"/>
                  <a:gd name="connsiteX30" fmla="*/ 789585 w 1180967"/>
                  <a:gd name="connsiteY30" fmla="*/ 702469 h 1592389"/>
                  <a:gd name="connsiteX31" fmla="*/ 1013518 w 1180967"/>
                  <a:gd name="connsiteY31" fmla="*/ 442627 h 1592389"/>
                  <a:gd name="connsiteX32" fmla="*/ 1004183 w 1180967"/>
                  <a:gd name="connsiteY32" fmla="*/ 326803 h 1592389"/>
                  <a:gd name="connsiteX33" fmla="*/ 984371 w 1180967"/>
                  <a:gd name="connsiteY33" fmla="*/ 314325 h 1592389"/>
                  <a:gd name="connsiteX34" fmla="*/ 984371 w 1180967"/>
                  <a:gd name="connsiteY34" fmla="*/ 214408 h 1592389"/>
                  <a:gd name="connsiteX35" fmla="*/ 1069049 w 1180967"/>
                  <a:gd name="connsiteY35" fmla="*/ 170593 h 159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80967" h="1592389">
                    <a:moveTo>
                      <a:pt x="1069049" y="170593"/>
                    </a:moveTo>
                    <a:lnTo>
                      <a:pt x="1180967" y="112586"/>
                    </a:lnTo>
                    <a:lnTo>
                      <a:pt x="1069049" y="54578"/>
                    </a:lnTo>
                    <a:lnTo>
                      <a:pt x="970084" y="3334"/>
                    </a:lnTo>
                    <a:cubicBezTo>
                      <a:pt x="966179" y="1238"/>
                      <a:pt x="961797" y="0"/>
                      <a:pt x="957035" y="0"/>
                    </a:cubicBezTo>
                    <a:cubicBezTo>
                      <a:pt x="941890" y="0"/>
                      <a:pt x="929602" y="12287"/>
                      <a:pt x="929602" y="27432"/>
                    </a:cubicBezTo>
                    <a:lnTo>
                      <a:pt x="929602" y="310134"/>
                    </a:lnTo>
                    <a:cubicBezTo>
                      <a:pt x="914077" y="314325"/>
                      <a:pt x="899599" y="322993"/>
                      <a:pt x="888359" y="336233"/>
                    </a:cubicBezTo>
                    <a:lnTo>
                      <a:pt x="713671" y="538163"/>
                    </a:lnTo>
                    <a:lnTo>
                      <a:pt x="461163" y="538163"/>
                    </a:lnTo>
                    <a:cubicBezTo>
                      <a:pt x="390297" y="538163"/>
                      <a:pt x="382010" y="535591"/>
                      <a:pt x="347625" y="569881"/>
                    </a:cubicBezTo>
                    <a:lnTo>
                      <a:pt x="209513" y="744855"/>
                    </a:lnTo>
                    <a:lnTo>
                      <a:pt x="44444" y="830390"/>
                    </a:lnTo>
                    <a:cubicBezTo>
                      <a:pt x="4154" y="851249"/>
                      <a:pt x="-11658" y="900779"/>
                      <a:pt x="9202" y="941070"/>
                    </a:cubicBezTo>
                    <a:cubicBezTo>
                      <a:pt x="23775" y="969264"/>
                      <a:pt x="52540" y="985457"/>
                      <a:pt x="82259" y="985457"/>
                    </a:cubicBezTo>
                    <a:cubicBezTo>
                      <a:pt x="94927" y="985457"/>
                      <a:pt x="107881" y="982504"/>
                      <a:pt x="119977" y="976217"/>
                    </a:cubicBezTo>
                    <a:lnTo>
                      <a:pt x="317050" y="874109"/>
                    </a:lnTo>
                    <a:lnTo>
                      <a:pt x="317050" y="971455"/>
                    </a:lnTo>
                    <a:lnTo>
                      <a:pt x="317621" y="1506379"/>
                    </a:lnTo>
                    <a:cubicBezTo>
                      <a:pt x="317621" y="1553909"/>
                      <a:pt x="356102" y="1592390"/>
                      <a:pt x="403632" y="1592390"/>
                    </a:cubicBezTo>
                    <a:cubicBezTo>
                      <a:pt x="451067" y="1592390"/>
                      <a:pt x="489738" y="1553909"/>
                      <a:pt x="489738" y="1506379"/>
                    </a:cubicBezTo>
                    <a:lnTo>
                      <a:pt x="489738" y="1143381"/>
                    </a:lnTo>
                    <a:lnTo>
                      <a:pt x="648996" y="1143381"/>
                    </a:lnTo>
                    <a:lnTo>
                      <a:pt x="648996" y="1331309"/>
                    </a:lnTo>
                    <a:cubicBezTo>
                      <a:pt x="648996" y="1380839"/>
                      <a:pt x="690715" y="1420463"/>
                      <a:pt x="740817" y="1417130"/>
                    </a:cubicBezTo>
                    <a:cubicBezTo>
                      <a:pt x="786442" y="1414082"/>
                      <a:pt x="820922" y="1374077"/>
                      <a:pt x="820922" y="1328357"/>
                    </a:cubicBezTo>
                    <a:lnTo>
                      <a:pt x="820922" y="1057942"/>
                    </a:lnTo>
                    <a:cubicBezTo>
                      <a:pt x="820922" y="1010126"/>
                      <a:pt x="782156" y="971455"/>
                      <a:pt x="734435" y="971455"/>
                    </a:cubicBezTo>
                    <a:lnTo>
                      <a:pt x="672237" y="971455"/>
                    </a:lnTo>
                    <a:lnTo>
                      <a:pt x="672237" y="702469"/>
                    </a:lnTo>
                    <a:lnTo>
                      <a:pt x="789585" y="702469"/>
                    </a:lnTo>
                    <a:lnTo>
                      <a:pt x="1013518" y="442627"/>
                    </a:lnTo>
                    <a:cubicBezTo>
                      <a:pt x="1042950" y="408051"/>
                      <a:pt x="1038759" y="356235"/>
                      <a:pt x="1004183" y="326803"/>
                    </a:cubicBezTo>
                    <a:cubicBezTo>
                      <a:pt x="998087" y="321564"/>
                      <a:pt x="991325" y="317468"/>
                      <a:pt x="984371" y="314325"/>
                    </a:cubicBezTo>
                    <a:lnTo>
                      <a:pt x="984371" y="214408"/>
                    </a:lnTo>
                    <a:lnTo>
                      <a:pt x="1069049" y="170593"/>
                    </a:lnTo>
                    <a:close/>
                  </a:path>
                </a:pathLst>
              </a:custGeom>
              <a:solidFill>
                <a:srgbClr val="009DDC"/>
              </a:solidFill>
              <a:ln w="9525" cap="flat">
                <a:no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ECEAC625-56B1-684A-8EA7-5B7EFADC914A}"/>
                  </a:ext>
                </a:extLst>
              </p:cNvPr>
              <p:cNvSpPr/>
              <p:nvPr/>
            </p:nvSpPr>
            <p:spPr>
              <a:xfrm>
                <a:off x="5299710" y="3063811"/>
                <a:ext cx="318135" cy="318134"/>
              </a:xfrm>
              <a:custGeom>
                <a:avLst/>
                <a:gdLst>
                  <a:gd name="connsiteX0" fmla="*/ 159067 w 318135"/>
                  <a:gd name="connsiteY0" fmla="*/ 318135 h 318134"/>
                  <a:gd name="connsiteX1" fmla="*/ 318135 w 318135"/>
                  <a:gd name="connsiteY1" fmla="*/ 159067 h 318134"/>
                  <a:gd name="connsiteX2" fmla="*/ 159067 w 318135"/>
                  <a:gd name="connsiteY2" fmla="*/ 0 h 318134"/>
                  <a:gd name="connsiteX3" fmla="*/ 0 w 318135"/>
                  <a:gd name="connsiteY3" fmla="*/ 159067 h 318134"/>
                  <a:gd name="connsiteX4" fmla="*/ 159067 w 318135"/>
                  <a:gd name="connsiteY4" fmla="*/ 318135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5" h="318134">
                    <a:moveTo>
                      <a:pt x="159067" y="318135"/>
                    </a:moveTo>
                    <a:cubicBezTo>
                      <a:pt x="246888" y="318135"/>
                      <a:pt x="318135" y="246888"/>
                      <a:pt x="318135" y="159067"/>
                    </a:cubicBezTo>
                    <a:cubicBezTo>
                      <a:pt x="318135" y="71152"/>
                      <a:pt x="246888" y="0"/>
                      <a:pt x="159067" y="0"/>
                    </a:cubicBezTo>
                    <a:cubicBezTo>
                      <a:pt x="71247" y="0"/>
                      <a:pt x="0" y="71152"/>
                      <a:pt x="0" y="159067"/>
                    </a:cubicBezTo>
                    <a:cubicBezTo>
                      <a:pt x="0" y="246983"/>
                      <a:pt x="71247" y="318135"/>
                      <a:pt x="159067" y="318135"/>
                    </a:cubicBezTo>
                    <a:close/>
                  </a:path>
                </a:pathLst>
              </a:custGeom>
              <a:solidFill>
                <a:srgbClr val="009DDC"/>
              </a:solidFill>
              <a:ln w="9525" cap="flat">
                <a:no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9FA28C29-69A7-5047-B766-0372CBF59978}"/>
                  </a:ext>
                </a:extLst>
              </p:cNvPr>
              <p:cNvSpPr/>
              <p:nvPr/>
            </p:nvSpPr>
            <p:spPr>
              <a:xfrm>
                <a:off x="6394608" y="2554605"/>
                <a:ext cx="318134" cy="318134"/>
              </a:xfrm>
              <a:custGeom>
                <a:avLst/>
                <a:gdLst>
                  <a:gd name="connsiteX0" fmla="*/ 159067 w 318134"/>
                  <a:gd name="connsiteY0" fmla="*/ 318135 h 318134"/>
                  <a:gd name="connsiteX1" fmla="*/ 318135 w 318134"/>
                  <a:gd name="connsiteY1" fmla="*/ 159068 h 318134"/>
                  <a:gd name="connsiteX2" fmla="*/ 159067 w 318134"/>
                  <a:gd name="connsiteY2" fmla="*/ 0 h 318134"/>
                  <a:gd name="connsiteX3" fmla="*/ 0 w 318134"/>
                  <a:gd name="connsiteY3" fmla="*/ 159068 h 318134"/>
                  <a:gd name="connsiteX4" fmla="*/ 159067 w 318134"/>
                  <a:gd name="connsiteY4" fmla="*/ 318135 h 31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34" h="318134">
                    <a:moveTo>
                      <a:pt x="159067" y="318135"/>
                    </a:moveTo>
                    <a:cubicBezTo>
                      <a:pt x="246888" y="318135"/>
                      <a:pt x="318135" y="246888"/>
                      <a:pt x="318135" y="159068"/>
                    </a:cubicBezTo>
                    <a:cubicBezTo>
                      <a:pt x="318135" y="71152"/>
                      <a:pt x="246888" y="0"/>
                      <a:pt x="159067" y="0"/>
                    </a:cubicBezTo>
                    <a:cubicBezTo>
                      <a:pt x="71247" y="0"/>
                      <a:pt x="0" y="71152"/>
                      <a:pt x="0" y="159068"/>
                    </a:cubicBezTo>
                    <a:cubicBezTo>
                      <a:pt x="95" y="246888"/>
                      <a:pt x="71247" y="318135"/>
                      <a:pt x="159067" y="318135"/>
                    </a:cubicBezTo>
                    <a:close/>
                  </a:path>
                </a:pathLst>
              </a:custGeom>
              <a:solidFill>
                <a:srgbClr val="009DDC"/>
              </a:solidFill>
              <a:ln w="9525" cap="flat">
                <a:no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E3C78652-3EA5-E14D-9A2E-C04CBC2DAB92}"/>
                  </a:ext>
                </a:extLst>
              </p:cNvPr>
              <p:cNvSpPr/>
              <p:nvPr/>
            </p:nvSpPr>
            <p:spPr>
              <a:xfrm>
                <a:off x="5144629" y="3281751"/>
                <a:ext cx="913171" cy="1179282"/>
              </a:xfrm>
              <a:custGeom>
                <a:avLst/>
                <a:gdLst>
                  <a:gd name="connsiteX0" fmla="*/ 786874 w 913171"/>
                  <a:gd name="connsiteY0" fmla="*/ 12755 h 1179282"/>
                  <a:gd name="connsiteX1" fmla="*/ 602565 w 913171"/>
                  <a:gd name="connsiteY1" fmla="*/ 124960 h 1179282"/>
                  <a:gd name="connsiteX2" fmla="*/ 292812 w 913171"/>
                  <a:gd name="connsiteY2" fmla="*/ 124960 h 1179282"/>
                  <a:gd name="connsiteX3" fmla="*/ 183751 w 913171"/>
                  <a:gd name="connsiteY3" fmla="*/ 160393 h 1179282"/>
                  <a:gd name="connsiteX4" fmla="*/ 20397 w 913171"/>
                  <a:gd name="connsiteY4" fmla="*/ 404423 h 1179282"/>
                  <a:gd name="connsiteX5" fmla="*/ 17254 w 913171"/>
                  <a:gd name="connsiteY5" fmla="*/ 409376 h 1179282"/>
                  <a:gd name="connsiteX6" fmla="*/ 25160 w 913171"/>
                  <a:gd name="connsiteY6" fmla="*/ 546631 h 1179282"/>
                  <a:gd name="connsiteX7" fmla="*/ 142031 w 913171"/>
                  <a:gd name="connsiteY7" fmla="*/ 700651 h 1179282"/>
                  <a:gd name="connsiteX8" fmla="*/ 142412 w 913171"/>
                  <a:gd name="connsiteY8" fmla="*/ 1093271 h 1179282"/>
                  <a:gd name="connsiteX9" fmla="*/ 228423 w 913171"/>
                  <a:gd name="connsiteY9" fmla="*/ 1179282 h 1179282"/>
                  <a:gd name="connsiteX10" fmla="*/ 314529 w 913171"/>
                  <a:gd name="connsiteY10" fmla="*/ 1093271 h 1179282"/>
                  <a:gd name="connsiteX11" fmla="*/ 314529 w 913171"/>
                  <a:gd name="connsiteY11" fmla="*/ 730274 h 1179282"/>
                  <a:gd name="connsiteX12" fmla="*/ 473787 w 913171"/>
                  <a:gd name="connsiteY12" fmla="*/ 730274 h 1179282"/>
                  <a:gd name="connsiteX13" fmla="*/ 473787 w 913171"/>
                  <a:gd name="connsiteY13" fmla="*/ 918202 h 1179282"/>
                  <a:gd name="connsiteX14" fmla="*/ 565608 w 913171"/>
                  <a:gd name="connsiteY14" fmla="*/ 1004022 h 1179282"/>
                  <a:gd name="connsiteX15" fmla="*/ 645713 w 913171"/>
                  <a:gd name="connsiteY15" fmla="*/ 915249 h 1179282"/>
                  <a:gd name="connsiteX16" fmla="*/ 645713 w 913171"/>
                  <a:gd name="connsiteY16" fmla="*/ 644834 h 1179282"/>
                  <a:gd name="connsiteX17" fmla="*/ 559226 w 913171"/>
                  <a:gd name="connsiteY17" fmla="*/ 558347 h 1179282"/>
                  <a:gd name="connsiteX18" fmla="*/ 503981 w 913171"/>
                  <a:gd name="connsiteY18" fmla="*/ 558347 h 1179282"/>
                  <a:gd name="connsiteX19" fmla="*/ 503981 w 913171"/>
                  <a:gd name="connsiteY19" fmla="*/ 289266 h 1179282"/>
                  <a:gd name="connsiteX20" fmla="*/ 614567 w 913171"/>
                  <a:gd name="connsiteY20" fmla="*/ 289266 h 1179282"/>
                  <a:gd name="connsiteX21" fmla="*/ 680575 w 913171"/>
                  <a:gd name="connsiteY21" fmla="*/ 270121 h 1179282"/>
                  <a:gd name="connsiteX22" fmla="*/ 874980 w 913171"/>
                  <a:gd name="connsiteY22" fmla="*/ 151630 h 1179282"/>
                  <a:gd name="connsiteX23" fmla="*/ 900412 w 913171"/>
                  <a:gd name="connsiteY23" fmla="*/ 38282 h 1179282"/>
                  <a:gd name="connsiteX24" fmla="*/ 786874 w 913171"/>
                  <a:gd name="connsiteY24" fmla="*/ 12755 h 117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3171" h="1179282">
                    <a:moveTo>
                      <a:pt x="786874" y="12755"/>
                    </a:moveTo>
                    <a:lnTo>
                      <a:pt x="602565" y="124960"/>
                    </a:lnTo>
                    <a:lnTo>
                      <a:pt x="292812" y="124960"/>
                    </a:lnTo>
                    <a:cubicBezTo>
                      <a:pt x="234710" y="124960"/>
                      <a:pt x="208802" y="123150"/>
                      <a:pt x="183751" y="160393"/>
                    </a:cubicBezTo>
                    <a:lnTo>
                      <a:pt x="20397" y="404423"/>
                    </a:lnTo>
                    <a:lnTo>
                      <a:pt x="17254" y="409376"/>
                    </a:lnTo>
                    <a:cubicBezTo>
                      <a:pt x="-8368" y="452715"/>
                      <a:pt x="-5225" y="506531"/>
                      <a:pt x="25160" y="546631"/>
                    </a:cubicBezTo>
                    <a:lnTo>
                      <a:pt x="142031" y="700651"/>
                    </a:lnTo>
                    <a:lnTo>
                      <a:pt x="142412" y="1093271"/>
                    </a:lnTo>
                    <a:cubicBezTo>
                      <a:pt x="142412" y="1140801"/>
                      <a:pt x="180893" y="1179282"/>
                      <a:pt x="228423" y="1179282"/>
                    </a:cubicBezTo>
                    <a:cubicBezTo>
                      <a:pt x="275858" y="1179282"/>
                      <a:pt x="314529" y="1140801"/>
                      <a:pt x="314529" y="1093271"/>
                    </a:cubicBezTo>
                    <a:lnTo>
                      <a:pt x="314529" y="730274"/>
                    </a:lnTo>
                    <a:lnTo>
                      <a:pt x="473787" y="730274"/>
                    </a:lnTo>
                    <a:lnTo>
                      <a:pt x="473787" y="918202"/>
                    </a:lnTo>
                    <a:cubicBezTo>
                      <a:pt x="473787" y="967732"/>
                      <a:pt x="515507" y="1007356"/>
                      <a:pt x="565608" y="1004022"/>
                    </a:cubicBezTo>
                    <a:cubicBezTo>
                      <a:pt x="611233" y="1000974"/>
                      <a:pt x="645713" y="960969"/>
                      <a:pt x="645713" y="915249"/>
                    </a:cubicBezTo>
                    <a:lnTo>
                      <a:pt x="645713" y="644834"/>
                    </a:lnTo>
                    <a:cubicBezTo>
                      <a:pt x="645713" y="597019"/>
                      <a:pt x="606947" y="558347"/>
                      <a:pt x="559226" y="558347"/>
                    </a:cubicBezTo>
                    <a:lnTo>
                      <a:pt x="503981" y="558347"/>
                    </a:lnTo>
                    <a:lnTo>
                      <a:pt x="503981" y="289266"/>
                    </a:lnTo>
                    <a:lnTo>
                      <a:pt x="614567" y="289266"/>
                    </a:lnTo>
                    <a:cubicBezTo>
                      <a:pt x="637998" y="289266"/>
                      <a:pt x="660858" y="282599"/>
                      <a:pt x="680575" y="270121"/>
                    </a:cubicBezTo>
                    <a:lnTo>
                      <a:pt x="874980" y="151630"/>
                    </a:lnTo>
                    <a:cubicBezTo>
                      <a:pt x="913271" y="127341"/>
                      <a:pt x="924701" y="76573"/>
                      <a:pt x="900412" y="38282"/>
                    </a:cubicBezTo>
                    <a:cubicBezTo>
                      <a:pt x="876028" y="-104"/>
                      <a:pt x="825260" y="-11534"/>
                      <a:pt x="786874" y="12755"/>
                    </a:cubicBezTo>
                    <a:close/>
                  </a:path>
                </a:pathLst>
              </a:custGeom>
              <a:solidFill>
                <a:srgbClr val="009DDC"/>
              </a:solidFill>
              <a:ln w="9525" cap="flat">
                <a:noFill/>
                <a:prstDash val="solid"/>
                <a:miter/>
              </a:ln>
            </p:spPr>
            <p:txBody>
              <a:bodyPr rtlCol="0" anchor="ctr"/>
              <a:lstStyle/>
              <a:p>
                <a:endParaRPr lang="en-US"/>
              </a:p>
            </p:txBody>
          </p:sp>
        </p:grpSp>
      </p:grpSp>
      <p:pic>
        <p:nvPicPr>
          <p:cNvPr id="66" name="Picture 65">
            <a:extLst>
              <a:ext uri="{FF2B5EF4-FFF2-40B4-BE49-F238E27FC236}">
                <a16:creationId xmlns:a16="http://schemas.microsoft.com/office/drawing/2014/main" id="{64605852-BC3D-4B91-8352-9A1497F171FE}"/>
              </a:ext>
            </a:extLst>
          </p:cNvPr>
          <p:cNvPicPr>
            <a:picLocks noChangeAspect="1"/>
          </p:cNvPicPr>
          <p:nvPr/>
        </p:nvPicPr>
        <p:blipFill rotWithShape="1">
          <a:blip r:embed="rId3"/>
          <a:srcRect l="6718" r="8974"/>
          <a:stretch/>
        </p:blipFill>
        <p:spPr>
          <a:xfrm>
            <a:off x="251712" y="4119300"/>
            <a:ext cx="3051563" cy="2533669"/>
          </a:xfrm>
          <a:prstGeom prst="rect">
            <a:avLst/>
          </a:prstGeom>
        </p:spPr>
      </p:pic>
    </p:spTree>
    <p:extLst>
      <p:ext uri="{BB962C8B-B14F-4D97-AF65-F5344CB8AC3E}">
        <p14:creationId xmlns:p14="http://schemas.microsoft.com/office/powerpoint/2010/main" val="29863345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IliJtdLTCSDscjYOidOfg"/>
</p:tagLst>
</file>

<file path=ppt/theme/theme1.xml><?xml version="1.0" encoding="utf-8"?>
<a:theme xmlns:a="http://schemas.openxmlformats.org/drawingml/2006/main" name="Generic BGCA Blue">
  <a:themeElements>
    <a:clrScheme name="BGCA 1">
      <a:dk1>
        <a:srgbClr val="000000"/>
      </a:dk1>
      <a:lt1>
        <a:srgbClr val="FFFFFF"/>
      </a:lt1>
      <a:dk2>
        <a:srgbClr val="44546A"/>
      </a:dk2>
      <a:lt2>
        <a:srgbClr val="E7E6E6"/>
      </a:lt2>
      <a:accent1>
        <a:srgbClr val="0080C6"/>
      </a:accent1>
      <a:accent2>
        <a:srgbClr val="83BC00"/>
      </a:accent2>
      <a:accent3>
        <a:srgbClr val="004A86"/>
      </a:accent3>
      <a:accent4>
        <a:srgbClr val="9B25B6"/>
      </a:accent4>
      <a:accent5>
        <a:srgbClr val="52555A"/>
      </a:accent5>
      <a:accent6>
        <a:srgbClr val="70AD47"/>
      </a:accent6>
      <a:hlink>
        <a:srgbClr val="0080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eneric YDP">
  <a:themeElements>
    <a:clrScheme name="BGCA 1">
      <a:dk1>
        <a:srgbClr val="000000"/>
      </a:dk1>
      <a:lt1>
        <a:srgbClr val="FFFFFF"/>
      </a:lt1>
      <a:dk2>
        <a:srgbClr val="44546A"/>
      </a:dk2>
      <a:lt2>
        <a:srgbClr val="E7E6E6"/>
      </a:lt2>
      <a:accent1>
        <a:srgbClr val="0080C6"/>
      </a:accent1>
      <a:accent2>
        <a:srgbClr val="83BC00"/>
      </a:accent2>
      <a:accent3>
        <a:srgbClr val="004A86"/>
      </a:accent3>
      <a:accent4>
        <a:srgbClr val="9B25B6"/>
      </a:accent4>
      <a:accent5>
        <a:srgbClr val="52555A"/>
      </a:accent5>
      <a:accent6>
        <a:srgbClr val="70AD47"/>
      </a:accent6>
      <a:hlink>
        <a:srgbClr val="0080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Generic BGCA Blue">
  <a:themeElements>
    <a:clrScheme name="BGCA 1">
      <a:dk1>
        <a:srgbClr val="000000"/>
      </a:dk1>
      <a:lt1>
        <a:srgbClr val="FFFFFF"/>
      </a:lt1>
      <a:dk2>
        <a:srgbClr val="44546A"/>
      </a:dk2>
      <a:lt2>
        <a:srgbClr val="E7E6E6"/>
      </a:lt2>
      <a:accent1>
        <a:srgbClr val="0080C6"/>
      </a:accent1>
      <a:accent2>
        <a:srgbClr val="83BC00"/>
      </a:accent2>
      <a:accent3>
        <a:srgbClr val="004A86"/>
      </a:accent3>
      <a:accent4>
        <a:srgbClr val="9B25B6"/>
      </a:accent4>
      <a:accent5>
        <a:srgbClr val="52555A"/>
      </a:accent5>
      <a:accent6>
        <a:srgbClr val="70AD47"/>
      </a:accent6>
      <a:hlink>
        <a:srgbClr val="0080C6"/>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GCA_GF2025_Core_Sales_Deck">
  <a:themeElements>
    <a:clrScheme name="BGCA 3">
      <a:dk1>
        <a:srgbClr val="000000"/>
      </a:dk1>
      <a:lt1>
        <a:srgbClr val="FFFFFF"/>
      </a:lt1>
      <a:dk2>
        <a:srgbClr val="44546A"/>
      </a:dk2>
      <a:lt2>
        <a:srgbClr val="E7E6E6"/>
      </a:lt2>
      <a:accent1>
        <a:srgbClr val="009CD7"/>
      </a:accent1>
      <a:accent2>
        <a:srgbClr val="E2881B"/>
      </a:accent2>
      <a:accent3>
        <a:srgbClr val="61279E"/>
      </a:accent3>
      <a:accent4>
        <a:srgbClr val="83BC00"/>
      </a:accent4>
      <a:accent5>
        <a:srgbClr val="004B86"/>
      </a:accent5>
      <a:accent6>
        <a:srgbClr val="53565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CBCB8B65-3BB6-4722-919A-2B339D22D861}" vid="{F35E122C-F7DA-4C60-9E4B-001172A381A5}"/>
    </a:ext>
  </a:extLst>
</a:theme>
</file>

<file path=ppt/theme/theme5.xml><?xml version="1.0" encoding="utf-8"?>
<a:theme xmlns:a="http://schemas.openxmlformats.org/drawingml/2006/main" name="2_Generic BGCA Blu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Frame">
  <a:themeElements>
    <a:clrScheme name="BGCA">
      <a:dk1>
        <a:srgbClr val="0398DA"/>
      </a:dk1>
      <a:lt1>
        <a:srgbClr val="FFFFFF"/>
      </a:lt1>
      <a:dk2>
        <a:srgbClr val="CACACA"/>
      </a:dk2>
      <a:lt2>
        <a:srgbClr val="000000"/>
      </a:lt2>
      <a:accent1>
        <a:srgbClr val="0398DA"/>
      </a:accent1>
      <a:accent2>
        <a:srgbClr val="80C340"/>
      </a:accent2>
      <a:accent3>
        <a:srgbClr val="603194"/>
      </a:accent3>
      <a:accent4>
        <a:srgbClr val="E2871B"/>
      </a:accent4>
      <a:accent5>
        <a:srgbClr val="005B98"/>
      </a:accent5>
      <a:accent6>
        <a:srgbClr val="323640"/>
      </a:accent6>
      <a:hlink>
        <a:srgbClr val="0398DA"/>
      </a:hlink>
      <a:folHlink>
        <a:srgbClr val="005B9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WIT_template" id="{1837289A-EC9F-DB4E-BE3D-98A3E7BF9EC3}" vid="{6D9B3777-8A2F-CD4A-BEFA-42977CCFE2CA}"/>
    </a:ext>
  </a:extLst>
</a:theme>
</file>

<file path=ppt/theme/theme7.xml><?xml version="1.0" encoding="utf-8"?>
<a:theme xmlns:a="http://schemas.openxmlformats.org/drawingml/2006/main" name="1_BGCA_GF2025_Core_Sales_Deck">
  <a:themeElements>
    <a:clrScheme name="BGCA 3">
      <a:dk1>
        <a:srgbClr val="000000"/>
      </a:dk1>
      <a:lt1>
        <a:srgbClr val="FFFFFF"/>
      </a:lt1>
      <a:dk2>
        <a:srgbClr val="44546A"/>
      </a:dk2>
      <a:lt2>
        <a:srgbClr val="E7E6E6"/>
      </a:lt2>
      <a:accent1>
        <a:srgbClr val="009CD7"/>
      </a:accent1>
      <a:accent2>
        <a:srgbClr val="E2881B"/>
      </a:accent2>
      <a:accent3>
        <a:srgbClr val="61279E"/>
      </a:accent3>
      <a:accent4>
        <a:srgbClr val="83BC00"/>
      </a:accent4>
      <a:accent5>
        <a:srgbClr val="004B86"/>
      </a:accent5>
      <a:accent6>
        <a:srgbClr val="53565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CBCB8B65-3BB6-4722-919A-2B339D22D861}" vid="{F35E122C-F7DA-4C60-9E4B-001172A381A5}"/>
    </a:ext>
  </a:extLst>
</a:theme>
</file>

<file path=ppt/theme/theme8.xml><?xml version="1.0" encoding="utf-8"?>
<a:theme xmlns:a="http://schemas.openxmlformats.org/drawingml/2006/main" name="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9.xml><?xml version="1.0" encoding="utf-8"?>
<a:theme xmlns:a="http://schemas.openxmlformats.org/drawingml/2006/main" name="1_Depth">
  <a:themeElements>
    <a:clrScheme name="Depth">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Depth">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epth">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ACAB477E24D74F9044F962842147F4" ma:contentTypeVersion="7" ma:contentTypeDescription="Create a new document." ma:contentTypeScope="" ma:versionID="f023e70a24636f91aa9b3813684c08e9">
  <xsd:schema xmlns:xsd="http://www.w3.org/2001/XMLSchema" xmlns:xs="http://www.w3.org/2001/XMLSchema" xmlns:p="http://schemas.microsoft.com/office/2006/metadata/properties" xmlns:ns2="29297fff-9a2f-460c-bc7c-31f33aff91fd" xmlns:ns3="b8124381-912b-4da8-be4b-68bbb020f079" targetNamespace="http://schemas.microsoft.com/office/2006/metadata/properties" ma:root="true" ma:fieldsID="f177c220d055c28601451e7cc352b4ae" ns2:_="" ns3:_="">
    <xsd:import namespace="29297fff-9a2f-460c-bc7c-31f33aff91fd"/>
    <xsd:import namespace="b8124381-912b-4da8-be4b-68bbb020f07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297fff-9a2f-460c-bc7c-31f33aff91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8124381-912b-4da8-be4b-68bbb020f07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D1F2658-9FFA-45E0-BA41-CB99B6160B3D}">
  <ds:schemaRefs>
    <ds:schemaRef ds:uri="29297fff-9a2f-460c-bc7c-31f33aff91fd"/>
    <ds:schemaRef ds:uri="b8124381-912b-4da8-be4b-68bbb020f0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04BA2A7-0DEC-4AA0-BA29-CC68FDBF9E51}">
  <ds:schemaRefs>
    <ds:schemaRef ds:uri="http://schemas.microsoft.com/sharepoint/v3/contenttype/forms"/>
  </ds:schemaRefs>
</ds:datastoreItem>
</file>

<file path=customXml/itemProps3.xml><?xml version="1.0" encoding="utf-8"?>
<ds:datastoreItem xmlns:ds="http://schemas.openxmlformats.org/officeDocument/2006/customXml" ds:itemID="{F2F375D8-7455-4267-8712-6443FD9F5530}">
  <ds:schemaRefs>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29297fff-9a2f-460c-bc7c-31f33aff91fd"/>
    <ds:schemaRef ds:uri="http://purl.org/dc/elements/1.1/"/>
    <ds:schemaRef ds:uri="http://schemas.microsoft.com/office/infopath/2007/PartnerControls"/>
    <ds:schemaRef ds:uri="b8124381-912b-4da8-be4b-68bbb020f079"/>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5493</Words>
  <Application>Microsoft Macintosh PowerPoint</Application>
  <PresentationFormat>Widescreen</PresentationFormat>
  <Paragraphs>413</Paragraphs>
  <Slides>20</Slides>
  <Notes>20</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1</vt:i4>
      </vt:variant>
      <vt:variant>
        <vt:lpstr>Slide Titles</vt:lpstr>
      </vt:variant>
      <vt:variant>
        <vt:i4>20</vt:i4>
      </vt:variant>
    </vt:vector>
  </HeadingPairs>
  <TitlesOfParts>
    <vt:vector size="45" baseType="lpstr">
      <vt:lpstr>.Lucida Grande UI Regular</vt:lpstr>
      <vt:lpstr>Arial</vt:lpstr>
      <vt:lpstr>Arial Black</vt:lpstr>
      <vt:lpstr>Arial Regular</vt:lpstr>
      <vt:lpstr>Calibri</vt:lpstr>
      <vt:lpstr>Calibri Light</vt:lpstr>
      <vt:lpstr>Corbel</vt:lpstr>
      <vt:lpstr>Franklin Gothic Book</vt:lpstr>
      <vt:lpstr>Franklin Gothic Demi</vt:lpstr>
      <vt:lpstr>Franklin Gothic Heavy</vt:lpstr>
      <vt:lpstr>Franklin Gothic Medium</vt:lpstr>
      <vt:lpstr>Segoe UI</vt:lpstr>
      <vt:lpstr>Times New Roman</vt:lpstr>
      <vt:lpstr>Wingdings 2</vt:lpstr>
      <vt:lpstr>Generic BGCA Blue</vt:lpstr>
      <vt:lpstr>Generic YDP</vt:lpstr>
      <vt:lpstr>1_Generic BGCA Blue</vt:lpstr>
      <vt:lpstr>BGCA_GF2025_Core_Sales_Deck</vt:lpstr>
      <vt:lpstr>2_Generic BGCA Blue</vt:lpstr>
      <vt:lpstr>1_Frame</vt:lpstr>
      <vt:lpstr>1_BGCA_GF2025_Core_Sales_Deck</vt:lpstr>
      <vt:lpstr>Depth</vt:lpstr>
      <vt:lpstr>1_Depth</vt:lpstr>
      <vt:lpstr>Office Theme</vt:lpstr>
      <vt:lpstr>think-cell Slide</vt:lpstr>
      <vt:lpstr>PowerPoint Presentation</vt:lpstr>
      <vt:lpstr>PowerPoint Presentation</vt:lpstr>
      <vt:lpstr>Our Evolution</vt:lpstr>
      <vt:lpstr>What Are Area Councils?</vt:lpstr>
      <vt:lpstr>Area Council  Mission Statement</vt:lpstr>
      <vt:lpstr>Federated Model of the Boys &amp; Girls Club Movement</vt:lpstr>
      <vt:lpstr>PowerPoint Presentation</vt:lpstr>
      <vt:lpstr>Impact and Benefits to Local Organizations</vt:lpstr>
      <vt:lpstr>Key Elements of High Performing Area Councils</vt:lpstr>
      <vt:lpstr>Area Council Governance    The Role of the Chairperson</vt:lpstr>
      <vt:lpstr>Area Council Officers </vt:lpstr>
      <vt:lpstr>PowerPoint Presentation</vt:lpstr>
      <vt:lpstr>Area Council Liaison Role</vt:lpstr>
      <vt:lpstr>Area Council Liaison </vt:lpstr>
      <vt:lpstr>Why is your Area Council Liaison role important?</vt:lpstr>
      <vt:lpstr>Why is your Area Council Liaison role important?</vt:lpstr>
      <vt:lpstr>  Your Impact as an Area Council Liaison  </vt:lpstr>
      <vt:lpstr>Valuable Resources</vt:lpstr>
      <vt:lpstr>Breakout Roo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ea Council Liaison Onboarding</dc:title>
  <dc:creator>Microsoft Office User</dc:creator>
  <cp:lastModifiedBy>Kari Grady</cp:lastModifiedBy>
  <cp:revision>1</cp:revision>
  <cp:lastPrinted>2021-04-02T17:41:53Z</cp:lastPrinted>
  <dcterms:created xsi:type="dcterms:W3CDTF">2021-01-11T22:59:10Z</dcterms:created>
  <dcterms:modified xsi:type="dcterms:W3CDTF">2023-03-01T19:2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ACAB477E24D74F9044F962842147F4</vt:lpwstr>
  </property>
</Properties>
</file>